
<file path=[Content_Types].xml><?xml version="1.0" encoding="utf-8"?>
<Types xmlns="http://schemas.openxmlformats.org/package/2006/content-types">
  <Default Extension="mp3" ContentType="audio/mpeg"/>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av" ContentType="audio/x-wav"/>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8"/>
  </p:notesMasterIdLst>
  <p:sldIdLst>
    <p:sldId id="498" r:id="rId2"/>
    <p:sldId id="506" r:id="rId3"/>
    <p:sldId id="256" r:id="rId4"/>
    <p:sldId id="257" r:id="rId5"/>
    <p:sldId id="261" r:id="rId6"/>
    <p:sldId id="262" r:id="rId7"/>
    <p:sldId id="258" r:id="rId8"/>
    <p:sldId id="259" r:id="rId9"/>
    <p:sldId id="260" r:id="rId10"/>
    <p:sldId id="511" r:id="rId11"/>
    <p:sldId id="512" r:id="rId12"/>
    <p:sldId id="507" r:id="rId13"/>
    <p:sldId id="508" r:id="rId14"/>
    <p:sldId id="509" r:id="rId15"/>
    <p:sldId id="510" r:id="rId16"/>
    <p:sldId id="513" r:id="rId17"/>
  </p:sldIdLst>
  <p:sldSz cx="12192000" cy="6858000"/>
  <p:notesSz cx="6858000" cy="9144000"/>
  <p:defaultTextStyle>
    <a:defPPr>
      <a:defRPr lang="en-L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riginal" id="{59FE852B-F64F-5542-ACA4-8663857DF7D5}">
          <p14:sldIdLst>
            <p14:sldId id="498"/>
            <p14:sldId id="506"/>
            <p14:sldId id="256"/>
            <p14:sldId id="257"/>
            <p14:sldId id="261"/>
            <p14:sldId id="262"/>
            <p14:sldId id="258"/>
            <p14:sldId id="259"/>
            <p14:sldId id="260"/>
          </p14:sldIdLst>
        </p14:section>
        <p14:section name="Boracay" id="{E906E197-2262-4356-8C34-C9E88D9B17FB}">
          <p14:sldIdLst/>
        </p14:section>
        <p14:section name="Bohol" id="{B7D1CBD1-A983-416A-B16C-5F92281B606D}">
          <p14:sldIdLst>
            <p14:sldId id="511"/>
            <p14:sldId id="512"/>
          </p14:sldIdLst>
        </p14:section>
        <p14:section name="Git Définition" id="{45EB4480-501E-40BA-8685-9EF850E23811}">
          <p14:sldIdLst>
            <p14:sldId id="507"/>
            <p14:sldId id="508"/>
          </p14:sldIdLst>
        </p14:section>
        <p14:section name="Gestion De Version" id="{1608804E-C645-4838-9A1D-D5BB2420EB20}">
          <p14:sldIdLst>
            <p14:sldId id="509"/>
            <p14:sldId id="510"/>
            <p14:sldId id="513"/>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D266"/>
    <a:srgbClr val="463200"/>
    <a:srgbClr val="073A4C"/>
    <a:srgbClr val="CA103C"/>
    <a:srgbClr val="F0456F"/>
    <a:srgbClr val="000000"/>
    <a:srgbClr val="313232"/>
    <a:srgbClr val="494949"/>
    <a:srgbClr val="3F3F3F"/>
    <a:srgbClr val="1189B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428" autoAdjust="0"/>
    <p:restoredTop sz="96928"/>
  </p:normalViewPr>
  <p:slideViewPr>
    <p:cSldViewPr snapToGrid="0" snapToObjects="1" showGuides="1">
      <p:cViewPr varScale="1">
        <p:scale>
          <a:sx n="64" d="100"/>
          <a:sy n="64" d="100"/>
        </p:scale>
        <p:origin x="78" y="21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L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B57E57-35BA-1944-9989-03A1D9F933C2}" type="datetimeFigureOut">
              <a:t>21/10/2023</a:t>
            </a:fld>
            <a:endParaRPr lang="en-L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L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L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748A9F8-9560-9743-AE3D-EC4B3B8AF971}" type="slidenum">
              <a:t>‹#›</a:t>
            </a:fld>
            <a:endParaRPr lang="en-LT"/>
          </a:p>
        </p:txBody>
      </p:sp>
    </p:spTree>
    <p:extLst>
      <p:ext uri="{BB962C8B-B14F-4D97-AF65-F5344CB8AC3E}">
        <p14:creationId xmlns:p14="http://schemas.microsoft.com/office/powerpoint/2010/main" val="5884027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0" i="0" kern="1200" dirty="0">
                <a:solidFill>
                  <a:schemeClr val="tx1"/>
                </a:solidFill>
                <a:effectLst/>
                <a:latin typeface="+mn-lt"/>
                <a:ea typeface="+mn-ea"/>
                <a:cs typeface="+mn-cs"/>
              </a:rPr>
              <a:t>Bienvenue à cette présentation sur Git et GitHub. Ces deux outils sont essentiels pour la gestion de versions et le développement collaboratif de logiciels.</a:t>
            </a:r>
            <a:endParaRPr lang="fr-FR" dirty="0"/>
          </a:p>
          <a:p>
            <a:endParaRPr lang="fr-FR" dirty="0"/>
          </a:p>
        </p:txBody>
      </p:sp>
      <p:sp>
        <p:nvSpPr>
          <p:cNvPr id="4" name="Espace réservé du numéro de diapositive 3"/>
          <p:cNvSpPr>
            <a:spLocks noGrp="1"/>
          </p:cNvSpPr>
          <p:nvPr>
            <p:ph type="sldNum" sz="quarter" idx="5"/>
          </p:nvPr>
        </p:nvSpPr>
        <p:spPr/>
        <p:txBody>
          <a:bodyPr/>
          <a:lstStyle/>
          <a:p>
            <a:fld id="{0748A9F8-9560-9743-AE3D-EC4B3B8AF971}" type="slidenum">
              <a:rPr lang="fr-FR" smtClean="0"/>
              <a:t>1</a:t>
            </a:fld>
            <a:endParaRPr lang="fr-FR"/>
          </a:p>
        </p:txBody>
      </p:sp>
    </p:spTree>
    <p:extLst>
      <p:ext uri="{BB962C8B-B14F-4D97-AF65-F5344CB8AC3E}">
        <p14:creationId xmlns:p14="http://schemas.microsoft.com/office/powerpoint/2010/main" val="5522775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kern="1200" dirty="0">
                <a:solidFill>
                  <a:schemeClr val="tx1"/>
                </a:solidFill>
                <a:effectLst/>
                <a:latin typeface="+mn-lt"/>
                <a:ea typeface="+mn-ea"/>
                <a:cs typeface="+mn-cs"/>
              </a:rPr>
              <a:t>Bienvenue à cette présentation sur Git et GitHub. Ces deux outils sont essentiels pour la gestion de versions et le développement collaboratif de logiciels.</a:t>
            </a:r>
            <a:endParaRPr lang="fr-FR" dirty="0"/>
          </a:p>
        </p:txBody>
      </p:sp>
      <p:sp>
        <p:nvSpPr>
          <p:cNvPr id="4" name="Espace réservé du numéro de diapositive 3"/>
          <p:cNvSpPr>
            <a:spLocks noGrp="1"/>
          </p:cNvSpPr>
          <p:nvPr>
            <p:ph type="sldNum" sz="quarter" idx="5"/>
          </p:nvPr>
        </p:nvSpPr>
        <p:spPr/>
        <p:txBody>
          <a:bodyPr/>
          <a:lstStyle/>
          <a:p>
            <a:fld id="{0748A9F8-9560-9743-AE3D-EC4B3B8AF971}" type="slidenum">
              <a:rPr lang="fr-FR" smtClean="0"/>
              <a:t>2</a:t>
            </a:fld>
            <a:endParaRPr lang="fr-FR"/>
          </a:p>
        </p:txBody>
      </p:sp>
    </p:spTree>
    <p:extLst>
      <p:ext uri="{BB962C8B-B14F-4D97-AF65-F5344CB8AC3E}">
        <p14:creationId xmlns:p14="http://schemas.microsoft.com/office/powerpoint/2010/main" val="29771652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LT"/>
          </a:p>
        </p:txBody>
      </p:sp>
      <p:sp>
        <p:nvSpPr>
          <p:cNvPr id="4" name="Slide Number Placeholder 3"/>
          <p:cNvSpPr>
            <a:spLocks noGrp="1"/>
          </p:cNvSpPr>
          <p:nvPr>
            <p:ph type="sldNum" sz="quarter" idx="5"/>
          </p:nvPr>
        </p:nvSpPr>
        <p:spPr/>
        <p:txBody>
          <a:bodyPr/>
          <a:lstStyle/>
          <a:p>
            <a:fld id="{0748A9F8-9560-9743-AE3D-EC4B3B8AF971}" type="slidenum">
              <a:t>3</a:t>
            </a:fld>
            <a:endParaRPr lang="en-LT"/>
          </a:p>
        </p:txBody>
      </p:sp>
    </p:spTree>
    <p:extLst>
      <p:ext uri="{BB962C8B-B14F-4D97-AF65-F5344CB8AC3E}">
        <p14:creationId xmlns:p14="http://schemas.microsoft.com/office/powerpoint/2010/main" val="15489505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LT"/>
          </a:p>
        </p:txBody>
      </p:sp>
      <p:sp>
        <p:nvSpPr>
          <p:cNvPr id="4" name="Slide Number Placeholder 3"/>
          <p:cNvSpPr>
            <a:spLocks noGrp="1"/>
          </p:cNvSpPr>
          <p:nvPr>
            <p:ph type="sldNum" sz="quarter" idx="5"/>
          </p:nvPr>
        </p:nvSpPr>
        <p:spPr/>
        <p:txBody>
          <a:bodyPr/>
          <a:lstStyle/>
          <a:p>
            <a:fld id="{0748A9F8-9560-9743-AE3D-EC4B3B8AF971}" type="slidenum">
              <a:t>4</a:t>
            </a:fld>
            <a:endParaRPr lang="en-LT"/>
          </a:p>
        </p:txBody>
      </p:sp>
    </p:spTree>
    <p:extLst>
      <p:ext uri="{BB962C8B-B14F-4D97-AF65-F5344CB8AC3E}">
        <p14:creationId xmlns:p14="http://schemas.microsoft.com/office/powerpoint/2010/main" val="33061179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LT"/>
          </a:p>
        </p:txBody>
      </p:sp>
      <p:sp>
        <p:nvSpPr>
          <p:cNvPr id="4" name="Slide Number Placeholder 3"/>
          <p:cNvSpPr>
            <a:spLocks noGrp="1"/>
          </p:cNvSpPr>
          <p:nvPr>
            <p:ph type="sldNum" sz="quarter" idx="5"/>
          </p:nvPr>
        </p:nvSpPr>
        <p:spPr/>
        <p:txBody>
          <a:bodyPr/>
          <a:lstStyle/>
          <a:p>
            <a:fld id="{0748A9F8-9560-9743-AE3D-EC4B3B8AF971}" type="slidenum">
              <a:t>7</a:t>
            </a:fld>
            <a:endParaRPr lang="en-LT"/>
          </a:p>
        </p:txBody>
      </p:sp>
    </p:spTree>
    <p:extLst>
      <p:ext uri="{BB962C8B-B14F-4D97-AF65-F5344CB8AC3E}">
        <p14:creationId xmlns:p14="http://schemas.microsoft.com/office/powerpoint/2010/main" val="33296430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LT"/>
          </a:p>
        </p:txBody>
      </p:sp>
      <p:sp>
        <p:nvSpPr>
          <p:cNvPr id="4" name="Slide Number Placeholder 3"/>
          <p:cNvSpPr>
            <a:spLocks noGrp="1"/>
          </p:cNvSpPr>
          <p:nvPr>
            <p:ph type="sldNum" sz="quarter" idx="5"/>
          </p:nvPr>
        </p:nvSpPr>
        <p:spPr/>
        <p:txBody>
          <a:bodyPr/>
          <a:lstStyle/>
          <a:p>
            <a:fld id="{0748A9F8-9560-9743-AE3D-EC4B3B8AF971}" type="slidenum">
              <a:t>8</a:t>
            </a:fld>
            <a:endParaRPr lang="en-LT"/>
          </a:p>
        </p:txBody>
      </p:sp>
    </p:spTree>
    <p:extLst>
      <p:ext uri="{BB962C8B-B14F-4D97-AF65-F5344CB8AC3E}">
        <p14:creationId xmlns:p14="http://schemas.microsoft.com/office/powerpoint/2010/main" val="1238502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LT"/>
          </a:p>
        </p:txBody>
      </p:sp>
      <p:sp>
        <p:nvSpPr>
          <p:cNvPr id="4" name="Slide Number Placeholder 3"/>
          <p:cNvSpPr>
            <a:spLocks noGrp="1"/>
          </p:cNvSpPr>
          <p:nvPr>
            <p:ph type="sldNum" sz="quarter" idx="5"/>
          </p:nvPr>
        </p:nvSpPr>
        <p:spPr/>
        <p:txBody>
          <a:bodyPr/>
          <a:lstStyle/>
          <a:p>
            <a:fld id="{0748A9F8-9560-9743-AE3D-EC4B3B8AF971}" type="slidenum">
              <a:t>9</a:t>
            </a:fld>
            <a:endParaRPr lang="en-LT"/>
          </a:p>
        </p:txBody>
      </p:sp>
    </p:spTree>
    <p:extLst>
      <p:ext uri="{BB962C8B-B14F-4D97-AF65-F5344CB8AC3E}">
        <p14:creationId xmlns:p14="http://schemas.microsoft.com/office/powerpoint/2010/main" val="8318307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kern="1200" dirty="0">
                <a:solidFill>
                  <a:schemeClr val="tx1"/>
                </a:solidFill>
                <a:effectLst/>
                <a:latin typeface="+mn-lt"/>
                <a:ea typeface="+mn-ea"/>
                <a:cs typeface="+mn-cs"/>
              </a:rPr>
              <a:t>Imaginez que vous possédiez un site web. A chaque fois que vous voulez modifier quelque chose sur le site ou tester une fonctionnalité, vous êtes obligé d’effectuer une sauvegarde du site avant l’implémentation afin de pouvoir le restaurer si quelque chose se passe mal.</a:t>
            </a:r>
          </a:p>
          <a:p>
            <a:r>
              <a:rPr lang="fr-FR" sz="1200" b="0" i="0" kern="1200" dirty="0">
                <a:solidFill>
                  <a:schemeClr val="tx1"/>
                </a:solidFill>
                <a:effectLst/>
                <a:latin typeface="+mn-lt"/>
                <a:ea typeface="+mn-ea"/>
                <a:cs typeface="+mn-cs"/>
              </a:rPr>
              <a:t>Jusqu’ici, le procédé est contraignant car vous allez devoir effectuer une sauvegarde complète et restaurer la sauvegarde en cas de problème mais cela ne semble pas très complexe ni insurmontable.</a:t>
            </a:r>
          </a:p>
          <a:p>
            <a:r>
              <a:rPr lang="fr-FR" sz="1200" b="0" i="0" kern="1200" dirty="0">
                <a:solidFill>
                  <a:schemeClr val="tx1"/>
                </a:solidFill>
                <a:effectLst/>
                <a:latin typeface="+mn-lt"/>
                <a:ea typeface="+mn-ea"/>
                <a:cs typeface="+mn-cs"/>
              </a:rPr>
              <a:t>Imaginez maintenant que vous soyez 10 à travailler sur le même site web, en vous occupant chacun de développer des fonctionnalités différentes mais qui peuvent être liées entre elles. L’organisation du travail est ici beaucoup plus complexe puisqu’il va falloir s’assurer :</a:t>
            </a:r>
          </a:p>
          <a:p>
            <a:r>
              <a:rPr lang="fr-FR" sz="1200" b="0" i="0" kern="1200" dirty="0">
                <a:solidFill>
                  <a:schemeClr val="tx1"/>
                </a:solidFill>
                <a:effectLst/>
                <a:latin typeface="+mn-lt"/>
                <a:ea typeface="+mn-ea"/>
                <a:cs typeface="+mn-cs"/>
              </a:rPr>
              <a:t>Que les fonctionnalités sur lesquelles travaillent un développeur ne rentrent pas en conflit avec les fonctionnalités sur lesquelles travaillent des autres développeurs ;</a:t>
            </a:r>
          </a:p>
          <a:p>
            <a:r>
              <a:rPr lang="fr-FR" sz="1200" b="0" i="0" kern="1200" dirty="0">
                <a:solidFill>
                  <a:schemeClr val="tx1"/>
                </a:solidFill>
                <a:effectLst/>
                <a:latin typeface="+mn-lt"/>
                <a:ea typeface="+mn-ea"/>
                <a:cs typeface="+mn-cs"/>
              </a:rPr>
              <a:t>Que chaque développeur sache sur quoi travaillent les autres développeurs afin de travailler correctement ;</a:t>
            </a:r>
          </a:p>
          <a:p>
            <a:r>
              <a:rPr lang="fr-FR" sz="1200" b="0" i="0" kern="1200" dirty="0">
                <a:solidFill>
                  <a:schemeClr val="tx1"/>
                </a:solidFill>
                <a:effectLst/>
                <a:latin typeface="+mn-lt"/>
                <a:ea typeface="+mn-ea"/>
                <a:cs typeface="+mn-cs"/>
              </a:rPr>
              <a:t>que chaque développeur possède une version actualisée du site pour tester et implémenter ses fonctionnalités.</a:t>
            </a:r>
          </a:p>
          <a:p>
            <a:r>
              <a:rPr lang="fr-FR" sz="1200" b="0" i="0" kern="1200" dirty="0">
                <a:solidFill>
                  <a:schemeClr val="tx1"/>
                </a:solidFill>
                <a:effectLst/>
                <a:latin typeface="+mn-lt"/>
                <a:ea typeface="+mn-ea"/>
                <a:cs typeface="+mn-cs"/>
              </a:rPr>
              <a:t>Ici, l’idée la plus logique serait de mettre en place un serveur distant qui contiendrait l’historique des modifications faites par chaque développeur afin que chacun ait accès aux avancées des autres. Chaque développeur pourrait également copier l’intégralité du contenu du serveur pour travailler en local sur sa machine. On vient ainsi de créer un système de gestion de version décentralisé rudimentaire.</a:t>
            </a:r>
          </a:p>
          <a:p>
            <a:endParaRPr lang="fr-FR" dirty="0"/>
          </a:p>
        </p:txBody>
      </p:sp>
      <p:sp>
        <p:nvSpPr>
          <p:cNvPr id="4" name="Espace réservé du numéro de diapositive 3"/>
          <p:cNvSpPr>
            <a:spLocks noGrp="1"/>
          </p:cNvSpPr>
          <p:nvPr>
            <p:ph type="sldNum" sz="quarter" idx="5"/>
          </p:nvPr>
        </p:nvSpPr>
        <p:spPr/>
        <p:txBody>
          <a:bodyPr/>
          <a:lstStyle/>
          <a:p>
            <a:fld id="{0748A9F8-9560-9743-AE3D-EC4B3B8AF971}" type="slidenum">
              <a:rPr lang="fr-FR" smtClean="0"/>
              <a:t>12</a:t>
            </a:fld>
            <a:endParaRPr lang="fr-FR"/>
          </a:p>
        </p:txBody>
      </p:sp>
    </p:spTree>
    <p:extLst>
      <p:ext uri="{BB962C8B-B14F-4D97-AF65-F5344CB8AC3E}">
        <p14:creationId xmlns:p14="http://schemas.microsoft.com/office/powerpoint/2010/main" val="36032011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kern="1200" dirty="0">
                <a:solidFill>
                  <a:schemeClr val="tx1"/>
                </a:solidFill>
                <a:effectLst/>
                <a:latin typeface="+mn-lt"/>
                <a:ea typeface="+mn-ea"/>
                <a:cs typeface="+mn-cs"/>
              </a:rPr>
              <a:t>Imaginez que vous possédiez un site web. A chaque fois que vous voulez modifier quelque chose sur le site ou tester une fonctionnalité, vous êtes obligé d’effectuer une sauvegarde du site avant l’implémentation afin de pouvoir le restaurer si quelque chose se passe mal.</a:t>
            </a:r>
          </a:p>
          <a:p>
            <a:r>
              <a:rPr lang="fr-FR" sz="1200" b="0" i="0" kern="1200" dirty="0">
                <a:solidFill>
                  <a:schemeClr val="tx1"/>
                </a:solidFill>
                <a:effectLst/>
                <a:latin typeface="+mn-lt"/>
                <a:ea typeface="+mn-ea"/>
                <a:cs typeface="+mn-cs"/>
              </a:rPr>
              <a:t>Jusqu’ici, le procédé est contraignant car vous allez devoir effectuer une sauvegarde complète et restaurer la sauvegarde en cas de problème mais cela ne semble pas très complexe ni insurmontable.</a:t>
            </a:r>
          </a:p>
          <a:p>
            <a:r>
              <a:rPr lang="fr-FR" sz="1200" b="0" i="0" kern="1200" dirty="0">
                <a:solidFill>
                  <a:schemeClr val="tx1"/>
                </a:solidFill>
                <a:effectLst/>
                <a:latin typeface="+mn-lt"/>
                <a:ea typeface="+mn-ea"/>
                <a:cs typeface="+mn-cs"/>
              </a:rPr>
              <a:t>Imaginez maintenant que vous soyez 10 à travailler sur le même site web, en vous occupant chacun de développer des fonctionnalités différentes mais qui peuvent être liées entre elles. L’organisation du travail est ici beaucoup plus complexe puisqu’il va falloir s’assurer :</a:t>
            </a:r>
          </a:p>
          <a:p>
            <a:r>
              <a:rPr lang="fr-FR" sz="1200" b="0" i="0" kern="1200" dirty="0">
                <a:solidFill>
                  <a:schemeClr val="tx1"/>
                </a:solidFill>
                <a:effectLst/>
                <a:latin typeface="+mn-lt"/>
                <a:ea typeface="+mn-ea"/>
                <a:cs typeface="+mn-cs"/>
              </a:rPr>
              <a:t>Que les fonctionnalités sur lesquelles travaillent un développeur ne rentrent pas en conflit avec les fonctionnalités sur lesquelles travaillent des autres développeurs ;</a:t>
            </a:r>
          </a:p>
          <a:p>
            <a:r>
              <a:rPr lang="fr-FR" sz="1200" b="0" i="0" kern="1200" dirty="0">
                <a:solidFill>
                  <a:schemeClr val="tx1"/>
                </a:solidFill>
                <a:effectLst/>
                <a:latin typeface="+mn-lt"/>
                <a:ea typeface="+mn-ea"/>
                <a:cs typeface="+mn-cs"/>
              </a:rPr>
              <a:t>Que chaque développeur sache sur quoi travaillent les autres développeurs afin de travailler correctement ;</a:t>
            </a:r>
          </a:p>
          <a:p>
            <a:r>
              <a:rPr lang="fr-FR" sz="1200" b="0" i="0" kern="1200" dirty="0">
                <a:solidFill>
                  <a:schemeClr val="tx1"/>
                </a:solidFill>
                <a:effectLst/>
                <a:latin typeface="+mn-lt"/>
                <a:ea typeface="+mn-ea"/>
                <a:cs typeface="+mn-cs"/>
              </a:rPr>
              <a:t>que chaque développeur possède une version actualisée du site pour tester et implémenter ses fonctionnalités.</a:t>
            </a:r>
          </a:p>
          <a:p>
            <a:r>
              <a:rPr lang="fr-FR" sz="1200" b="0" i="0" kern="1200" dirty="0">
                <a:solidFill>
                  <a:schemeClr val="tx1"/>
                </a:solidFill>
                <a:effectLst/>
                <a:latin typeface="+mn-lt"/>
                <a:ea typeface="+mn-ea"/>
                <a:cs typeface="+mn-cs"/>
              </a:rPr>
              <a:t>Ici, l’idée la plus logique serait de mettre en place un serveur distant qui contiendrait l’historique des modifications faites par chaque développeur afin que chacun ait accès aux avancées des autres. Chaque développeur pourrait également copier l’intégralité du contenu du serveur pour travailler en local sur sa machine. On vient ainsi de créer un système de gestion de version décentralisé rudimentaire.</a:t>
            </a:r>
          </a:p>
          <a:p>
            <a:endParaRPr lang="fr-FR" dirty="0"/>
          </a:p>
        </p:txBody>
      </p:sp>
      <p:sp>
        <p:nvSpPr>
          <p:cNvPr id="4" name="Espace réservé du numéro de diapositive 3"/>
          <p:cNvSpPr>
            <a:spLocks noGrp="1"/>
          </p:cNvSpPr>
          <p:nvPr>
            <p:ph type="sldNum" sz="quarter" idx="5"/>
          </p:nvPr>
        </p:nvSpPr>
        <p:spPr/>
        <p:txBody>
          <a:bodyPr/>
          <a:lstStyle/>
          <a:p>
            <a:fld id="{0748A9F8-9560-9743-AE3D-EC4B3B8AF971}" type="slidenum">
              <a:rPr lang="fr-FR" smtClean="0"/>
              <a:t>15</a:t>
            </a:fld>
            <a:endParaRPr lang="fr-FR"/>
          </a:p>
        </p:txBody>
      </p:sp>
    </p:spTree>
    <p:extLst>
      <p:ext uri="{BB962C8B-B14F-4D97-AF65-F5344CB8AC3E}">
        <p14:creationId xmlns:p14="http://schemas.microsoft.com/office/powerpoint/2010/main" val="10772327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210F28-15AE-D548-A364-55A4F83117D4}"/>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LT"/>
          </a:p>
        </p:txBody>
      </p:sp>
      <p:sp>
        <p:nvSpPr>
          <p:cNvPr id="3" name="Subtitle 2">
            <a:extLst>
              <a:ext uri="{FF2B5EF4-FFF2-40B4-BE49-F238E27FC236}">
                <a16:creationId xmlns:a16="http://schemas.microsoft.com/office/drawing/2014/main" id="{44F632D6-4B9E-CF4E-B2F1-966E1978326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LT"/>
          </a:p>
        </p:txBody>
      </p:sp>
      <p:sp>
        <p:nvSpPr>
          <p:cNvPr id="4" name="Date Placeholder 3">
            <a:extLst>
              <a:ext uri="{FF2B5EF4-FFF2-40B4-BE49-F238E27FC236}">
                <a16:creationId xmlns:a16="http://schemas.microsoft.com/office/drawing/2014/main" id="{D1A195C5-A01A-0043-B22A-07B9752B9804}"/>
              </a:ext>
            </a:extLst>
          </p:cNvPr>
          <p:cNvSpPr>
            <a:spLocks noGrp="1"/>
          </p:cNvSpPr>
          <p:nvPr>
            <p:ph type="dt" sz="half" idx="10"/>
          </p:nvPr>
        </p:nvSpPr>
        <p:spPr/>
        <p:txBody>
          <a:bodyPr/>
          <a:lstStyle/>
          <a:p>
            <a:fld id="{BF6AB98E-06ED-244E-981C-8D5EDD09A1DD}" type="datetimeFigureOut">
              <a:t>21/10/2023</a:t>
            </a:fld>
            <a:endParaRPr lang="en-LT"/>
          </a:p>
        </p:txBody>
      </p:sp>
      <p:sp>
        <p:nvSpPr>
          <p:cNvPr id="5" name="Footer Placeholder 4">
            <a:extLst>
              <a:ext uri="{FF2B5EF4-FFF2-40B4-BE49-F238E27FC236}">
                <a16:creationId xmlns:a16="http://schemas.microsoft.com/office/drawing/2014/main" id="{D3A8D614-C70B-114C-BC72-83400061D8F2}"/>
              </a:ext>
            </a:extLst>
          </p:cNvPr>
          <p:cNvSpPr>
            <a:spLocks noGrp="1"/>
          </p:cNvSpPr>
          <p:nvPr>
            <p:ph type="ftr" sz="quarter" idx="11"/>
          </p:nvPr>
        </p:nvSpPr>
        <p:spPr/>
        <p:txBody>
          <a:bodyPr/>
          <a:lstStyle/>
          <a:p>
            <a:endParaRPr lang="en-LT"/>
          </a:p>
        </p:txBody>
      </p:sp>
      <p:sp>
        <p:nvSpPr>
          <p:cNvPr id="6" name="Slide Number Placeholder 5">
            <a:extLst>
              <a:ext uri="{FF2B5EF4-FFF2-40B4-BE49-F238E27FC236}">
                <a16:creationId xmlns:a16="http://schemas.microsoft.com/office/drawing/2014/main" id="{97EFF32F-E02F-9346-9A94-F2D9B201A683}"/>
              </a:ext>
            </a:extLst>
          </p:cNvPr>
          <p:cNvSpPr>
            <a:spLocks noGrp="1"/>
          </p:cNvSpPr>
          <p:nvPr>
            <p:ph type="sldNum" sz="quarter" idx="12"/>
          </p:nvPr>
        </p:nvSpPr>
        <p:spPr/>
        <p:txBody>
          <a:bodyPr/>
          <a:lstStyle/>
          <a:p>
            <a:fld id="{7D054021-B7F5-ED46-B19B-FD5F14D6394D}" type="slidenum">
              <a:t>‹#›</a:t>
            </a:fld>
            <a:endParaRPr lang="en-LT"/>
          </a:p>
        </p:txBody>
      </p:sp>
    </p:spTree>
    <p:extLst>
      <p:ext uri="{BB962C8B-B14F-4D97-AF65-F5344CB8AC3E}">
        <p14:creationId xmlns:p14="http://schemas.microsoft.com/office/powerpoint/2010/main" val="13072440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CCA21-EEA7-E746-AD6C-7174190B357E}"/>
              </a:ext>
            </a:extLst>
          </p:cNvPr>
          <p:cNvSpPr>
            <a:spLocks noGrp="1"/>
          </p:cNvSpPr>
          <p:nvPr>
            <p:ph type="title"/>
          </p:nvPr>
        </p:nvSpPr>
        <p:spPr/>
        <p:txBody>
          <a:bodyPr/>
          <a:lstStyle/>
          <a:p>
            <a:r>
              <a:rPr lang="en-GB"/>
              <a:t>Click to edit Master title style</a:t>
            </a:r>
            <a:endParaRPr lang="en-LT"/>
          </a:p>
        </p:txBody>
      </p:sp>
      <p:sp>
        <p:nvSpPr>
          <p:cNvPr id="3" name="Vertical Text Placeholder 2">
            <a:extLst>
              <a:ext uri="{FF2B5EF4-FFF2-40B4-BE49-F238E27FC236}">
                <a16:creationId xmlns:a16="http://schemas.microsoft.com/office/drawing/2014/main" id="{6728DD3A-571C-6946-B241-96479149AAE0}"/>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4" name="Date Placeholder 3">
            <a:extLst>
              <a:ext uri="{FF2B5EF4-FFF2-40B4-BE49-F238E27FC236}">
                <a16:creationId xmlns:a16="http://schemas.microsoft.com/office/drawing/2014/main" id="{0C11CB3A-C405-7049-A877-3BAD3AAFCF37}"/>
              </a:ext>
            </a:extLst>
          </p:cNvPr>
          <p:cNvSpPr>
            <a:spLocks noGrp="1"/>
          </p:cNvSpPr>
          <p:nvPr>
            <p:ph type="dt" sz="half" idx="10"/>
          </p:nvPr>
        </p:nvSpPr>
        <p:spPr/>
        <p:txBody>
          <a:bodyPr/>
          <a:lstStyle/>
          <a:p>
            <a:fld id="{BF6AB98E-06ED-244E-981C-8D5EDD09A1DD}" type="datetimeFigureOut">
              <a:t>21/10/2023</a:t>
            </a:fld>
            <a:endParaRPr lang="en-LT"/>
          </a:p>
        </p:txBody>
      </p:sp>
      <p:sp>
        <p:nvSpPr>
          <p:cNvPr id="5" name="Footer Placeholder 4">
            <a:extLst>
              <a:ext uri="{FF2B5EF4-FFF2-40B4-BE49-F238E27FC236}">
                <a16:creationId xmlns:a16="http://schemas.microsoft.com/office/drawing/2014/main" id="{3987860E-7664-A24A-92A6-B89822032C2A}"/>
              </a:ext>
            </a:extLst>
          </p:cNvPr>
          <p:cNvSpPr>
            <a:spLocks noGrp="1"/>
          </p:cNvSpPr>
          <p:nvPr>
            <p:ph type="ftr" sz="quarter" idx="11"/>
          </p:nvPr>
        </p:nvSpPr>
        <p:spPr/>
        <p:txBody>
          <a:bodyPr/>
          <a:lstStyle/>
          <a:p>
            <a:endParaRPr lang="en-LT"/>
          </a:p>
        </p:txBody>
      </p:sp>
      <p:sp>
        <p:nvSpPr>
          <p:cNvPr id="6" name="Slide Number Placeholder 5">
            <a:extLst>
              <a:ext uri="{FF2B5EF4-FFF2-40B4-BE49-F238E27FC236}">
                <a16:creationId xmlns:a16="http://schemas.microsoft.com/office/drawing/2014/main" id="{EC78F18B-7CFE-FA4C-B370-5CBF39DC27B4}"/>
              </a:ext>
            </a:extLst>
          </p:cNvPr>
          <p:cNvSpPr>
            <a:spLocks noGrp="1"/>
          </p:cNvSpPr>
          <p:nvPr>
            <p:ph type="sldNum" sz="quarter" idx="12"/>
          </p:nvPr>
        </p:nvSpPr>
        <p:spPr/>
        <p:txBody>
          <a:bodyPr/>
          <a:lstStyle/>
          <a:p>
            <a:fld id="{7D054021-B7F5-ED46-B19B-FD5F14D6394D}" type="slidenum">
              <a:t>‹#›</a:t>
            </a:fld>
            <a:endParaRPr lang="en-LT"/>
          </a:p>
        </p:txBody>
      </p:sp>
    </p:spTree>
    <p:extLst>
      <p:ext uri="{BB962C8B-B14F-4D97-AF65-F5344CB8AC3E}">
        <p14:creationId xmlns:p14="http://schemas.microsoft.com/office/powerpoint/2010/main" val="29337956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F768BF3-D403-AA4D-8307-1AD9089DD24E}"/>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LT"/>
          </a:p>
        </p:txBody>
      </p:sp>
      <p:sp>
        <p:nvSpPr>
          <p:cNvPr id="3" name="Vertical Text Placeholder 2">
            <a:extLst>
              <a:ext uri="{FF2B5EF4-FFF2-40B4-BE49-F238E27FC236}">
                <a16:creationId xmlns:a16="http://schemas.microsoft.com/office/drawing/2014/main" id="{A88AFDD1-C709-FC4A-A04E-681FC363A1C9}"/>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4" name="Date Placeholder 3">
            <a:extLst>
              <a:ext uri="{FF2B5EF4-FFF2-40B4-BE49-F238E27FC236}">
                <a16:creationId xmlns:a16="http://schemas.microsoft.com/office/drawing/2014/main" id="{4501A29A-7EBF-1640-901D-4BD39E48DDF7}"/>
              </a:ext>
            </a:extLst>
          </p:cNvPr>
          <p:cNvSpPr>
            <a:spLocks noGrp="1"/>
          </p:cNvSpPr>
          <p:nvPr>
            <p:ph type="dt" sz="half" idx="10"/>
          </p:nvPr>
        </p:nvSpPr>
        <p:spPr/>
        <p:txBody>
          <a:bodyPr/>
          <a:lstStyle/>
          <a:p>
            <a:fld id="{BF6AB98E-06ED-244E-981C-8D5EDD09A1DD}" type="datetimeFigureOut">
              <a:t>21/10/2023</a:t>
            </a:fld>
            <a:endParaRPr lang="en-LT"/>
          </a:p>
        </p:txBody>
      </p:sp>
      <p:sp>
        <p:nvSpPr>
          <p:cNvPr id="5" name="Footer Placeholder 4">
            <a:extLst>
              <a:ext uri="{FF2B5EF4-FFF2-40B4-BE49-F238E27FC236}">
                <a16:creationId xmlns:a16="http://schemas.microsoft.com/office/drawing/2014/main" id="{66CC7955-4B7C-6942-8197-B5FBD006FAAE}"/>
              </a:ext>
            </a:extLst>
          </p:cNvPr>
          <p:cNvSpPr>
            <a:spLocks noGrp="1"/>
          </p:cNvSpPr>
          <p:nvPr>
            <p:ph type="ftr" sz="quarter" idx="11"/>
          </p:nvPr>
        </p:nvSpPr>
        <p:spPr/>
        <p:txBody>
          <a:bodyPr/>
          <a:lstStyle/>
          <a:p>
            <a:endParaRPr lang="en-LT"/>
          </a:p>
        </p:txBody>
      </p:sp>
      <p:sp>
        <p:nvSpPr>
          <p:cNvPr id="6" name="Slide Number Placeholder 5">
            <a:extLst>
              <a:ext uri="{FF2B5EF4-FFF2-40B4-BE49-F238E27FC236}">
                <a16:creationId xmlns:a16="http://schemas.microsoft.com/office/drawing/2014/main" id="{7F9ED8B8-0753-BB4B-92EB-BAC0AD6DDB3B}"/>
              </a:ext>
            </a:extLst>
          </p:cNvPr>
          <p:cNvSpPr>
            <a:spLocks noGrp="1"/>
          </p:cNvSpPr>
          <p:nvPr>
            <p:ph type="sldNum" sz="quarter" idx="12"/>
          </p:nvPr>
        </p:nvSpPr>
        <p:spPr/>
        <p:txBody>
          <a:bodyPr/>
          <a:lstStyle/>
          <a:p>
            <a:fld id="{7D054021-B7F5-ED46-B19B-FD5F14D6394D}" type="slidenum">
              <a:t>‹#›</a:t>
            </a:fld>
            <a:endParaRPr lang="en-LT"/>
          </a:p>
        </p:txBody>
      </p:sp>
    </p:spTree>
    <p:extLst>
      <p:ext uri="{BB962C8B-B14F-4D97-AF65-F5344CB8AC3E}">
        <p14:creationId xmlns:p14="http://schemas.microsoft.com/office/powerpoint/2010/main" val="9968497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48B604-70AB-BB4D-A7E3-5B899F001964}"/>
              </a:ext>
            </a:extLst>
          </p:cNvPr>
          <p:cNvSpPr>
            <a:spLocks noGrp="1"/>
          </p:cNvSpPr>
          <p:nvPr>
            <p:ph type="title"/>
          </p:nvPr>
        </p:nvSpPr>
        <p:spPr/>
        <p:txBody>
          <a:bodyPr/>
          <a:lstStyle/>
          <a:p>
            <a:r>
              <a:rPr lang="en-GB"/>
              <a:t>Click to edit Master title style</a:t>
            </a:r>
            <a:endParaRPr lang="en-LT"/>
          </a:p>
        </p:txBody>
      </p:sp>
      <p:sp>
        <p:nvSpPr>
          <p:cNvPr id="3" name="Content Placeholder 2">
            <a:extLst>
              <a:ext uri="{FF2B5EF4-FFF2-40B4-BE49-F238E27FC236}">
                <a16:creationId xmlns:a16="http://schemas.microsoft.com/office/drawing/2014/main" id="{BEF3DC9C-0C6E-F943-A253-3A70BED0B401}"/>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4" name="Date Placeholder 3">
            <a:extLst>
              <a:ext uri="{FF2B5EF4-FFF2-40B4-BE49-F238E27FC236}">
                <a16:creationId xmlns:a16="http://schemas.microsoft.com/office/drawing/2014/main" id="{31D60614-AA81-9E49-82C3-FE971B86B18B}"/>
              </a:ext>
            </a:extLst>
          </p:cNvPr>
          <p:cNvSpPr>
            <a:spLocks noGrp="1"/>
          </p:cNvSpPr>
          <p:nvPr>
            <p:ph type="dt" sz="half" idx="10"/>
          </p:nvPr>
        </p:nvSpPr>
        <p:spPr/>
        <p:txBody>
          <a:bodyPr/>
          <a:lstStyle/>
          <a:p>
            <a:fld id="{BF6AB98E-06ED-244E-981C-8D5EDD09A1DD}" type="datetimeFigureOut">
              <a:t>21/10/2023</a:t>
            </a:fld>
            <a:endParaRPr lang="en-LT"/>
          </a:p>
        </p:txBody>
      </p:sp>
      <p:sp>
        <p:nvSpPr>
          <p:cNvPr id="5" name="Footer Placeholder 4">
            <a:extLst>
              <a:ext uri="{FF2B5EF4-FFF2-40B4-BE49-F238E27FC236}">
                <a16:creationId xmlns:a16="http://schemas.microsoft.com/office/drawing/2014/main" id="{37923032-A82F-CD4F-A91D-55756F852D27}"/>
              </a:ext>
            </a:extLst>
          </p:cNvPr>
          <p:cNvSpPr>
            <a:spLocks noGrp="1"/>
          </p:cNvSpPr>
          <p:nvPr>
            <p:ph type="ftr" sz="quarter" idx="11"/>
          </p:nvPr>
        </p:nvSpPr>
        <p:spPr/>
        <p:txBody>
          <a:bodyPr/>
          <a:lstStyle/>
          <a:p>
            <a:endParaRPr lang="en-LT"/>
          </a:p>
        </p:txBody>
      </p:sp>
      <p:sp>
        <p:nvSpPr>
          <p:cNvPr id="6" name="Slide Number Placeholder 5">
            <a:extLst>
              <a:ext uri="{FF2B5EF4-FFF2-40B4-BE49-F238E27FC236}">
                <a16:creationId xmlns:a16="http://schemas.microsoft.com/office/drawing/2014/main" id="{2FF5DD38-8AF1-D548-89E6-A31E90732E66}"/>
              </a:ext>
            </a:extLst>
          </p:cNvPr>
          <p:cNvSpPr>
            <a:spLocks noGrp="1"/>
          </p:cNvSpPr>
          <p:nvPr>
            <p:ph type="sldNum" sz="quarter" idx="12"/>
          </p:nvPr>
        </p:nvSpPr>
        <p:spPr/>
        <p:txBody>
          <a:bodyPr/>
          <a:lstStyle/>
          <a:p>
            <a:fld id="{7D054021-B7F5-ED46-B19B-FD5F14D6394D}" type="slidenum">
              <a:t>‹#›</a:t>
            </a:fld>
            <a:endParaRPr lang="en-LT"/>
          </a:p>
        </p:txBody>
      </p:sp>
    </p:spTree>
    <p:extLst>
      <p:ext uri="{BB962C8B-B14F-4D97-AF65-F5344CB8AC3E}">
        <p14:creationId xmlns:p14="http://schemas.microsoft.com/office/powerpoint/2010/main" val="27840542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67150F-1759-E744-AE43-A0D335CCC455}"/>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LT"/>
          </a:p>
        </p:txBody>
      </p:sp>
      <p:sp>
        <p:nvSpPr>
          <p:cNvPr id="3" name="Text Placeholder 2">
            <a:extLst>
              <a:ext uri="{FF2B5EF4-FFF2-40B4-BE49-F238E27FC236}">
                <a16:creationId xmlns:a16="http://schemas.microsoft.com/office/drawing/2014/main" id="{08DC07FA-F50C-CE49-926D-CAE1C38D928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CE797CA0-FBD2-C846-97AB-78B5AC1610E9}"/>
              </a:ext>
            </a:extLst>
          </p:cNvPr>
          <p:cNvSpPr>
            <a:spLocks noGrp="1"/>
          </p:cNvSpPr>
          <p:nvPr>
            <p:ph type="dt" sz="half" idx="10"/>
          </p:nvPr>
        </p:nvSpPr>
        <p:spPr/>
        <p:txBody>
          <a:bodyPr/>
          <a:lstStyle/>
          <a:p>
            <a:fld id="{BF6AB98E-06ED-244E-981C-8D5EDD09A1DD}" type="datetimeFigureOut">
              <a:t>21/10/2023</a:t>
            </a:fld>
            <a:endParaRPr lang="en-LT"/>
          </a:p>
        </p:txBody>
      </p:sp>
      <p:sp>
        <p:nvSpPr>
          <p:cNvPr id="5" name="Footer Placeholder 4">
            <a:extLst>
              <a:ext uri="{FF2B5EF4-FFF2-40B4-BE49-F238E27FC236}">
                <a16:creationId xmlns:a16="http://schemas.microsoft.com/office/drawing/2014/main" id="{65ECC4AE-11D2-4649-A108-B09E0B4FEE19}"/>
              </a:ext>
            </a:extLst>
          </p:cNvPr>
          <p:cNvSpPr>
            <a:spLocks noGrp="1"/>
          </p:cNvSpPr>
          <p:nvPr>
            <p:ph type="ftr" sz="quarter" idx="11"/>
          </p:nvPr>
        </p:nvSpPr>
        <p:spPr/>
        <p:txBody>
          <a:bodyPr/>
          <a:lstStyle/>
          <a:p>
            <a:endParaRPr lang="en-LT"/>
          </a:p>
        </p:txBody>
      </p:sp>
      <p:sp>
        <p:nvSpPr>
          <p:cNvPr id="6" name="Slide Number Placeholder 5">
            <a:extLst>
              <a:ext uri="{FF2B5EF4-FFF2-40B4-BE49-F238E27FC236}">
                <a16:creationId xmlns:a16="http://schemas.microsoft.com/office/drawing/2014/main" id="{F5347B62-2F93-1A41-BD07-481ACD8EBC65}"/>
              </a:ext>
            </a:extLst>
          </p:cNvPr>
          <p:cNvSpPr>
            <a:spLocks noGrp="1"/>
          </p:cNvSpPr>
          <p:nvPr>
            <p:ph type="sldNum" sz="quarter" idx="12"/>
          </p:nvPr>
        </p:nvSpPr>
        <p:spPr/>
        <p:txBody>
          <a:bodyPr/>
          <a:lstStyle/>
          <a:p>
            <a:fld id="{7D054021-B7F5-ED46-B19B-FD5F14D6394D}" type="slidenum">
              <a:t>‹#›</a:t>
            </a:fld>
            <a:endParaRPr lang="en-LT"/>
          </a:p>
        </p:txBody>
      </p:sp>
    </p:spTree>
    <p:extLst>
      <p:ext uri="{BB962C8B-B14F-4D97-AF65-F5344CB8AC3E}">
        <p14:creationId xmlns:p14="http://schemas.microsoft.com/office/powerpoint/2010/main" val="21120579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285496-2043-6646-9E83-10C12E54CB1E}"/>
              </a:ext>
            </a:extLst>
          </p:cNvPr>
          <p:cNvSpPr>
            <a:spLocks noGrp="1"/>
          </p:cNvSpPr>
          <p:nvPr>
            <p:ph type="title"/>
          </p:nvPr>
        </p:nvSpPr>
        <p:spPr/>
        <p:txBody>
          <a:bodyPr/>
          <a:lstStyle/>
          <a:p>
            <a:r>
              <a:rPr lang="en-GB"/>
              <a:t>Click to edit Master title style</a:t>
            </a:r>
            <a:endParaRPr lang="en-LT"/>
          </a:p>
        </p:txBody>
      </p:sp>
      <p:sp>
        <p:nvSpPr>
          <p:cNvPr id="3" name="Content Placeholder 2">
            <a:extLst>
              <a:ext uri="{FF2B5EF4-FFF2-40B4-BE49-F238E27FC236}">
                <a16:creationId xmlns:a16="http://schemas.microsoft.com/office/drawing/2014/main" id="{6F79BF5D-4BA9-A24D-94D6-4CE1DFEFD580}"/>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4" name="Content Placeholder 3">
            <a:extLst>
              <a:ext uri="{FF2B5EF4-FFF2-40B4-BE49-F238E27FC236}">
                <a16:creationId xmlns:a16="http://schemas.microsoft.com/office/drawing/2014/main" id="{9551BC49-4921-F84A-AEFF-DB3AC81742F1}"/>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5" name="Date Placeholder 4">
            <a:extLst>
              <a:ext uri="{FF2B5EF4-FFF2-40B4-BE49-F238E27FC236}">
                <a16:creationId xmlns:a16="http://schemas.microsoft.com/office/drawing/2014/main" id="{EC5873E8-EA7F-4D4B-887B-284CBFCED8F4}"/>
              </a:ext>
            </a:extLst>
          </p:cNvPr>
          <p:cNvSpPr>
            <a:spLocks noGrp="1"/>
          </p:cNvSpPr>
          <p:nvPr>
            <p:ph type="dt" sz="half" idx="10"/>
          </p:nvPr>
        </p:nvSpPr>
        <p:spPr/>
        <p:txBody>
          <a:bodyPr/>
          <a:lstStyle/>
          <a:p>
            <a:fld id="{BF6AB98E-06ED-244E-981C-8D5EDD09A1DD}" type="datetimeFigureOut">
              <a:t>21/10/2023</a:t>
            </a:fld>
            <a:endParaRPr lang="en-LT"/>
          </a:p>
        </p:txBody>
      </p:sp>
      <p:sp>
        <p:nvSpPr>
          <p:cNvPr id="6" name="Footer Placeholder 5">
            <a:extLst>
              <a:ext uri="{FF2B5EF4-FFF2-40B4-BE49-F238E27FC236}">
                <a16:creationId xmlns:a16="http://schemas.microsoft.com/office/drawing/2014/main" id="{27C2885E-F8FC-A049-B370-3F11D5106D09}"/>
              </a:ext>
            </a:extLst>
          </p:cNvPr>
          <p:cNvSpPr>
            <a:spLocks noGrp="1"/>
          </p:cNvSpPr>
          <p:nvPr>
            <p:ph type="ftr" sz="quarter" idx="11"/>
          </p:nvPr>
        </p:nvSpPr>
        <p:spPr/>
        <p:txBody>
          <a:bodyPr/>
          <a:lstStyle/>
          <a:p>
            <a:endParaRPr lang="en-LT"/>
          </a:p>
        </p:txBody>
      </p:sp>
      <p:sp>
        <p:nvSpPr>
          <p:cNvPr id="7" name="Slide Number Placeholder 6">
            <a:extLst>
              <a:ext uri="{FF2B5EF4-FFF2-40B4-BE49-F238E27FC236}">
                <a16:creationId xmlns:a16="http://schemas.microsoft.com/office/drawing/2014/main" id="{8138736F-1196-E74D-BC71-80ECF0043AB5}"/>
              </a:ext>
            </a:extLst>
          </p:cNvPr>
          <p:cNvSpPr>
            <a:spLocks noGrp="1"/>
          </p:cNvSpPr>
          <p:nvPr>
            <p:ph type="sldNum" sz="quarter" idx="12"/>
          </p:nvPr>
        </p:nvSpPr>
        <p:spPr/>
        <p:txBody>
          <a:bodyPr/>
          <a:lstStyle/>
          <a:p>
            <a:fld id="{7D054021-B7F5-ED46-B19B-FD5F14D6394D}" type="slidenum">
              <a:t>‹#›</a:t>
            </a:fld>
            <a:endParaRPr lang="en-LT"/>
          </a:p>
        </p:txBody>
      </p:sp>
    </p:spTree>
    <p:extLst>
      <p:ext uri="{BB962C8B-B14F-4D97-AF65-F5344CB8AC3E}">
        <p14:creationId xmlns:p14="http://schemas.microsoft.com/office/powerpoint/2010/main" val="1628492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EEFA9-1BD2-8845-B434-23E91A74421A}"/>
              </a:ext>
            </a:extLst>
          </p:cNvPr>
          <p:cNvSpPr>
            <a:spLocks noGrp="1"/>
          </p:cNvSpPr>
          <p:nvPr>
            <p:ph type="title"/>
          </p:nvPr>
        </p:nvSpPr>
        <p:spPr>
          <a:xfrm>
            <a:off x="839788" y="365125"/>
            <a:ext cx="10515600" cy="1325563"/>
          </a:xfrm>
        </p:spPr>
        <p:txBody>
          <a:bodyPr/>
          <a:lstStyle/>
          <a:p>
            <a:r>
              <a:rPr lang="en-GB"/>
              <a:t>Click to edit Master title style</a:t>
            </a:r>
            <a:endParaRPr lang="en-LT"/>
          </a:p>
        </p:txBody>
      </p:sp>
      <p:sp>
        <p:nvSpPr>
          <p:cNvPr id="3" name="Text Placeholder 2">
            <a:extLst>
              <a:ext uri="{FF2B5EF4-FFF2-40B4-BE49-F238E27FC236}">
                <a16:creationId xmlns:a16="http://schemas.microsoft.com/office/drawing/2014/main" id="{D2260310-FB48-7E4C-88AA-6BFB7460F22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0FAEC563-5397-124A-8527-D43BC7E464DE}"/>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5" name="Text Placeholder 4">
            <a:extLst>
              <a:ext uri="{FF2B5EF4-FFF2-40B4-BE49-F238E27FC236}">
                <a16:creationId xmlns:a16="http://schemas.microsoft.com/office/drawing/2014/main" id="{772649B5-DF08-C94D-B69D-A4B7D2634A8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C183EFA5-71F3-D548-8445-EF024CA24B83}"/>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7" name="Date Placeholder 6">
            <a:extLst>
              <a:ext uri="{FF2B5EF4-FFF2-40B4-BE49-F238E27FC236}">
                <a16:creationId xmlns:a16="http://schemas.microsoft.com/office/drawing/2014/main" id="{2FD3B84A-D4EE-FF4B-AF21-179230D42B33}"/>
              </a:ext>
            </a:extLst>
          </p:cNvPr>
          <p:cNvSpPr>
            <a:spLocks noGrp="1"/>
          </p:cNvSpPr>
          <p:nvPr>
            <p:ph type="dt" sz="half" idx="10"/>
          </p:nvPr>
        </p:nvSpPr>
        <p:spPr/>
        <p:txBody>
          <a:bodyPr/>
          <a:lstStyle/>
          <a:p>
            <a:fld id="{BF6AB98E-06ED-244E-981C-8D5EDD09A1DD}" type="datetimeFigureOut">
              <a:t>21/10/2023</a:t>
            </a:fld>
            <a:endParaRPr lang="en-LT"/>
          </a:p>
        </p:txBody>
      </p:sp>
      <p:sp>
        <p:nvSpPr>
          <p:cNvPr id="8" name="Footer Placeholder 7">
            <a:extLst>
              <a:ext uri="{FF2B5EF4-FFF2-40B4-BE49-F238E27FC236}">
                <a16:creationId xmlns:a16="http://schemas.microsoft.com/office/drawing/2014/main" id="{88A837E4-69E5-CC42-84EC-5748054E6912}"/>
              </a:ext>
            </a:extLst>
          </p:cNvPr>
          <p:cNvSpPr>
            <a:spLocks noGrp="1"/>
          </p:cNvSpPr>
          <p:nvPr>
            <p:ph type="ftr" sz="quarter" idx="11"/>
          </p:nvPr>
        </p:nvSpPr>
        <p:spPr/>
        <p:txBody>
          <a:bodyPr/>
          <a:lstStyle/>
          <a:p>
            <a:endParaRPr lang="en-LT"/>
          </a:p>
        </p:txBody>
      </p:sp>
      <p:sp>
        <p:nvSpPr>
          <p:cNvPr id="9" name="Slide Number Placeholder 8">
            <a:extLst>
              <a:ext uri="{FF2B5EF4-FFF2-40B4-BE49-F238E27FC236}">
                <a16:creationId xmlns:a16="http://schemas.microsoft.com/office/drawing/2014/main" id="{FC2A8D97-40CD-0842-88E7-B456F03E0BA8}"/>
              </a:ext>
            </a:extLst>
          </p:cNvPr>
          <p:cNvSpPr>
            <a:spLocks noGrp="1"/>
          </p:cNvSpPr>
          <p:nvPr>
            <p:ph type="sldNum" sz="quarter" idx="12"/>
          </p:nvPr>
        </p:nvSpPr>
        <p:spPr/>
        <p:txBody>
          <a:bodyPr/>
          <a:lstStyle/>
          <a:p>
            <a:fld id="{7D054021-B7F5-ED46-B19B-FD5F14D6394D}" type="slidenum">
              <a:t>‹#›</a:t>
            </a:fld>
            <a:endParaRPr lang="en-LT"/>
          </a:p>
        </p:txBody>
      </p:sp>
    </p:spTree>
    <p:extLst>
      <p:ext uri="{BB962C8B-B14F-4D97-AF65-F5344CB8AC3E}">
        <p14:creationId xmlns:p14="http://schemas.microsoft.com/office/powerpoint/2010/main" val="33153837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5E3EC6-632D-6343-81E9-A4BE13DCC92E}"/>
              </a:ext>
            </a:extLst>
          </p:cNvPr>
          <p:cNvSpPr>
            <a:spLocks noGrp="1"/>
          </p:cNvSpPr>
          <p:nvPr>
            <p:ph type="title"/>
          </p:nvPr>
        </p:nvSpPr>
        <p:spPr/>
        <p:txBody>
          <a:bodyPr/>
          <a:lstStyle/>
          <a:p>
            <a:r>
              <a:rPr lang="en-GB"/>
              <a:t>Click to edit Master title style</a:t>
            </a:r>
            <a:endParaRPr lang="en-LT"/>
          </a:p>
        </p:txBody>
      </p:sp>
      <p:sp>
        <p:nvSpPr>
          <p:cNvPr id="3" name="Date Placeholder 2">
            <a:extLst>
              <a:ext uri="{FF2B5EF4-FFF2-40B4-BE49-F238E27FC236}">
                <a16:creationId xmlns:a16="http://schemas.microsoft.com/office/drawing/2014/main" id="{67AD35AF-ACAD-2441-8E49-75E693980653}"/>
              </a:ext>
            </a:extLst>
          </p:cNvPr>
          <p:cNvSpPr>
            <a:spLocks noGrp="1"/>
          </p:cNvSpPr>
          <p:nvPr>
            <p:ph type="dt" sz="half" idx="10"/>
          </p:nvPr>
        </p:nvSpPr>
        <p:spPr/>
        <p:txBody>
          <a:bodyPr/>
          <a:lstStyle/>
          <a:p>
            <a:fld id="{BF6AB98E-06ED-244E-981C-8D5EDD09A1DD}" type="datetimeFigureOut">
              <a:t>21/10/2023</a:t>
            </a:fld>
            <a:endParaRPr lang="en-LT"/>
          </a:p>
        </p:txBody>
      </p:sp>
      <p:sp>
        <p:nvSpPr>
          <p:cNvPr id="4" name="Footer Placeholder 3">
            <a:extLst>
              <a:ext uri="{FF2B5EF4-FFF2-40B4-BE49-F238E27FC236}">
                <a16:creationId xmlns:a16="http://schemas.microsoft.com/office/drawing/2014/main" id="{62BA7882-6BEC-2B4D-B62C-418E38B4E0FC}"/>
              </a:ext>
            </a:extLst>
          </p:cNvPr>
          <p:cNvSpPr>
            <a:spLocks noGrp="1"/>
          </p:cNvSpPr>
          <p:nvPr>
            <p:ph type="ftr" sz="quarter" idx="11"/>
          </p:nvPr>
        </p:nvSpPr>
        <p:spPr/>
        <p:txBody>
          <a:bodyPr/>
          <a:lstStyle/>
          <a:p>
            <a:endParaRPr lang="en-LT"/>
          </a:p>
        </p:txBody>
      </p:sp>
      <p:sp>
        <p:nvSpPr>
          <p:cNvPr id="5" name="Slide Number Placeholder 4">
            <a:extLst>
              <a:ext uri="{FF2B5EF4-FFF2-40B4-BE49-F238E27FC236}">
                <a16:creationId xmlns:a16="http://schemas.microsoft.com/office/drawing/2014/main" id="{09C95A66-5963-A641-BE4E-A8A34F66B6E0}"/>
              </a:ext>
            </a:extLst>
          </p:cNvPr>
          <p:cNvSpPr>
            <a:spLocks noGrp="1"/>
          </p:cNvSpPr>
          <p:nvPr>
            <p:ph type="sldNum" sz="quarter" idx="12"/>
          </p:nvPr>
        </p:nvSpPr>
        <p:spPr/>
        <p:txBody>
          <a:bodyPr/>
          <a:lstStyle/>
          <a:p>
            <a:fld id="{7D054021-B7F5-ED46-B19B-FD5F14D6394D}" type="slidenum">
              <a:t>‹#›</a:t>
            </a:fld>
            <a:endParaRPr lang="en-LT"/>
          </a:p>
        </p:txBody>
      </p:sp>
    </p:spTree>
    <p:extLst>
      <p:ext uri="{BB962C8B-B14F-4D97-AF65-F5344CB8AC3E}">
        <p14:creationId xmlns:p14="http://schemas.microsoft.com/office/powerpoint/2010/main" val="23880571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CFC361D-141D-8940-921C-2B8BB4855EA4}"/>
              </a:ext>
            </a:extLst>
          </p:cNvPr>
          <p:cNvSpPr>
            <a:spLocks noGrp="1"/>
          </p:cNvSpPr>
          <p:nvPr>
            <p:ph type="dt" sz="half" idx="10"/>
          </p:nvPr>
        </p:nvSpPr>
        <p:spPr/>
        <p:txBody>
          <a:bodyPr/>
          <a:lstStyle/>
          <a:p>
            <a:fld id="{BF6AB98E-06ED-244E-981C-8D5EDD09A1DD}" type="datetimeFigureOut">
              <a:t>21/10/2023</a:t>
            </a:fld>
            <a:endParaRPr lang="en-LT"/>
          </a:p>
        </p:txBody>
      </p:sp>
      <p:sp>
        <p:nvSpPr>
          <p:cNvPr id="3" name="Footer Placeholder 2">
            <a:extLst>
              <a:ext uri="{FF2B5EF4-FFF2-40B4-BE49-F238E27FC236}">
                <a16:creationId xmlns:a16="http://schemas.microsoft.com/office/drawing/2014/main" id="{B2166728-4CA4-3C41-9091-BC8AFA573AE6}"/>
              </a:ext>
            </a:extLst>
          </p:cNvPr>
          <p:cNvSpPr>
            <a:spLocks noGrp="1"/>
          </p:cNvSpPr>
          <p:nvPr>
            <p:ph type="ftr" sz="quarter" idx="11"/>
          </p:nvPr>
        </p:nvSpPr>
        <p:spPr/>
        <p:txBody>
          <a:bodyPr/>
          <a:lstStyle/>
          <a:p>
            <a:endParaRPr lang="en-LT"/>
          </a:p>
        </p:txBody>
      </p:sp>
      <p:sp>
        <p:nvSpPr>
          <p:cNvPr id="4" name="Slide Number Placeholder 3">
            <a:extLst>
              <a:ext uri="{FF2B5EF4-FFF2-40B4-BE49-F238E27FC236}">
                <a16:creationId xmlns:a16="http://schemas.microsoft.com/office/drawing/2014/main" id="{D75A811D-A684-2542-9A0B-EC0B1564E0C5}"/>
              </a:ext>
            </a:extLst>
          </p:cNvPr>
          <p:cNvSpPr>
            <a:spLocks noGrp="1"/>
          </p:cNvSpPr>
          <p:nvPr>
            <p:ph type="sldNum" sz="quarter" idx="12"/>
          </p:nvPr>
        </p:nvSpPr>
        <p:spPr/>
        <p:txBody>
          <a:bodyPr/>
          <a:lstStyle/>
          <a:p>
            <a:fld id="{7D054021-B7F5-ED46-B19B-FD5F14D6394D}" type="slidenum">
              <a:t>‹#›</a:t>
            </a:fld>
            <a:endParaRPr lang="en-LT"/>
          </a:p>
        </p:txBody>
      </p:sp>
    </p:spTree>
    <p:extLst>
      <p:ext uri="{BB962C8B-B14F-4D97-AF65-F5344CB8AC3E}">
        <p14:creationId xmlns:p14="http://schemas.microsoft.com/office/powerpoint/2010/main" val="37709828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B2D2D-99D1-5E4F-9151-DEEDEA675210}"/>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LT"/>
          </a:p>
        </p:txBody>
      </p:sp>
      <p:sp>
        <p:nvSpPr>
          <p:cNvPr id="3" name="Content Placeholder 2">
            <a:extLst>
              <a:ext uri="{FF2B5EF4-FFF2-40B4-BE49-F238E27FC236}">
                <a16:creationId xmlns:a16="http://schemas.microsoft.com/office/drawing/2014/main" id="{82420829-B44B-D146-9CF6-21A1115D731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4" name="Text Placeholder 3">
            <a:extLst>
              <a:ext uri="{FF2B5EF4-FFF2-40B4-BE49-F238E27FC236}">
                <a16:creationId xmlns:a16="http://schemas.microsoft.com/office/drawing/2014/main" id="{2E31B511-1552-4945-B52E-5F346ED8413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0E44C71B-A518-FB4A-BA28-83701CC4AEC7}"/>
              </a:ext>
            </a:extLst>
          </p:cNvPr>
          <p:cNvSpPr>
            <a:spLocks noGrp="1"/>
          </p:cNvSpPr>
          <p:nvPr>
            <p:ph type="dt" sz="half" idx="10"/>
          </p:nvPr>
        </p:nvSpPr>
        <p:spPr/>
        <p:txBody>
          <a:bodyPr/>
          <a:lstStyle/>
          <a:p>
            <a:fld id="{BF6AB98E-06ED-244E-981C-8D5EDD09A1DD}" type="datetimeFigureOut">
              <a:t>21/10/2023</a:t>
            </a:fld>
            <a:endParaRPr lang="en-LT"/>
          </a:p>
        </p:txBody>
      </p:sp>
      <p:sp>
        <p:nvSpPr>
          <p:cNvPr id="6" name="Footer Placeholder 5">
            <a:extLst>
              <a:ext uri="{FF2B5EF4-FFF2-40B4-BE49-F238E27FC236}">
                <a16:creationId xmlns:a16="http://schemas.microsoft.com/office/drawing/2014/main" id="{A61E08EB-0C0F-F341-823A-D186866B35B5}"/>
              </a:ext>
            </a:extLst>
          </p:cNvPr>
          <p:cNvSpPr>
            <a:spLocks noGrp="1"/>
          </p:cNvSpPr>
          <p:nvPr>
            <p:ph type="ftr" sz="quarter" idx="11"/>
          </p:nvPr>
        </p:nvSpPr>
        <p:spPr/>
        <p:txBody>
          <a:bodyPr/>
          <a:lstStyle/>
          <a:p>
            <a:endParaRPr lang="en-LT"/>
          </a:p>
        </p:txBody>
      </p:sp>
      <p:sp>
        <p:nvSpPr>
          <p:cNvPr id="7" name="Slide Number Placeholder 6">
            <a:extLst>
              <a:ext uri="{FF2B5EF4-FFF2-40B4-BE49-F238E27FC236}">
                <a16:creationId xmlns:a16="http://schemas.microsoft.com/office/drawing/2014/main" id="{E7C22198-E8FE-DC45-A893-4372F8FE6B0C}"/>
              </a:ext>
            </a:extLst>
          </p:cNvPr>
          <p:cNvSpPr>
            <a:spLocks noGrp="1"/>
          </p:cNvSpPr>
          <p:nvPr>
            <p:ph type="sldNum" sz="quarter" idx="12"/>
          </p:nvPr>
        </p:nvSpPr>
        <p:spPr/>
        <p:txBody>
          <a:bodyPr/>
          <a:lstStyle/>
          <a:p>
            <a:fld id="{7D054021-B7F5-ED46-B19B-FD5F14D6394D}" type="slidenum">
              <a:t>‹#›</a:t>
            </a:fld>
            <a:endParaRPr lang="en-LT"/>
          </a:p>
        </p:txBody>
      </p:sp>
    </p:spTree>
    <p:extLst>
      <p:ext uri="{BB962C8B-B14F-4D97-AF65-F5344CB8AC3E}">
        <p14:creationId xmlns:p14="http://schemas.microsoft.com/office/powerpoint/2010/main" val="28769259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50B31-481F-2F4B-9812-5193BB42EE6B}"/>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LT"/>
          </a:p>
        </p:txBody>
      </p:sp>
      <p:sp>
        <p:nvSpPr>
          <p:cNvPr id="3" name="Picture Placeholder 2">
            <a:extLst>
              <a:ext uri="{FF2B5EF4-FFF2-40B4-BE49-F238E27FC236}">
                <a16:creationId xmlns:a16="http://schemas.microsoft.com/office/drawing/2014/main" id="{B6998F9E-E5CE-EC4E-B71F-B397625D231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LT"/>
          </a:p>
        </p:txBody>
      </p:sp>
      <p:sp>
        <p:nvSpPr>
          <p:cNvPr id="4" name="Text Placeholder 3">
            <a:extLst>
              <a:ext uri="{FF2B5EF4-FFF2-40B4-BE49-F238E27FC236}">
                <a16:creationId xmlns:a16="http://schemas.microsoft.com/office/drawing/2014/main" id="{150FCF30-71D9-9C4D-8F9F-FCF564E239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AB07861C-B636-764A-9CD3-823E81C07FF3}"/>
              </a:ext>
            </a:extLst>
          </p:cNvPr>
          <p:cNvSpPr>
            <a:spLocks noGrp="1"/>
          </p:cNvSpPr>
          <p:nvPr>
            <p:ph type="dt" sz="half" idx="10"/>
          </p:nvPr>
        </p:nvSpPr>
        <p:spPr/>
        <p:txBody>
          <a:bodyPr/>
          <a:lstStyle/>
          <a:p>
            <a:fld id="{BF6AB98E-06ED-244E-981C-8D5EDD09A1DD}" type="datetimeFigureOut">
              <a:t>21/10/2023</a:t>
            </a:fld>
            <a:endParaRPr lang="en-LT"/>
          </a:p>
        </p:txBody>
      </p:sp>
      <p:sp>
        <p:nvSpPr>
          <p:cNvPr id="6" name="Footer Placeholder 5">
            <a:extLst>
              <a:ext uri="{FF2B5EF4-FFF2-40B4-BE49-F238E27FC236}">
                <a16:creationId xmlns:a16="http://schemas.microsoft.com/office/drawing/2014/main" id="{C81520BE-944B-324F-B2AC-47EC19C028AE}"/>
              </a:ext>
            </a:extLst>
          </p:cNvPr>
          <p:cNvSpPr>
            <a:spLocks noGrp="1"/>
          </p:cNvSpPr>
          <p:nvPr>
            <p:ph type="ftr" sz="quarter" idx="11"/>
          </p:nvPr>
        </p:nvSpPr>
        <p:spPr/>
        <p:txBody>
          <a:bodyPr/>
          <a:lstStyle/>
          <a:p>
            <a:endParaRPr lang="en-LT"/>
          </a:p>
        </p:txBody>
      </p:sp>
      <p:sp>
        <p:nvSpPr>
          <p:cNvPr id="7" name="Slide Number Placeholder 6">
            <a:extLst>
              <a:ext uri="{FF2B5EF4-FFF2-40B4-BE49-F238E27FC236}">
                <a16:creationId xmlns:a16="http://schemas.microsoft.com/office/drawing/2014/main" id="{3CB5245A-B24E-1C4E-AEF3-783B1D944706}"/>
              </a:ext>
            </a:extLst>
          </p:cNvPr>
          <p:cNvSpPr>
            <a:spLocks noGrp="1"/>
          </p:cNvSpPr>
          <p:nvPr>
            <p:ph type="sldNum" sz="quarter" idx="12"/>
          </p:nvPr>
        </p:nvSpPr>
        <p:spPr/>
        <p:txBody>
          <a:bodyPr/>
          <a:lstStyle/>
          <a:p>
            <a:fld id="{7D054021-B7F5-ED46-B19B-FD5F14D6394D}" type="slidenum">
              <a:t>‹#›</a:t>
            </a:fld>
            <a:endParaRPr lang="en-LT"/>
          </a:p>
        </p:txBody>
      </p:sp>
    </p:spTree>
    <p:extLst>
      <p:ext uri="{BB962C8B-B14F-4D97-AF65-F5344CB8AC3E}">
        <p14:creationId xmlns:p14="http://schemas.microsoft.com/office/powerpoint/2010/main" val="1019874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FC05685-D195-DA43-A74C-70E926F9252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LT"/>
          </a:p>
        </p:txBody>
      </p:sp>
      <p:sp>
        <p:nvSpPr>
          <p:cNvPr id="3" name="Text Placeholder 2">
            <a:extLst>
              <a:ext uri="{FF2B5EF4-FFF2-40B4-BE49-F238E27FC236}">
                <a16:creationId xmlns:a16="http://schemas.microsoft.com/office/drawing/2014/main" id="{93E625E6-5026-7943-B16C-50A25A522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T"/>
          </a:p>
        </p:txBody>
      </p:sp>
      <p:sp>
        <p:nvSpPr>
          <p:cNvPr id="4" name="Date Placeholder 3">
            <a:extLst>
              <a:ext uri="{FF2B5EF4-FFF2-40B4-BE49-F238E27FC236}">
                <a16:creationId xmlns:a16="http://schemas.microsoft.com/office/drawing/2014/main" id="{BC2A7C82-C501-4E48-A5D1-46092A3401E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F6AB98E-06ED-244E-981C-8D5EDD09A1DD}" type="datetimeFigureOut">
              <a:t>21/10/2023</a:t>
            </a:fld>
            <a:endParaRPr lang="en-LT"/>
          </a:p>
        </p:txBody>
      </p:sp>
      <p:sp>
        <p:nvSpPr>
          <p:cNvPr id="5" name="Footer Placeholder 4">
            <a:extLst>
              <a:ext uri="{FF2B5EF4-FFF2-40B4-BE49-F238E27FC236}">
                <a16:creationId xmlns:a16="http://schemas.microsoft.com/office/drawing/2014/main" id="{E0C88ACA-CCB2-6640-9D5C-AE5BA9B7698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LT"/>
          </a:p>
        </p:txBody>
      </p:sp>
      <p:sp>
        <p:nvSpPr>
          <p:cNvPr id="6" name="Slide Number Placeholder 5">
            <a:extLst>
              <a:ext uri="{FF2B5EF4-FFF2-40B4-BE49-F238E27FC236}">
                <a16:creationId xmlns:a16="http://schemas.microsoft.com/office/drawing/2014/main" id="{EAA941F9-4486-6F49-A4EF-D68D15F999C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D054021-B7F5-ED46-B19B-FD5F14D6394D}" type="slidenum">
              <a:t>‹#›</a:t>
            </a:fld>
            <a:endParaRPr lang="en-LT"/>
          </a:p>
        </p:txBody>
      </p:sp>
    </p:spTree>
    <p:extLst>
      <p:ext uri="{BB962C8B-B14F-4D97-AF65-F5344CB8AC3E}">
        <p14:creationId xmlns:p14="http://schemas.microsoft.com/office/powerpoint/2010/main" val="15447462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L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audio" Target="NULL" TargetMode="External"/><Relationship Id="rId7" Type="http://schemas.openxmlformats.org/officeDocument/2006/relationships/image" Target="../media/image19.png"/><Relationship Id="rId12" Type="http://schemas.openxmlformats.org/officeDocument/2006/relationships/image" Target="../media/image2.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8.jpg"/><Relationship Id="rId11" Type="http://schemas.openxmlformats.org/officeDocument/2006/relationships/image" Target="../media/image23.jpg"/><Relationship Id="rId5" Type="http://schemas.openxmlformats.org/officeDocument/2006/relationships/slideLayout" Target="../slideLayouts/slideLayout7.xml"/><Relationship Id="rId10" Type="http://schemas.openxmlformats.org/officeDocument/2006/relationships/image" Target="../media/image17.emf"/><Relationship Id="rId4" Type="http://schemas.microsoft.com/office/2007/relationships/media" Target="../media/media2.wav"/><Relationship Id="rId9"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32.svg"/></Relationships>
</file>

<file path=ppt/slides/_rels/slide13.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slideLayout" Target="../slideLayouts/slideLayout7.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6.svg"/><Relationship Id="rId5" Type="http://schemas.openxmlformats.org/officeDocument/2006/relationships/image" Target="../media/image19.png"/><Relationship Id="rId4" Type="http://schemas.openxmlformats.org/officeDocument/2006/relationships/image" Target="../media/image18.jpg"/></Relationships>
</file>

<file path=ppt/slides/_rels/slide14.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audio" Target="NULL" TargetMode="External"/><Relationship Id="rId7" Type="http://schemas.openxmlformats.org/officeDocument/2006/relationships/image" Target="../media/image18.jpg"/><Relationship Id="rId12"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notesSlide" Target="../notesSlides/notesSlide9.xml"/><Relationship Id="rId11" Type="http://schemas.openxmlformats.org/officeDocument/2006/relationships/image" Target="../media/image17.emf"/><Relationship Id="rId5" Type="http://schemas.openxmlformats.org/officeDocument/2006/relationships/slideLayout" Target="../slideLayouts/slideLayout7.xml"/><Relationship Id="rId10" Type="http://schemas.openxmlformats.org/officeDocument/2006/relationships/oleObject" Target="../embeddings/oleObject2.bin"/><Relationship Id="rId4" Type="http://schemas.microsoft.com/office/2007/relationships/media" Target="../media/media2.wav"/><Relationship Id="rId9" Type="http://schemas.openxmlformats.org/officeDocument/2006/relationships/image" Target="../media/image36.sv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8.png"/><Relationship Id="rId18" Type="http://schemas.openxmlformats.org/officeDocument/2006/relationships/slide" Target="slide7.xml"/><Relationship Id="rId26" Type="http://schemas.openxmlformats.org/officeDocument/2006/relationships/image" Target="../media/image22.svg"/><Relationship Id="rId3" Type="http://schemas.openxmlformats.org/officeDocument/2006/relationships/image" Target="../media/image3.png"/><Relationship Id="rId21" Type="http://schemas.openxmlformats.org/officeDocument/2006/relationships/slide" Target="slide8.xml"/><Relationship Id="rId7" Type="http://schemas.openxmlformats.org/officeDocument/2006/relationships/image" Target="../media/image5.png"/><Relationship Id="rId12" Type="http://schemas.openxmlformats.org/officeDocument/2006/relationships/image" Target="../media/image12.svg"/><Relationship Id="rId17" Type="http://schemas.openxmlformats.org/officeDocument/2006/relationships/image" Target="../media/image16.svg"/><Relationship Id="rId25" Type="http://schemas.openxmlformats.org/officeDocument/2006/relationships/image" Target="../media/image12.png"/><Relationship Id="rId2" Type="http://schemas.openxmlformats.org/officeDocument/2006/relationships/notesSlide" Target="../notesSlides/notesSlide3.xml"/><Relationship Id="rId16" Type="http://schemas.openxmlformats.org/officeDocument/2006/relationships/image" Target="../media/image9.png"/><Relationship Id="rId20" Type="http://schemas.openxmlformats.org/officeDocument/2006/relationships/image" Target="../media/image18.svg"/><Relationship Id="rId29" Type="http://schemas.openxmlformats.org/officeDocument/2006/relationships/image" Target="../media/image24.svg"/><Relationship Id="rId1" Type="http://schemas.openxmlformats.org/officeDocument/2006/relationships/slideLayout" Target="../slideLayouts/slideLayout7.xml"/><Relationship Id="rId6" Type="http://schemas.openxmlformats.org/officeDocument/2006/relationships/image" Target="../media/image6.svg"/><Relationship Id="rId11" Type="http://schemas.openxmlformats.org/officeDocument/2006/relationships/image" Target="../media/image7.png"/><Relationship Id="rId24" Type="http://schemas.openxmlformats.org/officeDocument/2006/relationships/slide" Target="slide9.xml"/><Relationship Id="rId5" Type="http://schemas.openxmlformats.org/officeDocument/2006/relationships/image" Target="../media/image4.png"/><Relationship Id="rId15" Type="http://schemas.openxmlformats.org/officeDocument/2006/relationships/slide" Target="slide4.xml"/><Relationship Id="rId23" Type="http://schemas.openxmlformats.org/officeDocument/2006/relationships/image" Target="../media/image20.svg"/><Relationship Id="rId28" Type="http://schemas.openxmlformats.org/officeDocument/2006/relationships/image" Target="../media/image13.png"/><Relationship Id="rId10" Type="http://schemas.openxmlformats.org/officeDocument/2006/relationships/image" Target="../media/image10.svg"/><Relationship Id="rId19" Type="http://schemas.openxmlformats.org/officeDocument/2006/relationships/image" Target="../media/image10.png"/><Relationship Id="rId4" Type="http://schemas.openxmlformats.org/officeDocument/2006/relationships/image" Target="../media/image4.svg"/><Relationship Id="rId9" Type="http://schemas.openxmlformats.org/officeDocument/2006/relationships/image" Target="../media/image6.png"/><Relationship Id="rId14" Type="http://schemas.openxmlformats.org/officeDocument/2006/relationships/image" Target="../media/image14.svg"/><Relationship Id="rId22" Type="http://schemas.openxmlformats.org/officeDocument/2006/relationships/image" Target="../media/image11.png"/><Relationship Id="rId27" Type="http://schemas.openxmlformats.org/officeDocument/2006/relationships/slide" Target="slide5.xml"/></Relationships>
</file>

<file path=ppt/slides/_rels/slide4.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4.png"/><Relationship Id="rId18" Type="http://schemas.openxmlformats.org/officeDocument/2006/relationships/slide" Target="slide7.xml"/><Relationship Id="rId26" Type="http://schemas.openxmlformats.org/officeDocument/2006/relationships/image" Target="../media/image22.svg"/><Relationship Id="rId3" Type="http://schemas.openxmlformats.org/officeDocument/2006/relationships/image" Target="../media/image3.png"/><Relationship Id="rId21" Type="http://schemas.openxmlformats.org/officeDocument/2006/relationships/slide" Target="slide8.xml"/><Relationship Id="rId7" Type="http://schemas.openxmlformats.org/officeDocument/2006/relationships/image" Target="../media/image5.png"/><Relationship Id="rId12" Type="http://schemas.openxmlformats.org/officeDocument/2006/relationships/image" Target="../media/image12.svg"/><Relationship Id="rId17" Type="http://schemas.openxmlformats.org/officeDocument/2006/relationships/image" Target="../media/image27.svg"/><Relationship Id="rId25" Type="http://schemas.openxmlformats.org/officeDocument/2006/relationships/image" Target="../media/image12.png"/><Relationship Id="rId2" Type="http://schemas.openxmlformats.org/officeDocument/2006/relationships/notesSlide" Target="../notesSlides/notesSlide4.xml"/><Relationship Id="rId16" Type="http://schemas.openxmlformats.org/officeDocument/2006/relationships/image" Target="../media/image8.png"/><Relationship Id="rId20" Type="http://schemas.openxmlformats.org/officeDocument/2006/relationships/image" Target="../media/image28.svg"/><Relationship Id="rId29" Type="http://schemas.openxmlformats.org/officeDocument/2006/relationships/image" Target="../media/image15.png"/><Relationship Id="rId1" Type="http://schemas.openxmlformats.org/officeDocument/2006/relationships/slideLayout" Target="../slideLayouts/slideLayout7.xml"/><Relationship Id="rId6" Type="http://schemas.openxmlformats.org/officeDocument/2006/relationships/image" Target="../media/image6.svg"/><Relationship Id="rId11" Type="http://schemas.openxmlformats.org/officeDocument/2006/relationships/image" Target="../media/image7.png"/><Relationship Id="rId24" Type="http://schemas.openxmlformats.org/officeDocument/2006/relationships/slide" Target="slide9.xml"/><Relationship Id="rId5" Type="http://schemas.openxmlformats.org/officeDocument/2006/relationships/image" Target="../media/image4.png"/><Relationship Id="rId15" Type="http://schemas.openxmlformats.org/officeDocument/2006/relationships/slide" Target="slide4.xml"/><Relationship Id="rId23" Type="http://schemas.openxmlformats.org/officeDocument/2006/relationships/image" Target="../media/image20.svg"/><Relationship Id="rId28" Type="http://schemas.openxmlformats.org/officeDocument/2006/relationships/slide" Target="slide14.xml"/><Relationship Id="rId10" Type="http://schemas.openxmlformats.org/officeDocument/2006/relationships/image" Target="../media/image10.svg"/><Relationship Id="rId19" Type="http://schemas.openxmlformats.org/officeDocument/2006/relationships/image" Target="../media/image10.png"/><Relationship Id="rId4" Type="http://schemas.openxmlformats.org/officeDocument/2006/relationships/image" Target="../media/image4.svg"/><Relationship Id="rId9" Type="http://schemas.openxmlformats.org/officeDocument/2006/relationships/image" Target="../media/image6.png"/><Relationship Id="rId14" Type="http://schemas.openxmlformats.org/officeDocument/2006/relationships/image" Target="../media/image26.svg"/><Relationship Id="rId22" Type="http://schemas.openxmlformats.org/officeDocument/2006/relationships/image" Target="../media/image11.png"/><Relationship Id="rId27" Type="http://schemas.openxmlformats.org/officeDocument/2006/relationships/slide" Target="slide12.xml"/><Relationship Id="rId30" Type="http://schemas.openxmlformats.org/officeDocument/2006/relationships/image" Target="../media/image30.svg"/></Relationships>
</file>

<file path=ppt/slides/_rels/slide5.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slideLayout" Target="../slideLayouts/slideLayout7.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6.svg"/><Relationship Id="rId11" Type="http://schemas.openxmlformats.org/officeDocument/2006/relationships/image" Target="../media/image22.jpg"/><Relationship Id="rId5" Type="http://schemas.openxmlformats.org/officeDocument/2006/relationships/image" Target="../media/image19.png"/><Relationship Id="rId10" Type="http://schemas.openxmlformats.org/officeDocument/2006/relationships/image" Target="../media/image21.png"/><Relationship Id="rId4" Type="http://schemas.openxmlformats.org/officeDocument/2006/relationships/image" Target="../media/image18.jpg"/><Relationship Id="rId9" Type="http://schemas.openxmlformats.org/officeDocument/2006/relationships/image" Target="../media/image20.jpg"/></Relationships>
</file>

<file path=ppt/slides/_rels/slide7.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4.png"/><Relationship Id="rId18" Type="http://schemas.openxmlformats.org/officeDocument/2006/relationships/slide" Target="slide7.xml"/><Relationship Id="rId26" Type="http://schemas.openxmlformats.org/officeDocument/2006/relationships/image" Target="../media/image22.svg"/><Relationship Id="rId3" Type="http://schemas.openxmlformats.org/officeDocument/2006/relationships/image" Target="../media/image3.png"/><Relationship Id="rId21" Type="http://schemas.openxmlformats.org/officeDocument/2006/relationships/slide" Target="slide8.xml"/><Relationship Id="rId7" Type="http://schemas.openxmlformats.org/officeDocument/2006/relationships/image" Target="../media/image5.png"/><Relationship Id="rId12" Type="http://schemas.openxmlformats.org/officeDocument/2006/relationships/image" Target="../media/image12.svg"/><Relationship Id="rId17" Type="http://schemas.openxmlformats.org/officeDocument/2006/relationships/image" Target="../media/image16.svg"/><Relationship Id="rId25" Type="http://schemas.openxmlformats.org/officeDocument/2006/relationships/image" Target="../media/image12.png"/><Relationship Id="rId2" Type="http://schemas.openxmlformats.org/officeDocument/2006/relationships/notesSlide" Target="../notesSlides/notesSlide5.xml"/><Relationship Id="rId16" Type="http://schemas.openxmlformats.org/officeDocument/2006/relationships/image" Target="../media/image9.png"/><Relationship Id="rId20" Type="http://schemas.openxmlformats.org/officeDocument/2006/relationships/image" Target="../media/image41.svg"/><Relationship Id="rId1" Type="http://schemas.openxmlformats.org/officeDocument/2006/relationships/slideLayout" Target="../slideLayouts/slideLayout7.xml"/><Relationship Id="rId6" Type="http://schemas.openxmlformats.org/officeDocument/2006/relationships/image" Target="../media/image6.svg"/><Relationship Id="rId11" Type="http://schemas.openxmlformats.org/officeDocument/2006/relationships/image" Target="../media/image7.png"/><Relationship Id="rId24" Type="http://schemas.openxmlformats.org/officeDocument/2006/relationships/slide" Target="slide9.xml"/><Relationship Id="rId5" Type="http://schemas.openxmlformats.org/officeDocument/2006/relationships/image" Target="../media/image4.png"/><Relationship Id="rId15" Type="http://schemas.openxmlformats.org/officeDocument/2006/relationships/slide" Target="slide4.xml"/><Relationship Id="rId23" Type="http://schemas.openxmlformats.org/officeDocument/2006/relationships/image" Target="../media/image20.svg"/><Relationship Id="rId28" Type="http://schemas.openxmlformats.org/officeDocument/2006/relationships/image" Target="../media/image30.svg"/><Relationship Id="rId10" Type="http://schemas.openxmlformats.org/officeDocument/2006/relationships/image" Target="../media/image10.svg"/><Relationship Id="rId19" Type="http://schemas.openxmlformats.org/officeDocument/2006/relationships/image" Target="../media/image8.png"/><Relationship Id="rId4" Type="http://schemas.openxmlformats.org/officeDocument/2006/relationships/image" Target="../media/image4.svg"/><Relationship Id="rId9" Type="http://schemas.openxmlformats.org/officeDocument/2006/relationships/image" Target="../media/image6.png"/><Relationship Id="rId14" Type="http://schemas.openxmlformats.org/officeDocument/2006/relationships/image" Target="../media/image40.svg"/><Relationship Id="rId22" Type="http://schemas.openxmlformats.org/officeDocument/2006/relationships/image" Target="../media/image11.png"/><Relationship Id="rId27" Type="http://schemas.openxmlformats.org/officeDocument/2006/relationships/image" Target="../media/image15.png"/></Relationships>
</file>

<file path=ppt/slides/_rels/slide8.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4.png"/><Relationship Id="rId18" Type="http://schemas.openxmlformats.org/officeDocument/2006/relationships/slide" Target="slide7.xml"/><Relationship Id="rId26" Type="http://schemas.openxmlformats.org/officeDocument/2006/relationships/image" Target="../media/image22.svg"/><Relationship Id="rId3" Type="http://schemas.openxmlformats.org/officeDocument/2006/relationships/image" Target="../media/image3.png"/><Relationship Id="rId21" Type="http://schemas.openxmlformats.org/officeDocument/2006/relationships/slide" Target="slide8.xml"/><Relationship Id="rId7" Type="http://schemas.openxmlformats.org/officeDocument/2006/relationships/image" Target="../media/image5.png"/><Relationship Id="rId12" Type="http://schemas.openxmlformats.org/officeDocument/2006/relationships/image" Target="../media/image12.svg"/><Relationship Id="rId17" Type="http://schemas.openxmlformats.org/officeDocument/2006/relationships/image" Target="../media/image16.svg"/><Relationship Id="rId25" Type="http://schemas.openxmlformats.org/officeDocument/2006/relationships/image" Target="../media/image12.png"/><Relationship Id="rId2" Type="http://schemas.openxmlformats.org/officeDocument/2006/relationships/notesSlide" Target="../notesSlides/notesSlide6.xml"/><Relationship Id="rId16" Type="http://schemas.openxmlformats.org/officeDocument/2006/relationships/image" Target="../media/image9.png"/><Relationship Id="rId20" Type="http://schemas.openxmlformats.org/officeDocument/2006/relationships/image" Target="../media/image18.svg"/><Relationship Id="rId1" Type="http://schemas.openxmlformats.org/officeDocument/2006/relationships/slideLayout" Target="../slideLayouts/slideLayout7.xml"/><Relationship Id="rId6" Type="http://schemas.openxmlformats.org/officeDocument/2006/relationships/image" Target="../media/image6.svg"/><Relationship Id="rId11" Type="http://schemas.openxmlformats.org/officeDocument/2006/relationships/image" Target="../media/image7.png"/><Relationship Id="rId24" Type="http://schemas.openxmlformats.org/officeDocument/2006/relationships/slide" Target="slide9.xml"/><Relationship Id="rId5" Type="http://schemas.openxmlformats.org/officeDocument/2006/relationships/image" Target="../media/image4.png"/><Relationship Id="rId15" Type="http://schemas.openxmlformats.org/officeDocument/2006/relationships/slide" Target="slide4.xml"/><Relationship Id="rId23" Type="http://schemas.openxmlformats.org/officeDocument/2006/relationships/image" Target="../media/image42.svg"/><Relationship Id="rId28" Type="http://schemas.openxmlformats.org/officeDocument/2006/relationships/image" Target="../media/image24.svg"/><Relationship Id="rId10" Type="http://schemas.openxmlformats.org/officeDocument/2006/relationships/image" Target="../media/image10.svg"/><Relationship Id="rId19" Type="http://schemas.openxmlformats.org/officeDocument/2006/relationships/image" Target="../media/image10.png"/><Relationship Id="rId4" Type="http://schemas.openxmlformats.org/officeDocument/2006/relationships/image" Target="../media/image4.svg"/><Relationship Id="rId9" Type="http://schemas.openxmlformats.org/officeDocument/2006/relationships/image" Target="../media/image6.png"/><Relationship Id="rId14" Type="http://schemas.openxmlformats.org/officeDocument/2006/relationships/image" Target="../media/image40.svg"/><Relationship Id="rId22" Type="http://schemas.openxmlformats.org/officeDocument/2006/relationships/image" Target="../media/image8.png"/><Relationship Id="rId27" Type="http://schemas.openxmlformats.org/officeDocument/2006/relationships/image" Target="../media/image13.png"/></Relationships>
</file>

<file path=ppt/slides/_rels/slide9.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4.png"/><Relationship Id="rId18" Type="http://schemas.openxmlformats.org/officeDocument/2006/relationships/slide" Target="slide7.xml"/><Relationship Id="rId26" Type="http://schemas.openxmlformats.org/officeDocument/2006/relationships/image" Target="../media/image44.svg"/><Relationship Id="rId3" Type="http://schemas.openxmlformats.org/officeDocument/2006/relationships/image" Target="../media/image3.png"/><Relationship Id="rId21" Type="http://schemas.openxmlformats.org/officeDocument/2006/relationships/slide" Target="slide8.xml"/><Relationship Id="rId7" Type="http://schemas.openxmlformats.org/officeDocument/2006/relationships/image" Target="../media/image5.png"/><Relationship Id="rId12" Type="http://schemas.openxmlformats.org/officeDocument/2006/relationships/image" Target="../media/image12.svg"/><Relationship Id="rId17" Type="http://schemas.openxmlformats.org/officeDocument/2006/relationships/image" Target="../media/image16.svg"/><Relationship Id="rId25" Type="http://schemas.openxmlformats.org/officeDocument/2006/relationships/image" Target="../media/image8.png"/><Relationship Id="rId2" Type="http://schemas.openxmlformats.org/officeDocument/2006/relationships/notesSlide" Target="../notesSlides/notesSlide7.xml"/><Relationship Id="rId16" Type="http://schemas.openxmlformats.org/officeDocument/2006/relationships/image" Target="../media/image9.png"/><Relationship Id="rId20" Type="http://schemas.openxmlformats.org/officeDocument/2006/relationships/image" Target="../media/image28.svg"/><Relationship Id="rId29" Type="http://schemas.openxmlformats.org/officeDocument/2006/relationships/image" Target="../media/image24.svg"/><Relationship Id="rId1" Type="http://schemas.openxmlformats.org/officeDocument/2006/relationships/slideLayout" Target="../slideLayouts/slideLayout7.xml"/><Relationship Id="rId6" Type="http://schemas.openxmlformats.org/officeDocument/2006/relationships/image" Target="../media/image6.svg"/><Relationship Id="rId11" Type="http://schemas.openxmlformats.org/officeDocument/2006/relationships/image" Target="../media/image7.png"/><Relationship Id="rId24" Type="http://schemas.openxmlformats.org/officeDocument/2006/relationships/slide" Target="slide9.xml"/><Relationship Id="rId5" Type="http://schemas.openxmlformats.org/officeDocument/2006/relationships/image" Target="../media/image4.png"/><Relationship Id="rId15" Type="http://schemas.openxmlformats.org/officeDocument/2006/relationships/slide" Target="slide4.xml"/><Relationship Id="rId23" Type="http://schemas.openxmlformats.org/officeDocument/2006/relationships/image" Target="../media/image43.svg"/><Relationship Id="rId28" Type="http://schemas.openxmlformats.org/officeDocument/2006/relationships/image" Target="../media/image13.png"/><Relationship Id="rId10" Type="http://schemas.openxmlformats.org/officeDocument/2006/relationships/image" Target="../media/image10.svg"/><Relationship Id="rId19" Type="http://schemas.openxmlformats.org/officeDocument/2006/relationships/image" Target="../media/image10.png"/><Relationship Id="rId4" Type="http://schemas.openxmlformats.org/officeDocument/2006/relationships/image" Target="../media/image4.svg"/><Relationship Id="rId9" Type="http://schemas.openxmlformats.org/officeDocument/2006/relationships/image" Target="../media/image6.png"/><Relationship Id="rId14" Type="http://schemas.openxmlformats.org/officeDocument/2006/relationships/image" Target="../media/image40.svg"/><Relationship Id="rId22" Type="http://schemas.openxmlformats.org/officeDocument/2006/relationships/image" Target="../media/image11.png"/><Relationship Id="rId27" Type="http://schemas.openxmlformats.org/officeDocument/2006/relationships/slide" Target="slide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313232"/>
        </a:solidFill>
        <a:effectLst/>
      </p:bgPr>
    </p:bg>
    <p:spTree>
      <p:nvGrpSpPr>
        <p:cNvPr id="1" name=""/>
        <p:cNvGrpSpPr/>
        <p:nvPr/>
      </p:nvGrpSpPr>
      <p:grpSpPr>
        <a:xfrm>
          <a:off x="0" y="0"/>
          <a:ext cx="0" cy="0"/>
          <a:chOff x="0" y="0"/>
          <a:chExt cx="0" cy="0"/>
        </a:xfrm>
      </p:grpSpPr>
      <p:grpSp>
        <p:nvGrpSpPr>
          <p:cNvPr id="8" name="GRID 18 x 12" hidden="1">
            <a:extLst>
              <a:ext uri="{FF2B5EF4-FFF2-40B4-BE49-F238E27FC236}">
                <a16:creationId xmlns:a16="http://schemas.microsoft.com/office/drawing/2014/main" id="{9133B822-B4CE-35ED-815D-103606A59E21}"/>
              </a:ext>
            </a:extLst>
          </p:cNvPr>
          <p:cNvGrpSpPr>
            <a:grpSpLocks noGrp="1" noUngrp="1" noRot="1" noMove="1" noResize="1"/>
          </p:cNvGrpSpPr>
          <p:nvPr/>
        </p:nvGrpSpPr>
        <p:grpSpPr>
          <a:xfrm>
            <a:off x="0" y="0"/>
            <a:ext cx="12192000" cy="6858000"/>
            <a:chOff x="0" y="0"/>
            <a:chExt cx="12192000" cy="6858000"/>
          </a:xfrm>
        </p:grpSpPr>
        <p:grpSp>
          <p:nvGrpSpPr>
            <p:cNvPr id="10" name="Rows 12">
              <a:extLst>
                <a:ext uri="{FF2B5EF4-FFF2-40B4-BE49-F238E27FC236}">
                  <a16:creationId xmlns:a16="http://schemas.microsoft.com/office/drawing/2014/main" id="{6A97ABEE-6005-4707-D791-A6E54DAB597F}"/>
                </a:ext>
              </a:extLst>
            </p:cNvPr>
            <p:cNvGrpSpPr>
              <a:grpSpLocks noGrp="1" noUngrp="1" noRot="1" noMove="1" noResize="1"/>
            </p:cNvGrpSpPr>
            <p:nvPr/>
          </p:nvGrpSpPr>
          <p:grpSpPr>
            <a:xfrm>
              <a:off x="0" y="0"/>
              <a:ext cx="12192000" cy="6858000"/>
              <a:chOff x="0" y="0"/>
              <a:chExt cx="12192000" cy="3766788"/>
            </a:xfrm>
          </p:grpSpPr>
          <p:sp>
            <p:nvSpPr>
              <p:cNvPr id="30" name="Rectangle 29">
                <a:extLst>
                  <a:ext uri="{FF2B5EF4-FFF2-40B4-BE49-F238E27FC236}">
                    <a16:creationId xmlns:a16="http://schemas.microsoft.com/office/drawing/2014/main" id="{A7FABFE5-D7CB-868F-6488-4B5FD97948CD}"/>
                  </a:ext>
                </a:extLst>
              </p:cNvPr>
              <p:cNvSpPr>
                <a:spLocks noGrp="1" noRot="1" noMove="1" noResize="1" noEditPoints="1" noAdjustHandles="1" noChangeArrowheads="1" noChangeShapeType="1"/>
              </p:cNvSpPr>
              <p:nvPr/>
            </p:nvSpPr>
            <p:spPr>
              <a:xfrm>
                <a:off x="0" y="0"/>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E65C6606-6BD4-2263-7F42-70DEC36CEAAB}"/>
                  </a:ext>
                </a:extLst>
              </p:cNvPr>
              <p:cNvSpPr>
                <a:spLocks noGrp="1" noRot="1" noMove="1" noResize="1" noEditPoints="1" noAdjustHandles="1" noChangeArrowheads="1" noChangeShapeType="1"/>
              </p:cNvSpPr>
              <p:nvPr/>
            </p:nvSpPr>
            <p:spPr>
              <a:xfrm>
                <a:off x="0" y="313899"/>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EE5C2AFF-FB4A-0617-B0DF-57905C2B2294}"/>
                  </a:ext>
                </a:extLst>
              </p:cNvPr>
              <p:cNvSpPr>
                <a:spLocks noGrp="1" noRot="1" noMove="1" noResize="1" noEditPoints="1" noAdjustHandles="1" noChangeArrowheads="1" noChangeShapeType="1"/>
              </p:cNvSpPr>
              <p:nvPr/>
            </p:nvSpPr>
            <p:spPr>
              <a:xfrm>
                <a:off x="0" y="627798"/>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3975C841-FBF3-5AF2-62AD-6D9EED6BF729}"/>
                  </a:ext>
                </a:extLst>
              </p:cNvPr>
              <p:cNvSpPr>
                <a:spLocks noGrp="1" noRot="1" noMove="1" noResize="1" noEditPoints="1" noAdjustHandles="1" noChangeArrowheads="1" noChangeShapeType="1"/>
              </p:cNvSpPr>
              <p:nvPr/>
            </p:nvSpPr>
            <p:spPr>
              <a:xfrm>
                <a:off x="0" y="941697"/>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B25D74DB-0899-DC2E-F1AE-56B17D34CCEE}"/>
                  </a:ext>
                </a:extLst>
              </p:cNvPr>
              <p:cNvSpPr>
                <a:spLocks noGrp="1" noRot="1" noMove="1" noResize="1" noEditPoints="1" noAdjustHandles="1" noChangeArrowheads="1" noChangeShapeType="1"/>
              </p:cNvSpPr>
              <p:nvPr/>
            </p:nvSpPr>
            <p:spPr>
              <a:xfrm>
                <a:off x="0" y="1255596"/>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B76AC144-D99E-0F2D-0D95-CBACF7942B12}"/>
                  </a:ext>
                </a:extLst>
              </p:cNvPr>
              <p:cNvSpPr>
                <a:spLocks noGrp="1" noRot="1" noMove="1" noResize="1" noEditPoints="1" noAdjustHandles="1" noChangeArrowheads="1" noChangeShapeType="1"/>
              </p:cNvSpPr>
              <p:nvPr/>
            </p:nvSpPr>
            <p:spPr>
              <a:xfrm>
                <a:off x="0" y="1569495"/>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C5962C92-D03B-D375-7B84-927BD2BBC53E}"/>
                  </a:ext>
                </a:extLst>
              </p:cNvPr>
              <p:cNvSpPr>
                <a:spLocks noGrp="1" noRot="1" noMove="1" noResize="1" noEditPoints="1" noAdjustHandles="1" noChangeArrowheads="1" noChangeShapeType="1"/>
              </p:cNvSpPr>
              <p:nvPr/>
            </p:nvSpPr>
            <p:spPr>
              <a:xfrm>
                <a:off x="0" y="1883394"/>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AAA4912E-6344-8D8C-D618-E3E3E992964E}"/>
                  </a:ext>
                </a:extLst>
              </p:cNvPr>
              <p:cNvSpPr>
                <a:spLocks noGrp="1" noRot="1" noMove="1" noResize="1" noEditPoints="1" noAdjustHandles="1" noChangeArrowheads="1" noChangeShapeType="1"/>
              </p:cNvSpPr>
              <p:nvPr/>
            </p:nvSpPr>
            <p:spPr>
              <a:xfrm>
                <a:off x="0" y="2197293"/>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B55EF18A-1576-DBDA-17A0-F107D31E5E75}"/>
                  </a:ext>
                </a:extLst>
              </p:cNvPr>
              <p:cNvSpPr>
                <a:spLocks noGrp="1" noRot="1" noMove="1" noResize="1" noEditPoints="1" noAdjustHandles="1" noChangeArrowheads="1" noChangeShapeType="1"/>
              </p:cNvSpPr>
              <p:nvPr/>
            </p:nvSpPr>
            <p:spPr>
              <a:xfrm>
                <a:off x="0" y="2511192"/>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A56D78BF-0050-4880-5C7C-D6BBA46A2C93}"/>
                  </a:ext>
                </a:extLst>
              </p:cNvPr>
              <p:cNvSpPr>
                <a:spLocks noGrp="1" noRot="1" noMove="1" noResize="1" noEditPoints="1" noAdjustHandles="1" noChangeArrowheads="1" noChangeShapeType="1"/>
              </p:cNvSpPr>
              <p:nvPr/>
            </p:nvSpPr>
            <p:spPr>
              <a:xfrm>
                <a:off x="0" y="2825091"/>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AB1F84C5-D8F8-BBD8-86BF-E59166039803}"/>
                  </a:ext>
                </a:extLst>
              </p:cNvPr>
              <p:cNvSpPr>
                <a:spLocks noGrp="1" noRot="1" noMove="1" noResize="1" noEditPoints="1" noAdjustHandles="1" noChangeArrowheads="1" noChangeShapeType="1"/>
              </p:cNvSpPr>
              <p:nvPr/>
            </p:nvSpPr>
            <p:spPr>
              <a:xfrm>
                <a:off x="0" y="3138990"/>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AC762B63-0238-F599-127D-CD0711F18791}"/>
                  </a:ext>
                </a:extLst>
              </p:cNvPr>
              <p:cNvSpPr>
                <a:spLocks noGrp="1" noRot="1" noMove="1" noResize="1" noEditPoints="1" noAdjustHandles="1" noChangeArrowheads="1" noChangeShapeType="1"/>
              </p:cNvSpPr>
              <p:nvPr/>
            </p:nvSpPr>
            <p:spPr>
              <a:xfrm>
                <a:off x="0" y="3452889"/>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11" name="Columns 18">
              <a:extLst>
                <a:ext uri="{FF2B5EF4-FFF2-40B4-BE49-F238E27FC236}">
                  <a16:creationId xmlns:a16="http://schemas.microsoft.com/office/drawing/2014/main" id="{4C4C969E-83CD-8FA1-5150-F2320A6FD841}"/>
                </a:ext>
              </a:extLst>
            </p:cNvPr>
            <p:cNvGrpSpPr>
              <a:grpSpLocks noGrp="1" noUngrp="1" noRot="1" noMove="1" noResize="1"/>
            </p:cNvGrpSpPr>
            <p:nvPr/>
          </p:nvGrpSpPr>
          <p:grpSpPr>
            <a:xfrm>
              <a:off x="0" y="0"/>
              <a:ext cx="12192000" cy="6858000"/>
              <a:chOff x="0" y="0"/>
              <a:chExt cx="5650182" cy="6858000"/>
            </a:xfrm>
          </p:grpSpPr>
          <p:sp>
            <p:nvSpPr>
              <p:cNvPr id="12" name="Rectangle 11">
                <a:extLst>
                  <a:ext uri="{FF2B5EF4-FFF2-40B4-BE49-F238E27FC236}">
                    <a16:creationId xmlns:a16="http://schemas.microsoft.com/office/drawing/2014/main" id="{27475249-B345-9E3C-C073-D4F3F2753DA9}"/>
                  </a:ext>
                </a:extLst>
              </p:cNvPr>
              <p:cNvSpPr>
                <a:spLocks noGrp="1" noRot="1" noMove="1" noResize="1" noEditPoints="1" noAdjustHandles="1" noChangeArrowheads="1" noChangeShapeType="1"/>
              </p:cNvSpPr>
              <p:nvPr/>
            </p:nvSpPr>
            <p:spPr>
              <a:xfrm>
                <a:off x="0"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F3343572-EEE0-FAFE-9A50-4713EB7AE0BC}"/>
                  </a:ext>
                </a:extLst>
              </p:cNvPr>
              <p:cNvSpPr>
                <a:spLocks noGrp="1" noRot="1" noMove="1" noResize="1" noEditPoints="1" noAdjustHandles="1" noChangeArrowheads="1" noChangeShapeType="1"/>
              </p:cNvSpPr>
              <p:nvPr/>
            </p:nvSpPr>
            <p:spPr>
              <a:xfrm>
                <a:off x="313899"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8784C4CB-5E60-030F-C314-7783603F1609}"/>
                  </a:ext>
                </a:extLst>
              </p:cNvPr>
              <p:cNvSpPr>
                <a:spLocks noGrp="1" noRot="1" noMove="1" noResize="1" noEditPoints="1" noAdjustHandles="1" noChangeArrowheads="1" noChangeShapeType="1"/>
              </p:cNvSpPr>
              <p:nvPr/>
            </p:nvSpPr>
            <p:spPr>
              <a:xfrm>
                <a:off x="627798"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CBE6C650-F651-F977-F8C3-AD5EAAC7ECD1}"/>
                  </a:ext>
                </a:extLst>
              </p:cNvPr>
              <p:cNvSpPr>
                <a:spLocks noGrp="1" noRot="1" noMove="1" noResize="1" noEditPoints="1" noAdjustHandles="1" noChangeArrowheads="1" noChangeShapeType="1"/>
              </p:cNvSpPr>
              <p:nvPr/>
            </p:nvSpPr>
            <p:spPr>
              <a:xfrm>
                <a:off x="941697"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F0079A4F-EAEB-6E56-5188-3F000965FEB5}"/>
                  </a:ext>
                </a:extLst>
              </p:cNvPr>
              <p:cNvSpPr>
                <a:spLocks noGrp="1" noRot="1" noMove="1" noResize="1" noEditPoints="1" noAdjustHandles="1" noChangeArrowheads="1" noChangeShapeType="1"/>
              </p:cNvSpPr>
              <p:nvPr/>
            </p:nvSpPr>
            <p:spPr>
              <a:xfrm>
                <a:off x="1255596"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AB005368-A137-6FA8-5E16-00279951DBC4}"/>
                  </a:ext>
                </a:extLst>
              </p:cNvPr>
              <p:cNvSpPr>
                <a:spLocks noGrp="1" noRot="1" noMove="1" noResize="1" noEditPoints="1" noAdjustHandles="1" noChangeArrowheads="1" noChangeShapeType="1"/>
              </p:cNvSpPr>
              <p:nvPr/>
            </p:nvSpPr>
            <p:spPr>
              <a:xfrm>
                <a:off x="1569495"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4F33CE02-E6E5-614C-5130-A0CC28FBFDE3}"/>
                  </a:ext>
                </a:extLst>
              </p:cNvPr>
              <p:cNvSpPr>
                <a:spLocks noGrp="1" noRot="1" noMove="1" noResize="1" noEditPoints="1" noAdjustHandles="1" noChangeArrowheads="1" noChangeShapeType="1"/>
              </p:cNvSpPr>
              <p:nvPr/>
            </p:nvSpPr>
            <p:spPr>
              <a:xfrm>
                <a:off x="1883394"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53DB9542-4D15-C4CB-7E3C-72C194E8A245}"/>
                  </a:ext>
                </a:extLst>
              </p:cNvPr>
              <p:cNvSpPr>
                <a:spLocks noGrp="1" noRot="1" noMove="1" noResize="1" noEditPoints="1" noAdjustHandles="1" noChangeArrowheads="1" noChangeShapeType="1"/>
              </p:cNvSpPr>
              <p:nvPr/>
            </p:nvSpPr>
            <p:spPr>
              <a:xfrm>
                <a:off x="2197293"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A2B614D8-B255-90DC-9C6B-43E5A47F9BFF}"/>
                  </a:ext>
                </a:extLst>
              </p:cNvPr>
              <p:cNvSpPr>
                <a:spLocks noGrp="1" noRot="1" noMove="1" noResize="1" noEditPoints="1" noAdjustHandles="1" noChangeArrowheads="1" noChangeShapeType="1"/>
              </p:cNvSpPr>
              <p:nvPr/>
            </p:nvSpPr>
            <p:spPr>
              <a:xfrm>
                <a:off x="2511192"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A628AD48-ECF1-646E-13CE-8E7D78E4F9F2}"/>
                  </a:ext>
                </a:extLst>
              </p:cNvPr>
              <p:cNvSpPr>
                <a:spLocks noGrp="1" noRot="1" noMove="1" noResize="1" noEditPoints="1" noAdjustHandles="1" noChangeArrowheads="1" noChangeShapeType="1"/>
              </p:cNvSpPr>
              <p:nvPr/>
            </p:nvSpPr>
            <p:spPr>
              <a:xfrm>
                <a:off x="2825091"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4735D7A6-F82C-E34B-97F9-BC4257A46CAB}"/>
                  </a:ext>
                </a:extLst>
              </p:cNvPr>
              <p:cNvSpPr>
                <a:spLocks noGrp="1" noRot="1" noMove="1" noResize="1" noEditPoints="1" noAdjustHandles="1" noChangeArrowheads="1" noChangeShapeType="1"/>
              </p:cNvSpPr>
              <p:nvPr/>
            </p:nvSpPr>
            <p:spPr>
              <a:xfrm>
                <a:off x="3138990"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F47C862E-08F9-BD41-9CA5-77C81455EC16}"/>
                  </a:ext>
                </a:extLst>
              </p:cNvPr>
              <p:cNvSpPr>
                <a:spLocks noGrp="1" noRot="1" noMove="1" noResize="1" noEditPoints="1" noAdjustHandles="1" noChangeArrowheads="1" noChangeShapeType="1"/>
              </p:cNvSpPr>
              <p:nvPr/>
            </p:nvSpPr>
            <p:spPr>
              <a:xfrm>
                <a:off x="3452889"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41BE9779-8D07-0164-82B8-B0099F242C7B}"/>
                  </a:ext>
                </a:extLst>
              </p:cNvPr>
              <p:cNvSpPr>
                <a:spLocks noGrp="1" noRot="1" noMove="1" noResize="1" noEditPoints="1" noAdjustHandles="1" noChangeArrowheads="1" noChangeShapeType="1"/>
              </p:cNvSpPr>
              <p:nvPr/>
            </p:nvSpPr>
            <p:spPr>
              <a:xfrm>
                <a:off x="3766788"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1607E658-EDF7-D2F9-8828-B8CDC6431106}"/>
                  </a:ext>
                </a:extLst>
              </p:cNvPr>
              <p:cNvSpPr>
                <a:spLocks noGrp="1" noRot="1" noMove="1" noResize="1" noEditPoints="1" noAdjustHandles="1" noChangeArrowheads="1" noChangeShapeType="1"/>
              </p:cNvSpPr>
              <p:nvPr/>
            </p:nvSpPr>
            <p:spPr>
              <a:xfrm>
                <a:off x="4080687"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6DEA4F78-F245-05B4-1699-763C4102681E}"/>
                  </a:ext>
                </a:extLst>
              </p:cNvPr>
              <p:cNvSpPr>
                <a:spLocks noGrp="1" noRot="1" noMove="1" noResize="1" noEditPoints="1" noAdjustHandles="1" noChangeArrowheads="1" noChangeShapeType="1"/>
              </p:cNvSpPr>
              <p:nvPr/>
            </p:nvSpPr>
            <p:spPr>
              <a:xfrm>
                <a:off x="4394586"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AFAFCEE1-4444-BB7E-1428-28EA71EA0A40}"/>
                  </a:ext>
                </a:extLst>
              </p:cNvPr>
              <p:cNvSpPr>
                <a:spLocks noGrp="1" noRot="1" noMove="1" noResize="1" noEditPoints="1" noAdjustHandles="1" noChangeArrowheads="1" noChangeShapeType="1"/>
              </p:cNvSpPr>
              <p:nvPr/>
            </p:nvSpPr>
            <p:spPr>
              <a:xfrm>
                <a:off x="4708485"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0D4A6FE3-651B-1DB2-DB69-6CE9A5C4A0C9}"/>
                  </a:ext>
                </a:extLst>
              </p:cNvPr>
              <p:cNvSpPr>
                <a:spLocks noGrp="1" noRot="1" noMove="1" noResize="1" noEditPoints="1" noAdjustHandles="1" noChangeArrowheads="1" noChangeShapeType="1"/>
              </p:cNvSpPr>
              <p:nvPr/>
            </p:nvSpPr>
            <p:spPr>
              <a:xfrm>
                <a:off x="5022384"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35C4B27D-E0B4-D84B-1E2F-DDA0C100F89C}"/>
                  </a:ext>
                </a:extLst>
              </p:cNvPr>
              <p:cNvSpPr>
                <a:spLocks noGrp="1" noRot="1" noMove="1" noResize="1" noEditPoints="1" noAdjustHandles="1" noChangeArrowheads="1" noChangeShapeType="1"/>
              </p:cNvSpPr>
              <p:nvPr/>
            </p:nvSpPr>
            <p:spPr>
              <a:xfrm>
                <a:off x="5336283"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2" name="Subtitle">
            <a:extLst>
              <a:ext uri="{FF2B5EF4-FFF2-40B4-BE49-F238E27FC236}">
                <a16:creationId xmlns:a16="http://schemas.microsoft.com/office/drawing/2014/main" id="{23876867-EBCE-4B12-F515-A4AA93CFAEB0}"/>
              </a:ext>
            </a:extLst>
          </p:cNvPr>
          <p:cNvSpPr txBox="1"/>
          <p:nvPr/>
        </p:nvSpPr>
        <p:spPr>
          <a:xfrm>
            <a:off x="1361531" y="4109690"/>
            <a:ext cx="3924037" cy="398827"/>
          </a:xfrm>
          <a:prstGeom prst="rect">
            <a:avLst/>
          </a:prstGeom>
          <a:noFill/>
        </p:spPr>
        <p:txBody>
          <a:bodyPr wrap="square" lIns="0" rtlCol="0">
            <a:spAutoFit/>
          </a:bodyPr>
          <a:lstStyle>
            <a:defPPr>
              <a:defRPr lang="en-LT"/>
            </a:defPPr>
            <a:lvl1pPr>
              <a:lnSpc>
                <a:spcPct val="80000"/>
              </a:lnSpc>
              <a:defRPr sz="5000" b="1" spc="300">
                <a:gradFill flip="none" rotWithShape="1">
                  <a:gsLst>
                    <a:gs pos="0">
                      <a:schemeClr val="accent5"/>
                    </a:gs>
                    <a:gs pos="41000">
                      <a:schemeClr val="accent2"/>
                    </a:gs>
                    <a:gs pos="85000">
                      <a:schemeClr val="accent3"/>
                    </a:gs>
                  </a:gsLst>
                  <a:lin ang="0" scaled="1"/>
                  <a:tileRect/>
                </a:gradFill>
                <a:latin typeface="Nunito Sans ExtraBold" pitchFamily="2" charset="77"/>
                <a:ea typeface="Open Sans Extrabold" panose="020B0606030504020204" pitchFamily="34" charset="0"/>
                <a:cs typeface="Open Sans Extrabold" panose="020B0606030504020204" pitchFamily="34" charset="0"/>
              </a:defRPr>
            </a:lvl1pPr>
          </a:lstStyle>
          <a:p>
            <a:pPr lvl="0">
              <a:lnSpc>
                <a:spcPct val="150000"/>
              </a:lnSpc>
              <a:defRPr/>
            </a:pPr>
            <a:r>
              <a:rPr lang="fr-FR" sz="700" b="0" spc="110" dirty="0">
                <a:solidFill>
                  <a:srgbClr val="FFFFFF"/>
                </a:solidFill>
                <a:latin typeface="Michroma" pitchFamily="2" charset="0"/>
                <a:ea typeface="Roboto" panose="02000000000000000000" pitchFamily="2" charset="0"/>
                <a:cs typeface="Urbanist Light" panose="020B0A04040200000203" pitchFamily="34" charset="77"/>
              </a:rPr>
              <a:t>"Git  créé par Linus </a:t>
            </a:r>
            <a:r>
              <a:rPr lang="fr-FR" sz="700" b="0" spc="110" dirty="0" err="1">
                <a:solidFill>
                  <a:srgbClr val="FFFFFF"/>
                </a:solidFill>
                <a:latin typeface="Michroma" pitchFamily="2" charset="0"/>
                <a:ea typeface="Roboto" panose="02000000000000000000" pitchFamily="2" charset="0"/>
                <a:cs typeface="Urbanist Light" panose="020B0A04040200000203" pitchFamily="34" charset="77"/>
              </a:rPr>
              <a:t>Torvalds</a:t>
            </a:r>
            <a:r>
              <a:rPr lang="fr-FR" sz="700" b="0" spc="110" dirty="0">
                <a:solidFill>
                  <a:srgbClr val="FFFFFF"/>
                </a:solidFill>
                <a:latin typeface="Michroma" pitchFamily="2" charset="0"/>
                <a:ea typeface="Roboto" panose="02000000000000000000" pitchFamily="2" charset="0"/>
                <a:cs typeface="Urbanist Light" panose="020B0A04040200000203" pitchFamily="34" charset="77"/>
              </a:rPr>
              <a:t> en 2005, tandis que GitHub  créée en 2008 par Tom Preston-Werner, Chris </a:t>
            </a:r>
            <a:r>
              <a:rPr lang="fr-FR" sz="700" b="0" spc="110" dirty="0" err="1">
                <a:solidFill>
                  <a:srgbClr val="FFFFFF"/>
                </a:solidFill>
                <a:latin typeface="Michroma" pitchFamily="2" charset="0"/>
                <a:ea typeface="Roboto" panose="02000000000000000000" pitchFamily="2" charset="0"/>
                <a:cs typeface="Urbanist Light" panose="020B0A04040200000203" pitchFamily="34" charset="77"/>
              </a:rPr>
              <a:t>Wanstrath</a:t>
            </a:r>
            <a:r>
              <a:rPr lang="fr-FR" sz="700" b="0" spc="110" dirty="0">
                <a:solidFill>
                  <a:srgbClr val="FFFFFF"/>
                </a:solidFill>
                <a:latin typeface="Michroma" pitchFamily="2" charset="0"/>
                <a:ea typeface="Roboto" panose="02000000000000000000" pitchFamily="2" charset="0"/>
                <a:cs typeface="Urbanist Light" panose="020B0A04040200000203" pitchFamily="34" charset="77"/>
              </a:rPr>
              <a:t>, et PJ </a:t>
            </a:r>
            <a:r>
              <a:rPr lang="fr-FR" sz="700" b="0" spc="110" dirty="0" err="1">
                <a:solidFill>
                  <a:srgbClr val="FFFFFF"/>
                </a:solidFill>
                <a:latin typeface="Michroma" pitchFamily="2" charset="0"/>
                <a:ea typeface="Roboto" panose="02000000000000000000" pitchFamily="2" charset="0"/>
                <a:cs typeface="Urbanist Light" panose="020B0A04040200000203" pitchFamily="34" charset="77"/>
              </a:rPr>
              <a:t>Hyett</a:t>
            </a:r>
            <a:r>
              <a:rPr lang="fr-FR" sz="700" b="0" spc="110" dirty="0">
                <a:solidFill>
                  <a:srgbClr val="FFFFFF"/>
                </a:solidFill>
                <a:latin typeface="Michroma" pitchFamily="2" charset="0"/>
                <a:ea typeface="Roboto" panose="02000000000000000000" pitchFamily="2" charset="0"/>
                <a:cs typeface="Urbanist Light" panose="020B0A04040200000203" pitchFamily="34" charset="77"/>
              </a:rPr>
              <a:t>."</a:t>
            </a:r>
            <a:endParaRPr kumimoji="0" lang="en-LT" sz="700" b="0" i="0" u="none" strike="noStrike" kern="1200" cap="none" spc="110" normalizeH="0" baseline="0" noProof="0" dirty="0">
              <a:ln>
                <a:noFill/>
              </a:ln>
              <a:solidFill>
                <a:srgbClr val="FFFFFF"/>
              </a:solidFill>
              <a:effectLst/>
              <a:uLnTx/>
              <a:uFillTx/>
              <a:latin typeface="Michroma" pitchFamily="2" charset="0"/>
              <a:ea typeface="Roboto" panose="02000000000000000000" pitchFamily="2" charset="0"/>
              <a:cs typeface="Urbanist Light" panose="020B0A04040200000203" pitchFamily="34" charset="77"/>
            </a:endParaRPr>
          </a:p>
        </p:txBody>
      </p:sp>
      <p:sp>
        <p:nvSpPr>
          <p:cNvPr id="6" name="TextBox 5">
            <a:extLst>
              <a:ext uri="{FF2B5EF4-FFF2-40B4-BE49-F238E27FC236}">
                <a16:creationId xmlns:a16="http://schemas.microsoft.com/office/drawing/2014/main" id="{EFAFB9F4-A6A4-97B8-121D-7E8821901E5E}"/>
              </a:ext>
            </a:extLst>
          </p:cNvPr>
          <p:cNvSpPr txBox="1"/>
          <p:nvPr/>
        </p:nvSpPr>
        <p:spPr>
          <a:xfrm>
            <a:off x="373088" y="1649430"/>
            <a:ext cx="5221045" cy="738664"/>
          </a:xfrm>
          <a:prstGeom prst="rect">
            <a:avLst/>
          </a:prstGeom>
          <a:noFill/>
          <a:ln w="6350" cap="rnd">
            <a:noFill/>
            <a:round/>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800" b="1" i="0" u="none" strike="noStrike" kern="1200" cap="all" spc="10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Présentation sur</a:t>
            </a:r>
            <a:endParaRPr kumimoji="0" lang="en-GB" sz="4800" b="1" i="0" u="none" strike="noStrike" kern="1200" cap="all" spc="10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sp>
        <p:nvSpPr>
          <p:cNvPr id="9" name="TextBox 8">
            <a:extLst>
              <a:ext uri="{FF2B5EF4-FFF2-40B4-BE49-F238E27FC236}">
                <a16:creationId xmlns:a16="http://schemas.microsoft.com/office/drawing/2014/main" id="{2DC2E937-F8BA-39F2-B1A5-9F8CA8A075C8}"/>
              </a:ext>
            </a:extLst>
          </p:cNvPr>
          <p:cNvSpPr txBox="1"/>
          <p:nvPr/>
        </p:nvSpPr>
        <p:spPr>
          <a:xfrm>
            <a:off x="1347451" y="3082748"/>
            <a:ext cx="3723776" cy="738664"/>
          </a:xfrm>
          <a:prstGeom prst="rect">
            <a:avLst/>
          </a:prstGeom>
          <a:noFill/>
          <a:ln w="6350" cap="rnd">
            <a:noFill/>
            <a:round/>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800" b="1" i="0" u="none" strike="noStrike" kern="1200" cap="all" spc="10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Git &amp; </a:t>
            </a:r>
            <a:r>
              <a:rPr kumimoji="0" lang="fr-FR" sz="4800" b="1" i="0" u="none" strike="noStrike" kern="1200" cap="all" spc="100" normalizeH="0" baseline="0" noProof="0" dirty="0" err="1">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github</a:t>
            </a:r>
            <a:endParaRPr kumimoji="0" lang="en-GB" sz="4800" b="1" i="0" u="none" strike="noStrike" kern="1200" cap="all" spc="10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grpSp>
        <p:nvGrpSpPr>
          <p:cNvPr id="3" name="Group 2">
            <a:extLst>
              <a:ext uri="{FF2B5EF4-FFF2-40B4-BE49-F238E27FC236}">
                <a16:creationId xmlns:a16="http://schemas.microsoft.com/office/drawing/2014/main" id="{5B633149-4C0B-23E9-6AA8-9DFC20662C58}"/>
              </a:ext>
            </a:extLst>
          </p:cNvPr>
          <p:cNvGrpSpPr/>
          <p:nvPr/>
        </p:nvGrpSpPr>
        <p:grpSpPr>
          <a:xfrm>
            <a:off x="6434339" y="1112467"/>
            <a:ext cx="3916800" cy="4887438"/>
            <a:chOff x="6985210" y="1117694"/>
            <a:chExt cx="3916181" cy="4887438"/>
          </a:xfrm>
        </p:grpSpPr>
        <p:sp useBgFill="1">
          <p:nvSpPr>
            <p:cNvPr id="51" name="Snip Diagonal Corner of Rectangle 23">
              <a:extLst>
                <a:ext uri="{FF2B5EF4-FFF2-40B4-BE49-F238E27FC236}">
                  <a16:creationId xmlns:a16="http://schemas.microsoft.com/office/drawing/2014/main" id="{2F82A2E2-AD6F-8E7D-5125-ED1798CF87C9}"/>
                </a:ext>
              </a:extLst>
            </p:cNvPr>
            <p:cNvSpPr>
              <a:spLocks/>
            </p:cNvSpPr>
            <p:nvPr/>
          </p:nvSpPr>
          <p:spPr>
            <a:xfrm>
              <a:off x="7111999" y="1248953"/>
              <a:ext cx="3669347" cy="4625527"/>
            </a:xfrm>
            <a:prstGeom prst="snip2DiagRect">
              <a:avLst>
                <a:gd name="adj1" fmla="val 0"/>
                <a:gd name="adj2" fmla="val 10391"/>
              </a:avLst>
            </a:prstGeom>
            <a:ln w="12700" cap="flat">
              <a:solidFill>
                <a:schemeClr val="accent3"/>
              </a:solidFill>
              <a:prstDash val="solid"/>
              <a:miter/>
            </a:ln>
            <a:effectLst>
              <a:outerShdw blurRad="1270000" sx="102000" sy="102000" algn="ctr" rotWithShape="0">
                <a:srgbClr val="00F1FF">
                  <a:alpha val="51000"/>
                </a:srgbClr>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000" b="1" i="0" u="none" strike="noStrike" kern="1200" cap="none" spc="0" normalizeH="0" baseline="0" noProof="0" dirty="0">
                <a:ln>
                  <a:noFill/>
                </a:ln>
                <a:solidFill>
                  <a:srgbClr val="FFFFFF"/>
                </a:solidFill>
                <a:effectLst/>
                <a:uLnTx/>
                <a:uFillTx/>
                <a:latin typeface="Hanson" pitchFamily="50" charset="0"/>
                <a:ea typeface="Urbanist Black" panose="020B0A04040200000203" pitchFamily="34" charset="77"/>
                <a:cs typeface="Urbanist Black" panose="020B0A04040200000203" pitchFamily="34" charset="77"/>
              </a:endParaRPr>
            </a:p>
          </p:txBody>
        </p:sp>
        <p:pic>
          <p:nvPicPr>
            <p:cNvPr id="1065" name="Picture 1064">
              <a:extLst>
                <a:ext uri="{FF2B5EF4-FFF2-40B4-BE49-F238E27FC236}">
                  <a16:creationId xmlns:a16="http://schemas.microsoft.com/office/drawing/2014/main" id="{3AD5D52F-2DB5-9DF5-7B98-5EE5B00B230C}"/>
                </a:ext>
              </a:extLst>
            </p:cNvPr>
            <p:cNvPicPr>
              <a:picLocks noChangeAspect="1"/>
            </p:cNvPicPr>
            <p:nvPr/>
          </p:nvPicPr>
          <p:blipFill rotWithShape="1">
            <a:blip r:embed="rId5"/>
            <a:srcRect l="-11195" t="-22591" r="-11195" b="-22591"/>
            <a:stretch/>
          </p:blipFill>
          <p:spPr>
            <a:xfrm>
              <a:off x="7104583" y="1248953"/>
              <a:ext cx="3669347" cy="4625527"/>
            </a:xfrm>
            <a:prstGeom prst="snip2DiagRect">
              <a:avLst>
                <a:gd name="adj1" fmla="val 0"/>
                <a:gd name="adj2" fmla="val 10761"/>
              </a:avLst>
            </a:prstGeom>
            <a:solidFill>
              <a:schemeClr val="bg2">
                <a:lumMod val="50000"/>
              </a:schemeClr>
            </a:solidFill>
            <a:ln w="12700" cap="flat">
              <a:solidFill>
                <a:schemeClr val="accent3"/>
              </a:solidFill>
              <a:prstDash val="solid"/>
              <a:miter/>
            </a:ln>
            <a:effectLst>
              <a:innerShdw blurRad="927100">
                <a:srgbClr val="00F1FF"/>
              </a:innerShdw>
            </a:effectLst>
          </p:spPr>
        </p:pic>
        <p:sp>
          <p:nvSpPr>
            <p:cNvPr id="1045" name="Half Frame 1044">
              <a:extLst>
                <a:ext uri="{FF2B5EF4-FFF2-40B4-BE49-F238E27FC236}">
                  <a16:creationId xmlns:a16="http://schemas.microsoft.com/office/drawing/2014/main" id="{D68E2BE7-D1E0-886B-9470-E88B41F359EA}"/>
                </a:ext>
              </a:extLst>
            </p:cNvPr>
            <p:cNvSpPr/>
            <p:nvPr/>
          </p:nvSpPr>
          <p:spPr>
            <a:xfrm rot="10800000">
              <a:off x="10428932" y="5536186"/>
              <a:ext cx="468946" cy="468946"/>
            </a:xfrm>
            <a:prstGeom prst="halfFrame">
              <a:avLst>
                <a:gd name="adj1" fmla="val 14564"/>
                <a:gd name="adj2" fmla="val 15607"/>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42" name="Parallelogram 41">
              <a:extLst>
                <a:ext uri="{FF2B5EF4-FFF2-40B4-BE49-F238E27FC236}">
                  <a16:creationId xmlns:a16="http://schemas.microsoft.com/office/drawing/2014/main" id="{DB7E0A90-DD5C-33BC-5D22-988B0150AADF}"/>
                </a:ext>
              </a:extLst>
            </p:cNvPr>
            <p:cNvSpPr/>
            <p:nvPr/>
          </p:nvSpPr>
          <p:spPr>
            <a:xfrm rot="16200000" flipV="1">
              <a:off x="10665185" y="5318065"/>
              <a:ext cx="397225" cy="75186"/>
            </a:xfrm>
            <a:prstGeom prst="parallelogram">
              <a:avLst>
                <a:gd name="adj" fmla="val 122225"/>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grpSp>
          <p:nvGrpSpPr>
            <p:cNvPr id="56" name="Group 55">
              <a:extLst>
                <a:ext uri="{FF2B5EF4-FFF2-40B4-BE49-F238E27FC236}">
                  <a16:creationId xmlns:a16="http://schemas.microsoft.com/office/drawing/2014/main" id="{AA0C6553-B255-7DD9-BC05-80D4A49E8901}"/>
                </a:ext>
              </a:extLst>
            </p:cNvPr>
            <p:cNvGrpSpPr/>
            <p:nvPr/>
          </p:nvGrpSpPr>
          <p:grpSpPr>
            <a:xfrm rot="10800000">
              <a:off x="6985210" y="1117694"/>
              <a:ext cx="472459" cy="1084397"/>
              <a:chOff x="10415386" y="4907189"/>
              <a:chExt cx="472459" cy="1084397"/>
            </a:xfrm>
          </p:grpSpPr>
          <p:sp>
            <p:nvSpPr>
              <p:cNvPr id="57" name="Half Frame 56">
                <a:extLst>
                  <a:ext uri="{FF2B5EF4-FFF2-40B4-BE49-F238E27FC236}">
                    <a16:creationId xmlns:a16="http://schemas.microsoft.com/office/drawing/2014/main" id="{0DB41B95-17FA-55FD-5E3E-43887B3EABB9}"/>
                  </a:ext>
                </a:extLst>
              </p:cNvPr>
              <p:cNvSpPr/>
              <p:nvPr/>
            </p:nvSpPr>
            <p:spPr>
              <a:xfrm rot="10800000">
                <a:off x="10415386" y="5522640"/>
                <a:ext cx="468946" cy="468946"/>
              </a:xfrm>
              <a:prstGeom prst="halfFrame">
                <a:avLst>
                  <a:gd name="adj1" fmla="val 14564"/>
                  <a:gd name="adj2" fmla="val 15607"/>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58" name="Parallelogram 57">
                <a:extLst>
                  <a:ext uri="{FF2B5EF4-FFF2-40B4-BE49-F238E27FC236}">
                    <a16:creationId xmlns:a16="http://schemas.microsoft.com/office/drawing/2014/main" id="{669488F6-384A-1182-9542-374FC2DB5A8B}"/>
                  </a:ext>
                </a:extLst>
              </p:cNvPr>
              <p:cNvSpPr/>
              <p:nvPr/>
            </p:nvSpPr>
            <p:spPr>
              <a:xfrm rot="16200000" flipV="1">
                <a:off x="10536721" y="5183127"/>
                <a:ext cx="627062" cy="75186"/>
              </a:xfrm>
              <a:prstGeom prst="parallelogram">
                <a:avLst>
                  <a:gd name="adj" fmla="val 122225"/>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grpSp>
        <p:grpSp>
          <p:nvGrpSpPr>
            <p:cNvPr id="62" name="Group 61">
              <a:extLst>
                <a:ext uri="{FF2B5EF4-FFF2-40B4-BE49-F238E27FC236}">
                  <a16:creationId xmlns:a16="http://schemas.microsoft.com/office/drawing/2014/main" id="{8DE6C31B-4034-2271-FB4F-E31C2EA518E2}"/>
                </a:ext>
              </a:extLst>
            </p:cNvPr>
            <p:cNvGrpSpPr/>
            <p:nvPr/>
          </p:nvGrpSpPr>
          <p:grpSpPr>
            <a:xfrm>
              <a:off x="7140579" y="5508461"/>
              <a:ext cx="243602" cy="457736"/>
              <a:chOff x="7151677" y="5506798"/>
              <a:chExt cx="243602" cy="457736"/>
            </a:xfrm>
          </p:grpSpPr>
          <p:sp>
            <p:nvSpPr>
              <p:cNvPr id="47" name="Parallelogram 46">
                <a:extLst>
                  <a:ext uri="{FF2B5EF4-FFF2-40B4-BE49-F238E27FC236}">
                    <a16:creationId xmlns:a16="http://schemas.microsoft.com/office/drawing/2014/main" id="{CFF0A099-B2C5-D300-9D31-2BA9F6A27A2B}"/>
                  </a:ext>
                </a:extLst>
              </p:cNvPr>
              <p:cNvSpPr/>
              <p:nvPr/>
            </p:nvSpPr>
            <p:spPr>
              <a:xfrm rot="13500000" flipV="1">
                <a:off x="7023907" y="5634568"/>
                <a:ext cx="330726" cy="75186"/>
              </a:xfrm>
              <a:prstGeom prst="parallelogram">
                <a:avLst>
                  <a:gd name="adj" fmla="val 102816"/>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61" name="Freeform: Shape 60">
                <a:extLst>
                  <a:ext uri="{FF2B5EF4-FFF2-40B4-BE49-F238E27FC236}">
                    <a16:creationId xmlns:a16="http://schemas.microsoft.com/office/drawing/2014/main" id="{0C44ECD9-96E7-DEA9-81FB-0106A7307C8B}"/>
                  </a:ext>
                </a:extLst>
              </p:cNvPr>
              <p:cNvSpPr/>
              <p:nvPr/>
            </p:nvSpPr>
            <p:spPr>
              <a:xfrm rot="13500000" flipV="1">
                <a:off x="7231860" y="5801116"/>
                <a:ext cx="251651" cy="75186"/>
              </a:xfrm>
              <a:custGeom>
                <a:avLst/>
                <a:gdLst>
                  <a:gd name="connsiteX0" fmla="*/ 251651 w 251651"/>
                  <a:gd name="connsiteY0" fmla="*/ 0 h 75186"/>
                  <a:gd name="connsiteX1" fmla="*/ 0 w 251651"/>
                  <a:gd name="connsiteY1" fmla="*/ 0 h 75186"/>
                  <a:gd name="connsiteX2" fmla="*/ 75186 w 251651"/>
                  <a:gd name="connsiteY2" fmla="*/ 75186 h 75186"/>
                  <a:gd name="connsiteX3" fmla="*/ 174348 w 251651"/>
                  <a:gd name="connsiteY3" fmla="*/ 75186 h 75186"/>
                </a:gdLst>
                <a:ahLst/>
                <a:cxnLst>
                  <a:cxn ang="0">
                    <a:pos x="connsiteX0" y="connsiteY0"/>
                  </a:cxn>
                  <a:cxn ang="0">
                    <a:pos x="connsiteX1" y="connsiteY1"/>
                  </a:cxn>
                  <a:cxn ang="0">
                    <a:pos x="connsiteX2" y="connsiteY2"/>
                  </a:cxn>
                  <a:cxn ang="0">
                    <a:pos x="connsiteX3" y="connsiteY3"/>
                  </a:cxn>
                </a:cxnLst>
                <a:rect l="l" t="t" r="r" b="b"/>
                <a:pathLst>
                  <a:path w="251651" h="75186">
                    <a:moveTo>
                      <a:pt x="251651" y="0"/>
                    </a:moveTo>
                    <a:lnTo>
                      <a:pt x="0" y="0"/>
                    </a:lnTo>
                    <a:lnTo>
                      <a:pt x="75186" y="75186"/>
                    </a:lnTo>
                    <a:lnTo>
                      <a:pt x="174348" y="75186"/>
                    </a:lnTo>
                    <a:close/>
                  </a:path>
                </a:pathLst>
              </a:cu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grpSp>
        <p:grpSp>
          <p:nvGrpSpPr>
            <p:cNvPr id="63" name="Group 62">
              <a:extLst>
                <a:ext uri="{FF2B5EF4-FFF2-40B4-BE49-F238E27FC236}">
                  <a16:creationId xmlns:a16="http://schemas.microsoft.com/office/drawing/2014/main" id="{1666F88C-E9C6-61F8-630D-C5BE404E2093}"/>
                </a:ext>
              </a:extLst>
            </p:cNvPr>
            <p:cNvGrpSpPr/>
            <p:nvPr/>
          </p:nvGrpSpPr>
          <p:grpSpPr>
            <a:xfrm rot="10800000">
              <a:off x="10526616" y="1145063"/>
              <a:ext cx="243602" cy="457736"/>
              <a:chOff x="7151677" y="5506798"/>
              <a:chExt cx="243602" cy="457736"/>
            </a:xfrm>
          </p:grpSpPr>
          <p:sp>
            <p:nvSpPr>
              <p:cNvPr id="1024" name="Parallelogram 1023">
                <a:extLst>
                  <a:ext uri="{FF2B5EF4-FFF2-40B4-BE49-F238E27FC236}">
                    <a16:creationId xmlns:a16="http://schemas.microsoft.com/office/drawing/2014/main" id="{2DEE5223-908C-FC26-091E-9CBB6A1A0224}"/>
                  </a:ext>
                </a:extLst>
              </p:cNvPr>
              <p:cNvSpPr/>
              <p:nvPr/>
            </p:nvSpPr>
            <p:spPr>
              <a:xfrm rot="13500000" flipV="1">
                <a:off x="7023907" y="5634568"/>
                <a:ext cx="330726" cy="75186"/>
              </a:xfrm>
              <a:prstGeom prst="parallelogram">
                <a:avLst>
                  <a:gd name="adj" fmla="val 102816"/>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1025" name="Freeform: Shape 1024">
                <a:extLst>
                  <a:ext uri="{FF2B5EF4-FFF2-40B4-BE49-F238E27FC236}">
                    <a16:creationId xmlns:a16="http://schemas.microsoft.com/office/drawing/2014/main" id="{E5F4E7DF-A2E2-2D7A-C915-D0CB43A78E60}"/>
                  </a:ext>
                </a:extLst>
              </p:cNvPr>
              <p:cNvSpPr/>
              <p:nvPr/>
            </p:nvSpPr>
            <p:spPr>
              <a:xfrm rot="13500000" flipV="1">
                <a:off x="7231860" y="5801116"/>
                <a:ext cx="251651" cy="75186"/>
              </a:xfrm>
              <a:custGeom>
                <a:avLst/>
                <a:gdLst>
                  <a:gd name="connsiteX0" fmla="*/ 251651 w 251651"/>
                  <a:gd name="connsiteY0" fmla="*/ 0 h 75186"/>
                  <a:gd name="connsiteX1" fmla="*/ 0 w 251651"/>
                  <a:gd name="connsiteY1" fmla="*/ 0 h 75186"/>
                  <a:gd name="connsiteX2" fmla="*/ 75186 w 251651"/>
                  <a:gd name="connsiteY2" fmla="*/ 75186 h 75186"/>
                  <a:gd name="connsiteX3" fmla="*/ 174348 w 251651"/>
                  <a:gd name="connsiteY3" fmla="*/ 75186 h 75186"/>
                </a:gdLst>
                <a:ahLst/>
                <a:cxnLst>
                  <a:cxn ang="0">
                    <a:pos x="connsiteX0" y="connsiteY0"/>
                  </a:cxn>
                  <a:cxn ang="0">
                    <a:pos x="connsiteX1" y="connsiteY1"/>
                  </a:cxn>
                  <a:cxn ang="0">
                    <a:pos x="connsiteX2" y="connsiteY2"/>
                  </a:cxn>
                  <a:cxn ang="0">
                    <a:pos x="connsiteX3" y="connsiteY3"/>
                  </a:cxn>
                </a:cxnLst>
                <a:rect l="l" t="t" r="r" b="b"/>
                <a:pathLst>
                  <a:path w="251651" h="75186">
                    <a:moveTo>
                      <a:pt x="251651" y="0"/>
                    </a:moveTo>
                    <a:lnTo>
                      <a:pt x="0" y="0"/>
                    </a:lnTo>
                    <a:lnTo>
                      <a:pt x="75186" y="75186"/>
                    </a:lnTo>
                    <a:lnTo>
                      <a:pt x="174348" y="75186"/>
                    </a:lnTo>
                    <a:close/>
                  </a:path>
                </a:pathLst>
              </a:cu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grpSp>
      </p:grpSp>
      <p:sp>
        <p:nvSpPr>
          <p:cNvPr id="48" name="Subtitle">
            <a:extLst>
              <a:ext uri="{FF2B5EF4-FFF2-40B4-BE49-F238E27FC236}">
                <a16:creationId xmlns:a16="http://schemas.microsoft.com/office/drawing/2014/main" id="{0F267CBB-AC56-410E-FD4A-8530F7FAD7BD}"/>
              </a:ext>
            </a:extLst>
          </p:cNvPr>
          <p:cNvSpPr txBox="1"/>
          <p:nvPr/>
        </p:nvSpPr>
        <p:spPr>
          <a:xfrm>
            <a:off x="1352815" y="517713"/>
            <a:ext cx="3461745" cy="195823"/>
          </a:xfrm>
          <a:prstGeom prst="rect">
            <a:avLst/>
          </a:prstGeom>
          <a:noFill/>
        </p:spPr>
        <p:txBody>
          <a:bodyPr wrap="square" lIns="0" rtlCol="0">
            <a:spAutoFit/>
          </a:bodyPr>
          <a:lstStyle>
            <a:defPPr>
              <a:defRPr lang="en-LT"/>
            </a:defPPr>
            <a:lvl1pPr marR="0" lvl="0" indent="0" fontAlgn="auto">
              <a:lnSpc>
                <a:spcPct val="150000"/>
              </a:lnSpc>
              <a:spcBef>
                <a:spcPts val="0"/>
              </a:spcBef>
              <a:spcAft>
                <a:spcPts val="0"/>
              </a:spcAft>
              <a:buClrTx/>
              <a:buSzTx/>
              <a:buFontTx/>
              <a:buNone/>
              <a:tabLst/>
              <a:defRPr kumimoji="0" sz="800" b="0" u="none" strike="noStrike" cap="none" spc="110" normalizeH="0">
                <a:ln>
                  <a:noFill/>
                </a:ln>
                <a:solidFill>
                  <a:srgbClr val="FFFFFF"/>
                </a:solidFill>
                <a:uLnTx/>
                <a:uFillTx/>
                <a:latin typeface="Michroma" pitchFamily="2" charset="0"/>
                <a:ea typeface="Roboto" panose="02000000000000000000" pitchFamily="2" charset="0"/>
                <a:cs typeface="Urbanist Light" panose="020B0A04040200000203" pitchFamily="34" charset="77"/>
              </a:defRPr>
            </a:lvl1pPr>
          </a:lstStyle>
          <a:p>
            <a:pPr lvl="0">
              <a:defRPr/>
            </a:pPr>
            <a:r>
              <a:rPr lang="en-GB" sz="500" dirty="0"/>
              <a:t>GIT // REPOSITOIRES // TARIFICATION // COLLABORATEURS</a:t>
            </a:r>
          </a:p>
        </p:txBody>
      </p:sp>
      <p:grpSp>
        <p:nvGrpSpPr>
          <p:cNvPr id="1051" name="PART 2">
            <a:extLst>
              <a:ext uri="{FF2B5EF4-FFF2-40B4-BE49-F238E27FC236}">
                <a16:creationId xmlns:a16="http://schemas.microsoft.com/office/drawing/2014/main" id="{0DE89BEB-9FDF-FD01-F421-C9AD56505E69}"/>
              </a:ext>
            </a:extLst>
          </p:cNvPr>
          <p:cNvGrpSpPr/>
          <p:nvPr/>
        </p:nvGrpSpPr>
        <p:grpSpPr>
          <a:xfrm>
            <a:off x="1926589" y="2297360"/>
            <a:ext cx="2492434" cy="830997"/>
            <a:chOff x="3255579" y="2297360"/>
            <a:chExt cx="2492434" cy="830997"/>
          </a:xfrm>
        </p:grpSpPr>
        <p:sp>
          <p:nvSpPr>
            <p:cNvPr id="1036" name="TextBox 1035">
              <a:extLst>
                <a:ext uri="{FF2B5EF4-FFF2-40B4-BE49-F238E27FC236}">
                  <a16:creationId xmlns:a16="http://schemas.microsoft.com/office/drawing/2014/main" id="{6174ED5A-C98C-FD86-3842-B3CC94D7B8B7}"/>
                </a:ext>
              </a:extLst>
            </p:cNvPr>
            <p:cNvSpPr txBox="1"/>
            <p:nvPr/>
          </p:nvSpPr>
          <p:spPr>
            <a:xfrm>
              <a:off x="4559650" y="2486173"/>
              <a:ext cx="304229" cy="458413"/>
            </a:xfrm>
            <a:custGeom>
              <a:avLst/>
              <a:gdLst/>
              <a:ahLst/>
              <a:cxnLst/>
              <a:rect l="l" t="t" r="r" b="b"/>
              <a:pathLst>
                <a:path w="4309209" h="6493127">
                  <a:moveTo>
                    <a:pt x="62776" y="0"/>
                  </a:moveTo>
                  <a:cubicBezTo>
                    <a:pt x="912770" y="5364"/>
                    <a:pt x="1646186" y="98562"/>
                    <a:pt x="2263023" y="279595"/>
                  </a:cubicBezTo>
                  <a:cubicBezTo>
                    <a:pt x="2920982" y="472696"/>
                    <a:pt x="3425641" y="806358"/>
                    <a:pt x="3777001" y="1280580"/>
                  </a:cubicBezTo>
                  <a:cubicBezTo>
                    <a:pt x="4128361" y="1754802"/>
                    <a:pt x="4305762" y="2410209"/>
                    <a:pt x="4309206" y="3246800"/>
                  </a:cubicBezTo>
                  <a:cubicBezTo>
                    <a:pt x="4310069" y="4066178"/>
                    <a:pt x="4152051" y="4713485"/>
                    <a:pt x="3835150" y="5188719"/>
                  </a:cubicBezTo>
                  <a:cubicBezTo>
                    <a:pt x="3518250" y="5663954"/>
                    <a:pt x="3037286" y="6001666"/>
                    <a:pt x="2392257" y="6201854"/>
                  </a:cubicBezTo>
                  <a:cubicBezTo>
                    <a:pt x="1827856" y="6377020"/>
                    <a:pt x="1133877" y="6473346"/>
                    <a:pt x="310320" y="6490834"/>
                  </a:cubicBezTo>
                  <a:lnTo>
                    <a:pt x="0" y="6493127"/>
                  </a:lnTo>
                  <a:lnTo>
                    <a:pt x="0" y="4824262"/>
                  </a:lnTo>
                  <a:lnTo>
                    <a:pt x="197815" y="4819833"/>
                  </a:lnTo>
                  <a:cubicBezTo>
                    <a:pt x="714688" y="4793827"/>
                    <a:pt x="1128937" y="4669066"/>
                    <a:pt x="1440562" y="4445550"/>
                  </a:cubicBezTo>
                  <a:cubicBezTo>
                    <a:pt x="1796704" y="4190103"/>
                    <a:pt x="1978161" y="3790519"/>
                    <a:pt x="1984935" y="3246800"/>
                  </a:cubicBezTo>
                  <a:cubicBezTo>
                    <a:pt x="1974527" y="2718542"/>
                    <a:pt x="1783550" y="2323376"/>
                    <a:pt x="1412002" y="2061303"/>
                  </a:cubicBezTo>
                  <a:cubicBezTo>
                    <a:pt x="1086898" y="1831988"/>
                    <a:pt x="671355" y="1703120"/>
                    <a:pt x="165374" y="1674698"/>
                  </a:cubicBezTo>
                  <a:lnTo>
                    <a:pt x="0" y="1670212"/>
                  </a:lnTo>
                  <a:lnTo>
                    <a:pt x="0" y="36"/>
                  </a:lnTo>
                  <a:close/>
                </a:path>
              </a:pathLst>
            </a:custGeom>
            <a:solidFill>
              <a:srgbClr val="00F1FF"/>
            </a:solidFill>
            <a:ln w="25400">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1400" b="0" i="0" u="none" strike="noStrike" kern="1200" cap="none" spc="100" normalizeH="0" baseline="0" noProof="0" dirty="0">
                <a:ln w="25400">
                  <a:noFill/>
                </a:ln>
                <a:solidFill>
                  <a:srgbClr val="00F1FF"/>
                </a:solidFill>
                <a:effectLst/>
                <a:uLnTx/>
                <a:uFillTx/>
                <a:latin typeface="Hanson" pitchFamily="50" charset="0"/>
                <a:ea typeface="+mn-ea"/>
                <a:cs typeface="+mn-cs"/>
              </a:endParaRPr>
            </a:p>
          </p:txBody>
        </p:sp>
        <p:sp>
          <p:nvSpPr>
            <p:cNvPr id="1037" name="Rectangle 1036">
              <a:extLst>
                <a:ext uri="{FF2B5EF4-FFF2-40B4-BE49-F238E27FC236}">
                  <a16:creationId xmlns:a16="http://schemas.microsoft.com/office/drawing/2014/main" id="{36581006-A801-4761-6BD7-6AB3BF6C34AB}"/>
                </a:ext>
              </a:extLst>
            </p:cNvPr>
            <p:cNvSpPr/>
            <p:nvPr/>
          </p:nvSpPr>
          <p:spPr>
            <a:xfrm>
              <a:off x="3255579" y="2486173"/>
              <a:ext cx="1304072" cy="117930"/>
            </a:xfrm>
            <a:prstGeom prst="rect">
              <a:avLst/>
            </a:prstGeom>
            <a:solidFill>
              <a:srgbClr val="00F1FF"/>
            </a:solidFill>
            <a:ln w="12700" cap="flat">
              <a:noFill/>
              <a:prstDash val="solid"/>
              <a:miter/>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1039" name="Rectangle 1038">
              <a:extLst>
                <a:ext uri="{FF2B5EF4-FFF2-40B4-BE49-F238E27FC236}">
                  <a16:creationId xmlns:a16="http://schemas.microsoft.com/office/drawing/2014/main" id="{01626707-5AF6-4C6E-5A01-917EF5FB2A7C}"/>
                </a:ext>
              </a:extLst>
            </p:cNvPr>
            <p:cNvSpPr/>
            <p:nvPr/>
          </p:nvSpPr>
          <p:spPr>
            <a:xfrm>
              <a:off x="3255579" y="2826656"/>
              <a:ext cx="1304072" cy="117930"/>
            </a:xfrm>
            <a:prstGeom prst="rect">
              <a:avLst/>
            </a:prstGeom>
            <a:solidFill>
              <a:srgbClr val="00F1FF"/>
            </a:solidFill>
            <a:ln w="12700" cap="flat">
              <a:noFill/>
              <a:prstDash val="solid"/>
              <a:miter/>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1050" name="TextBox 1049">
              <a:extLst>
                <a:ext uri="{FF2B5EF4-FFF2-40B4-BE49-F238E27FC236}">
                  <a16:creationId xmlns:a16="http://schemas.microsoft.com/office/drawing/2014/main" id="{123CF19F-8F78-390D-4B8A-89BDAE93239F}"/>
                </a:ext>
              </a:extLst>
            </p:cNvPr>
            <p:cNvSpPr txBox="1"/>
            <p:nvPr/>
          </p:nvSpPr>
          <p:spPr>
            <a:xfrm>
              <a:off x="4887200" y="2297360"/>
              <a:ext cx="860813" cy="830997"/>
            </a:xfrm>
            <a:prstGeom prst="rect">
              <a:avLst/>
            </a:prstGeom>
            <a:noFill/>
            <a:ln w="6350" cap="rnd">
              <a:noFill/>
              <a:round/>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100" normalizeH="0" baseline="0" noProof="0" dirty="0">
                  <a:ln w="25400">
                    <a:noFill/>
                  </a:ln>
                  <a:solidFill>
                    <a:srgbClr val="00F1FF"/>
                  </a:solidFill>
                  <a:effectLst>
                    <a:outerShdw blurRad="1270000" algn="ctr" rotWithShape="0">
                      <a:srgbClr val="00F1FF"/>
                    </a:outerShdw>
                  </a:effectLst>
                  <a:uLnTx/>
                  <a:uFillTx/>
                  <a:latin typeface="Forte" panose="03060902040502070203" pitchFamily="66" charset="0"/>
                  <a:ea typeface="+mn-ea"/>
                  <a:cs typeface="+mn-cs"/>
                </a:rPr>
                <a:t>UI</a:t>
              </a:r>
              <a:endParaRPr kumimoji="0" lang="en-GB" sz="5400" b="1" i="0" u="none" strike="noStrike" kern="1200" cap="none" spc="100" normalizeH="0" baseline="0" noProof="0" dirty="0">
                <a:ln w="25400">
                  <a:noFill/>
                </a:ln>
                <a:solidFill>
                  <a:srgbClr val="00F1FF"/>
                </a:solidFill>
                <a:effectLst>
                  <a:outerShdw blurRad="1270000" algn="ctr" rotWithShape="0">
                    <a:srgbClr val="00F1FF"/>
                  </a:outerShdw>
                </a:effectLst>
                <a:uLnTx/>
                <a:uFillTx/>
                <a:latin typeface="Forte" panose="03060902040502070203" pitchFamily="66" charset="0"/>
                <a:ea typeface="+mn-ea"/>
                <a:cs typeface="+mn-cs"/>
              </a:endParaRPr>
            </a:p>
          </p:txBody>
        </p:sp>
      </p:grpSp>
      <p:grpSp>
        <p:nvGrpSpPr>
          <p:cNvPr id="1052" name="PART 1">
            <a:extLst>
              <a:ext uri="{FF2B5EF4-FFF2-40B4-BE49-F238E27FC236}">
                <a16:creationId xmlns:a16="http://schemas.microsoft.com/office/drawing/2014/main" id="{5D643A73-7A51-E9C1-A8AE-A36A1D3BCA56}"/>
              </a:ext>
            </a:extLst>
          </p:cNvPr>
          <p:cNvGrpSpPr/>
          <p:nvPr/>
        </p:nvGrpSpPr>
        <p:grpSpPr>
          <a:xfrm>
            <a:off x="1347451" y="2343526"/>
            <a:ext cx="1908127" cy="738664"/>
            <a:chOff x="1347451" y="2343526"/>
            <a:chExt cx="1908127" cy="738664"/>
          </a:xfrm>
        </p:grpSpPr>
        <p:sp>
          <p:nvSpPr>
            <p:cNvPr id="7" name="TextBox 6">
              <a:extLst>
                <a:ext uri="{FF2B5EF4-FFF2-40B4-BE49-F238E27FC236}">
                  <a16:creationId xmlns:a16="http://schemas.microsoft.com/office/drawing/2014/main" id="{4E97E25B-22F2-38F0-7E16-C3B7D41ACFA9}"/>
                </a:ext>
              </a:extLst>
            </p:cNvPr>
            <p:cNvSpPr txBox="1"/>
            <p:nvPr/>
          </p:nvSpPr>
          <p:spPr>
            <a:xfrm>
              <a:off x="1347451" y="2343526"/>
              <a:ext cx="65" cy="738664"/>
            </a:xfrm>
            <a:prstGeom prst="rect">
              <a:avLst/>
            </a:prstGeom>
            <a:noFill/>
            <a:ln w="6350" cap="rnd">
              <a:noFill/>
              <a:round/>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800" b="0" i="0" u="none" strike="noStrike" kern="1200" cap="none" spc="100" normalizeH="0" baseline="0" noProof="0" dirty="0">
                <a:ln w="25400">
                  <a:noFill/>
                </a:ln>
                <a:solidFill>
                  <a:srgbClr val="00F1FF"/>
                </a:solidFill>
                <a:effectLst>
                  <a:outerShdw blurRad="1270000" algn="ctr" rotWithShape="0">
                    <a:srgbClr val="00F1FF"/>
                  </a:outerShdw>
                </a:effectLst>
                <a:uLnTx/>
                <a:uFillTx/>
                <a:latin typeface="Hanson" pitchFamily="50" charset="0"/>
                <a:ea typeface="+mn-ea"/>
                <a:cs typeface="+mn-cs"/>
              </a:endParaRPr>
            </a:p>
          </p:txBody>
        </p:sp>
        <p:sp>
          <p:nvSpPr>
            <p:cNvPr id="1040" name="TextBox 1039">
              <a:extLst>
                <a:ext uri="{FF2B5EF4-FFF2-40B4-BE49-F238E27FC236}">
                  <a16:creationId xmlns:a16="http://schemas.microsoft.com/office/drawing/2014/main" id="{B9E8D04F-3234-D223-0F8F-6DB8F62D2A04}"/>
                </a:ext>
              </a:extLst>
            </p:cNvPr>
            <p:cNvSpPr txBox="1"/>
            <p:nvPr/>
          </p:nvSpPr>
          <p:spPr>
            <a:xfrm flipH="1">
              <a:off x="2951349" y="2486173"/>
              <a:ext cx="304229" cy="458413"/>
            </a:xfrm>
            <a:custGeom>
              <a:avLst/>
              <a:gdLst/>
              <a:ahLst/>
              <a:cxnLst/>
              <a:rect l="l" t="t" r="r" b="b"/>
              <a:pathLst>
                <a:path w="4309209" h="6493127">
                  <a:moveTo>
                    <a:pt x="62776" y="0"/>
                  </a:moveTo>
                  <a:cubicBezTo>
                    <a:pt x="912770" y="5364"/>
                    <a:pt x="1646186" y="98562"/>
                    <a:pt x="2263023" y="279595"/>
                  </a:cubicBezTo>
                  <a:cubicBezTo>
                    <a:pt x="2920982" y="472696"/>
                    <a:pt x="3425641" y="806358"/>
                    <a:pt x="3777001" y="1280580"/>
                  </a:cubicBezTo>
                  <a:cubicBezTo>
                    <a:pt x="4128361" y="1754802"/>
                    <a:pt x="4305762" y="2410209"/>
                    <a:pt x="4309206" y="3246800"/>
                  </a:cubicBezTo>
                  <a:cubicBezTo>
                    <a:pt x="4310069" y="4066178"/>
                    <a:pt x="4152051" y="4713485"/>
                    <a:pt x="3835150" y="5188719"/>
                  </a:cubicBezTo>
                  <a:cubicBezTo>
                    <a:pt x="3518250" y="5663954"/>
                    <a:pt x="3037286" y="6001666"/>
                    <a:pt x="2392257" y="6201854"/>
                  </a:cubicBezTo>
                  <a:cubicBezTo>
                    <a:pt x="1827856" y="6377020"/>
                    <a:pt x="1133877" y="6473346"/>
                    <a:pt x="310320" y="6490834"/>
                  </a:cubicBezTo>
                  <a:lnTo>
                    <a:pt x="0" y="6493127"/>
                  </a:lnTo>
                  <a:lnTo>
                    <a:pt x="0" y="4824262"/>
                  </a:lnTo>
                  <a:lnTo>
                    <a:pt x="197815" y="4819833"/>
                  </a:lnTo>
                  <a:cubicBezTo>
                    <a:pt x="714688" y="4793827"/>
                    <a:pt x="1128937" y="4669066"/>
                    <a:pt x="1440562" y="4445550"/>
                  </a:cubicBezTo>
                  <a:cubicBezTo>
                    <a:pt x="1796704" y="4190103"/>
                    <a:pt x="1978161" y="3790519"/>
                    <a:pt x="1984935" y="3246800"/>
                  </a:cubicBezTo>
                  <a:cubicBezTo>
                    <a:pt x="1974527" y="2718542"/>
                    <a:pt x="1783550" y="2323376"/>
                    <a:pt x="1412002" y="2061303"/>
                  </a:cubicBezTo>
                  <a:cubicBezTo>
                    <a:pt x="1086898" y="1831988"/>
                    <a:pt x="671355" y="1703120"/>
                    <a:pt x="165374" y="1674698"/>
                  </a:cubicBezTo>
                  <a:lnTo>
                    <a:pt x="0" y="1670212"/>
                  </a:lnTo>
                  <a:lnTo>
                    <a:pt x="0" y="36"/>
                  </a:lnTo>
                  <a:close/>
                </a:path>
              </a:pathLst>
            </a:custGeom>
            <a:solidFill>
              <a:srgbClr val="00F1FF"/>
            </a:solidFill>
            <a:ln w="25400">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1400" b="0" i="0" u="none" strike="noStrike" kern="1200" cap="none" spc="100" normalizeH="0" baseline="0" noProof="0" dirty="0">
                <a:ln w="25400">
                  <a:noFill/>
                </a:ln>
                <a:solidFill>
                  <a:srgbClr val="00F1FF"/>
                </a:solidFill>
                <a:effectLst/>
                <a:uLnTx/>
                <a:uFillTx/>
                <a:latin typeface="Hanson" pitchFamily="50" charset="0"/>
                <a:ea typeface="+mn-ea"/>
                <a:cs typeface="+mn-cs"/>
              </a:endParaRPr>
            </a:p>
          </p:txBody>
        </p:sp>
      </p:grpSp>
      <p:pic>
        <p:nvPicPr>
          <p:cNvPr id="43" name="Konoha   Naruto Type Beat">
            <a:hlinkClick r:id="" action="ppaction://media"/>
            <a:extLst>
              <a:ext uri="{FF2B5EF4-FFF2-40B4-BE49-F238E27FC236}">
                <a16:creationId xmlns:a16="http://schemas.microsoft.com/office/drawing/2014/main" id="{CE67B8D4-2790-20B2-A3FA-4C3B03EBB59A}"/>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08394" y="-812325"/>
            <a:ext cx="487363" cy="487363"/>
          </a:xfrm>
          <a:prstGeom prst="rect">
            <a:avLst/>
          </a:prstGeom>
        </p:spPr>
      </p:pic>
      <p:sp useBgFill="1">
        <p:nvSpPr>
          <p:cNvPr id="69" name="Snip Diagonal Corner of Rectangle 23">
            <a:extLst>
              <a:ext uri="{FF2B5EF4-FFF2-40B4-BE49-F238E27FC236}">
                <a16:creationId xmlns:a16="http://schemas.microsoft.com/office/drawing/2014/main" id="{CA5E2858-F542-4F04-9D9A-E5189B0D48CC}"/>
              </a:ext>
            </a:extLst>
          </p:cNvPr>
          <p:cNvSpPr/>
          <p:nvPr/>
        </p:nvSpPr>
        <p:spPr>
          <a:xfrm>
            <a:off x="2011658" y="6194952"/>
            <a:ext cx="1247384" cy="452550"/>
          </a:xfrm>
          <a:prstGeom prst="snip2DiagRect">
            <a:avLst>
              <a:gd name="adj1" fmla="val 0"/>
              <a:gd name="adj2" fmla="val 28663"/>
            </a:avLst>
          </a:prstGeom>
          <a:ln w="12700" cap="flat">
            <a:solidFill>
              <a:schemeClr val="accent3"/>
            </a:solidFill>
            <a:prstDash val="solid"/>
            <a:miter/>
          </a:ln>
          <a:effectLst>
            <a:outerShdw blurRad="3175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000" b="1" i="0" u="none" strike="noStrike" kern="1200" cap="none" spc="0" normalizeH="0" baseline="0" noProof="0" dirty="0">
              <a:ln>
                <a:noFill/>
              </a:ln>
              <a:solidFill>
                <a:srgbClr val="FFFFFF"/>
              </a:solidFill>
              <a:effectLst/>
              <a:uLnTx/>
              <a:uFillTx/>
              <a:latin typeface="Hanson" pitchFamily="50" charset="0"/>
              <a:ea typeface="Urbanist Black" panose="020B0A04040200000203" pitchFamily="34" charset="77"/>
              <a:cs typeface="Urbanist Black" panose="020B0A04040200000203" pitchFamily="34" charset="77"/>
            </a:endParaRPr>
          </a:p>
        </p:txBody>
      </p:sp>
      <p:sp>
        <p:nvSpPr>
          <p:cNvPr id="70" name="Snip Diagonal Corner of Rectangle 23">
            <a:extLst>
              <a:ext uri="{FF2B5EF4-FFF2-40B4-BE49-F238E27FC236}">
                <a16:creationId xmlns:a16="http://schemas.microsoft.com/office/drawing/2014/main" id="{B44D832D-5482-4DEC-993D-FD9CC86DF8DA}"/>
              </a:ext>
            </a:extLst>
          </p:cNvPr>
          <p:cNvSpPr/>
          <p:nvPr/>
        </p:nvSpPr>
        <p:spPr>
          <a:xfrm>
            <a:off x="1992952" y="6173639"/>
            <a:ext cx="1260985" cy="473329"/>
          </a:xfrm>
          <a:prstGeom prst="snip2DiagRect">
            <a:avLst>
              <a:gd name="adj1" fmla="val 0"/>
              <a:gd name="adj2" fmla="val 28663"/>
            </a:avLst>
          </a:prstGeom>
          <a:pattFill prst="pct20">
            <a:fgClr>
              <a:srgbClr val="008086"/>
            </a:fgClr>
            <a:bgClr>
              <a:schemeClr val="tx1"/>
            </a:bgClr>
          </a:pattFill>
          <a:ln w="6350" cap="flat">
            <a:solidFill>
              <a:schemeClr val="accent3"/>
            </a:solidFill>
            <a:prstDash val="solid"/>
            <a:miter/>
          </a:ln>
          <a:effectLst>
            <a:innerShdw blurRad="190500">
              <a:schemeClr val="accent3"/>
            </a:inn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MERI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ASSADI</a:t>
            </a:r>
            <a:endParaRPr kumimoji="0" lang="en-LT"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sp useBgFill="1">
        <p:nvSpPr>
          <p:cNvPr id="71" name="Snip Diagonal Corner of Rectangle 23">
            <a:extLst>
              <a:ext uri="{FF2B5EF4-FFF2-40B4-BE49-F238E27FC236}">
                <a16:creationId xmlns:a16="http://schemas.microsoft.com/office/drawing/2014/main" id="{D6398ACD-ADA3-4691-96B9-1C136AA9E323}"/>
              </a:ext>
            </a:extLst>
          </p:cNvPr>
          <p:cNvSpPr/>
          <p:nvPr/>
        </p:nvSpPr>
        <p:spPr>
          <a:xfrm>
            <a:off x="3901785" y="6182699"/>
            <a:ext cx="1247384" cy="452550"/>
          </a:xfrm>
          <a:prstGeom prst="snip2DiagRect">
            <a:avLst>
              <a:gd name="adj1" fmla="val 0"/>
              <a:gd name="adj2" fmla="val 28663"/>
            </a:avLst>
          </a:prstGeom>
          <a:ln w="12700" cap="flat">
            <a:solidFill>
              <a:schemeClr val="accent3"/>
            </a:solidFill>
            <a:prstDash val="solid"/>
            <a:miter/>
          </a:ln>
          <a:effectLst>
            <a:outerShdw blurRad="3175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000" b="1" i="0" u="none" strike="noStrike" kern="1200" cap="none" spc="0" normalizeH="0" baseline="0" noProof="0" dirty="0">
              <a:ln>
                <a:noFill/>
              </a:ln>
              <a:solidFill>
                <a:srgbClr val="FFFFFF"/>
              </a:solidFill>
              <a:effectLst/>
              <a:uLnTx/>
              <a:uFillTx/>
              <a:latin typeface="Hanson" pitchFamily="50" charset="0"/>
              <a:ea typeface="Urbanist Black" panose="020B0A04040200000203" pitchFamily="34" charset="77"/>
              <a:cs typeface="Urbanist Black" panose="020B0A04040200000203" pitchFamily="34" charset="77"/>
            </a:endParaRPr>
          </a:p>
        </p:txBody>
      </p:sp>
      <p:sp>
        <p:nvSpPr>
          <p:cNvPr id="72" name="Snip Diagonal Corner of Rectangle 23">
            <a:extLst>
              <a:ext uri="{FF2B5EF4-FFF2-40B4-BE49-F238E27FC236}">
                <a16:creationId xmlns:a16="http://schemas.microsoft.com/office/drawing/2014/main" id="{B0E64924-391F-41F3-B730-E2A086F82257}"/>
              </a:ext>
            </a:extLst>
          </p:cNvPr>
          <p:cNvSpPr/>
          <p:nvPr/>
        </p:nvSpPr>
        <p:spPr>
          <a:xfrm>
            <a:off x="3898121" y="6167432"/>
            <a:ext cx="1260985" cy="473329"/>
          </a:xfrm>
          <a:prstGeom prst="snip2DiagRect">
            <a:avLst>
              <a:gd name="adj1" fmla="val 0"/>
              <a:gd name="adj2" fmla="val 28663"/>
            </a:avLst>
          </a:prstGeom>
          <a:pattFill prst="pct20">
            <a:fgClr>
              <a:srgbClr val="008086"/>
            </a:fgClr>
            <a:bgClr>
              <a:schemeClr val="tx1"/>
            </a:bgClr>
          </a:pattFill>
          <a:ln w="6350" cap="flat">
            <a:solidFill>
              <a:schemeClr val="accent3"/>
            </a:solidFill>
            <a:prstDash val="solid"/>
            <a:miter/>
          </a:ln>
          <a:effectLst>
            <a:innerShdw blurRad="190500">
              <a:schemeClr val="accent3"/>
            </a:inn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FAT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RAMZ</a:t>
            </a:r>
            <a:endParaRPr kumimoji="0" lang="en-LT"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sp useBgFill="1">
        <p:nvSpPr>
          <p:cNvPr id="73" name="Snip Diagonal Corner of Rectangle 23">
            <a:extLst>
              <a:ext uri="{FF2B5EF4-FFF2-40B4-BE49-F238E27FC236}">
                <a16:creationId xmlns:a16="http://schemas.microsoft.com/office/drawing/2014/main" id="{03EB15FC-A12F-4AB6-BD97-7A2686A7E68D}"/>
              </a:ext>
            </a:extLst>
          </p:cNvPr>
          <p:cNvSpPr/>
          <p:nvPr/>
        </p:nvSpPr>
        <p:spPr>
          <a:xfrm>
            <a:off x="267852" y="6194418"/>
            <a:ext cx="1247384" cy="452550"/>
          </a:xfrm>
          <a:prstGeom prst="snip2DiagRect">
            <a:avLst>
              <a:gd name="adj1" fmla="val 0"/>
              <a:gd name="adj2" fmla="val 28663"/>
            </a:avLst>
          </a:prstGeom>
          <a:ln w="12700" cap="flat">
            <a:solidFill>
              <a:schemeClr val="accent3"/>
            </a:solidFill>
            <a:prstDash val="solid"/>
            <a:miter/>
          </a:ln>
          <a:effectLst>
            <a:outerShdw blurRad="3175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000" b="1" i="0" u="none" strike="noStrike" kern="1200" cap="none" spc="0" normalizeH="0" baseline="0" noProof="0" dirty="0">
              <a:ln>
                <a:noFill/>
              </a:ln>
              <a:solidFill>
                <a:srgbClr val="FFFFFF"/>
              </a:solidFill>
              <a:effectLst/>
              <a:uLnTx/>
              <a:uFillTx/>
              <a:latin typeface="Hanson" pitchFamily="50" charset="0"/>
              <a:ea typeface="Urbanist Black" panose="020B0A04040200000203" pitchFamily="34" charset="77"/>
              <a:cs typeface="Urbanist Black" panose="020B0A04040200000203" pitchFamily="34" charset="77"/>
            </a:endParaRPr>
          </a:p>
        </p:txBody>
      </p:sp>
      <p:sp>
        <p:nvSpPr>
          <p:cNvPr id="74" name="Snip Diagonal Corner of Rectangle 23">
            <a:extLst>
              <a:ext uri="{FF2B5EF4-FFF2-40B4-BE49-F238E27FC236}">
                <a16:creationId xmlns:a16="http://schemas.microsoft.com/office/drawing/2014/main" id="{0C87BBF0-A549-4909-A52A-A56E2989B951}"/>
              </a:ext>
            </a:extLst>
          </p:cNvPr>
          <p:cNvSpPr/>
          <p:nvPr/>
        </p:nvSpPr>
        <p:spPr>
          <a:xfrm>
            <a:off x="250759" y="6194418"/>
            <a:ext cx="1260985" cy="473329"/>
          </a:xfrm>
          <a:prstGeom prst="snip2DiagRect">
            <a:avLst>
              <a:gd name="adj1" fmla="val 0"/>
              <a:gd name="adj2" fmla="val 28663"/>
            </a:avLst>
          </a:prstGeom>
          <a:pattFill prst="pct20">
            <a:fgClr>
              <a:srgbClr val="008086"/>
            </a:fgClr>
            <a:bgClr>
              <a:schemeClr val="tx1"/>
            </a:bgClr>
          </a:pattFill>
          <a:ln w="6350" cap="flat">
            <a:solidFill>
              <a:schemeClr val="accent3"/>
            </a:solidFill>
            <a:prstDash val="solid"/>
            <a:miter/>
          </a:ln>
          <a:effectLst>
            <a:innerShdw blurRad="190500">
              <a:schemeClr val="accent3"/>
            </a:inn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spc="110" dirty="0">
                <a:solidFill>
                  <a:srgbClr val="FFFFFF"/>
                </a:solidFill>
                <a:effectLst>
                  <a:outerShdw blurRad="38100" dist="38100" dir="2700000" algn="tl">
                    <a:srgbClr val="000000">
                      <a:alpha val="43137"/>
                    </a:srgbClr>
                  </a:outerShdw>
                </a:effectLst>
                <a:latin typeface="Hanson" pitchFamily="50" charset="0"/>
              </a:rPr>
              <a:t>OTHMANE</a:t>
            </a:r>
            <a:endParaRPr kumimoji="0" lang="en-US"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ASSADI</a:t>
            </a:r>
            <a:endParaRPr kumimoji="0" lang="en-LT"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sp useBgFill="1">
        <p:nvSpPr>
          <p:cNvPr id="77" name="Snip Diagonal Corner of Rectangle 23">
            <a:extLst>
              <a:ext uri="{FF2B5EF4-FFF2-40B4-BE49-F238E27FC236}">
                <a16:creationId xmlns:a16="http://schemas.microsoft.com/office/drawing/2014/main" id="{583138F0-4D4C-43FF-9C3F-6BEDF80D5823}"/>
              </a:ext>
            </a:extLst>
          </p:cNvPr>
          <p:cNvSpPr/>
          <p:nvPr/>
        </p:nvSpPr>
        <p:spPr>
          <a:xfrm>
            <a:off x="10334399" y="6244266"/>
            <a:ext cx="1247384" cy="452550"/>
          </a:xfrm>
          <a:prstGeom prst="snip2DiagRect">
            <a:avLst>
              <a:gd name="adj1" fmla="val 0"/>
              <a:gd name="adj2" fmla="val 28663"/>
            </a:avLst>
          </a:prstGeom>
          <a:ln w="12700" cap="flat">
            <a:solidFill>
              <a:schemeClr val="accent3"/>
            </a:solidFill>
            <a:prstDash val="solid"/>
            <a:miter/>
          </a:ln>
          <a:effectLst>
            <a:outerShdw blurRad="3175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000" b="1" i="0" u="none" strike="noStrike" kern="1200" cap="none" spc="0" normalizeH="0" baseline="0" noProof="0" dirty="0">
              <a:ln>
                <a:noFill/>
              </a:ln>
              <a:solidFill>
                <a:srgbClr val="FFFFFF"/>
              </a:solidFill>
              <a:effectLst/>
              <a:uLnTx/>
              <a:uFillTx/>
              <a:latin typeface="Hanson" pitchFamily="50" charset="0"/>
              <a:ea typeface="Urbanist Black" panose="020B0A04040200000203" pitchFamily="34" charset="77"/>
              <a:cs typeface="Urbanist Black" panose="020B0A04040200000203" pitchFamily="34" charset="77"/>
            </a:endParaRPr>
          </a:p>
        </p:txBody>
      </p:sp>
      <p:sp>
        <p:nvSpPr>
          <p:cNvPr id="78" name="Snip Diagonal Corner of Rectangle 23">
            <a:extLst>
              <a:ext uri="{FF2B5EF4-FFF2-40B4-BE49-F238E27FC236}">
                <a16:creationId xmlns:a16="http://schemas.microsoft.com/office/drawing/2014/main" id="{5C7BDBF1-F1DB-4BDB-BAAE-1A788B15D2D8}"/>
              </a:ext>
            </a:extLst>
          </p:cNvPr>
          <p:cNvSpPr/>
          <p:nvPr/>
        </p:nvSpPr>
        <p:spPr>
          <a:xfrm>
            <a:off x="10347625" y="6260352"/>
            <a:ext cx="1260985" cy="473329"/>
          </a:xfrm>
          <a:prstGeom prst="snip2DiagRect">
            <a:avLst>
              <a:gd name="adj1" fmla="val 0"/>
              <a:gd name="adj2" fmla="val 28663"/>
            </a:avLst>
          </a:prstGeom>
          <a:pattFill prst="pct20">
            <a:fgClr>
              <a:srgbClr val="008086"/>
            </a:fgClr>
            <a:bgClr>
              <a:schemeClr val="tx1"/>
            </a:bgClr>
          </a:pattFill>
          <a:ln w="6350" cap="flat">
            <a:solidFill>
              <a:schemeClr val="accent3"/>
            </a:solidFill>
            <a:prstDash val="solid"/>
            <a:miter/>
          </a:ln>
          <a:effectLst>
            <a:innerShdw blurRad="190500">
              <a:schemeClr val="accent3"/>
            </a:inn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M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spc="110" dirty="0">
                <a:solidFill>
                  <a:srgbClr val="FFFFFF"/>
                </a:solidFill>
                <a:effectLst>
                  <a:outerShdw blurRad="38100" dist="38100" dir="2700000" algn="tl">
                    <a:srgbClr val="000000">
                      <a:alpha val="43137"/>
                    </a:srgbClr>
                  </a:outerShdw>
                </a:effectLst>
                <a:latin typeface="Hanson" pitchFamily="50" charset="0"/>
              </a:rPr>
              <a:t>DIDI</a:t>
            </a:r>
            <a:endParaRPr kumimoji="0" lang="en-LT" sz="12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spTree>
    <p:extLst>
      <p:ext uri="{BB962C8B-B14F-4D97-AF65-F5344CB8AC3E}">
        <p14:creationId xmlns:p14="http://schemas.microsoft.com/office/powerpoint/2010/main" val="18184263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advTm="0">
        <p159:morph option="byObject"/>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14634" numSld="999" showWhenStopped="0">
                <p:cTn id="7" repeatCount="indefinite" fill="remove" display="0">
                  <p:stCondLst>
                    <p:cond delay="indefinite"/>
                  </p:stCondLst>
                  <p:endCondLst>
                    <p:cond evt="onStopAudio" delay="0">
                      <p:tgtEl>
                        <p:sldTgt/>
                      </p:tgtEl>
                    </p:cond>
                  </p:endCondLst>
                </p:cTn>
                <p:tgtEl>
                  <p:spTgt spid="43"/>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FD266"/>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CC7C2DB-A7A4-4698-A5CD-32B659FC8A8A}"/>
              </a:ext>
            </a:extLst>
          </p:cNvPr>
          <p:cNvGrpSpPr/>
          <p:nvPr/>
        </p:nvGrpSpPr>
        <p:grpSpPr>
          <a:xfrm>
            <a:off x="3158490" y="491490"/>
            <a:ext cx="5875020" cy="5875020"/>
            <a:chOff x="3329940" y="586740"/>
            <a:chExt cx="5875020" cy="5875020"/>
          </a:xfrm>
        </p:grpSpPr>
        <p:sp>
          <p:nvSpPr>
            <p:cNvPr id="4" name="Oval 3">
              <a:extLst>
                <a:ext uri="{FF2B5EF4-FFF2-40B4-BE49-F238E27FC236}">
                  <a16:creationId xmlns:a16="http://schemas.microsoft.com/office/drawing/2014/main" id="{92503E22-6F27-4A2F-AAFD-8AB0EA48E38B}"/>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Graphic 8">
              <a:extLst>
                <a:ext uri="{FF2B5EF4-FFF2-40B4-BE49-F238E27FC236}">
                  <a16:creationId xmlns:a16="http://schemas.microsoft.com/office/drawing/2014/main" id="{7DBA7094-CB32-43CC-8294-D0D458181C2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sp>
        <p:nvSpPr>
          <p:cNvPr id="11" name="TextBox 10">
            <a:extLst>
              <a:ext uri="{FF2B5EF4-FFF2-40B4-BE49-F238E27FC236}">
                <a16:creationId xmlns:a16="http://schemas.microsoft.com/office/drawing/2014/main" id="{FD678769-02EE-4ADB-AD86-A09BE7D81912}"/>
              </a:ext>
            </a:extLst>
          </p:cNvPr>
          <p:cNvSpPr txBox="1"/>
          <p:nvPr/>
        </p:nvSpPr>
        <p:spPr>
          <a:xfrm>
            <a:off x="6210300" y="1935480"/>
            <a:ext cx="2185214" cy="393954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5000" b="0" i="0" u="none" strike="noStrike" kern="1200" cap="none" spc="0" normalizeH="0" baseline="0" noProof="0" dirty="0">
                <a:ln w="25400">
                  <a:solidFill>
                    <a:prstClr val="white"/>
                  </a:solidFill>
                </a:ln>
                <a:noFill/>
                <a:effectLst/>
                <a:uLnTx/>
                <a:uFillTx/>
                <a:latin typeface="Gotham Black" pitchFamily="50" charset="0"/>
                <a:ea typeface="+mn-ea"/>
                <a:cs typeface="+mn-cs"/>
              </a:rPr>
              <a:t>2</a:t>
            </a:r>
          </a:p>
        </p:txBody>
      </p:sp>
      <p:sp>
        <p:nvSpPr>
          <p:cNvPr id="12" name="TextBox 11">
            <a:extLst>
              <a:ext uri="{FF2B5EF4-FFF2-40B4-BE49-F238E27FC236}">
                <a16:creationId xmlns:a16="http://schemas.microsoft.com/office/drawing/2014/main" id="{C641ADE9-1FF3-4B4E-9AE3-10C4EFC5C2C3}"/>
              </a:ext>
            </a:extLst>
          </p:cNvPr>
          <p:cNvSpPr txBox="1"/>
          <p:nvPr/>
        </p:nvSpPr>
        <p:spPr>
          <a:xfrm>
            <a:off x="3466254" y="-2415541"/>
            <a:ext cx="14005757" cy="1569660"/>
          </a:xfrm>
          <a:prstGeom prst="rect">
            <a:avLst/>
          </a:prstGeom>
          <a:noFill/>
        </p:spPr>
        <p:txBody>
          <a:bodyPr wrap="none" rtlCol="0">
            <a:spAutoFit/>
          </a:bodyPr>
          <a:lstStyle/>
          <a:p>
            <a:pPr algn="l"/>
            <a:r>
              <a:rPr lang="en-US" sz="9600" b="0" i="0" dirty="0">
                <a:solidFill>
                  <a:schemeClr val="bg1"/>
                </a:solidFill>
                <a:effectLst>
                  <a:outerShdw blurRad="38100" dist="38100" dir="2700000" algn="tl">
                    <a:srgbClr val="000000">
                      <a:alpha val="43137"/>
                    </a:srgbClr>
                  </a:outerShdw>
                </a:effectLst>
                <a:latin typeface="Chewy" panose="02000000000000000000" pitchFamily="2" charset="0"/>
              </a:rPr>
              <a:t>Les oscilloscopes </a:t>
            </a:r>
            <a:r>
              <a:rPr lang="en-US" sz="9600" b="0" i="0" dirty="0" err="1">
                <a:solidFill>
                  <a:schemeClr val="bg1"/>
                </a:solidFill>
                <a:effectLst>
                  <a:outerShdw blurRad="38100" dist="38100" dir="2700000" algn="tl">
                    <a:srgbClr val="000000">
                      <a:alpha val="43137"/>
                    </a:srgbClr>
                  </a:outerShdw>
                </a:effectLst>
                <a:latin typeface="Chewy" panose="02000000000000000000" pitchFamily="2" charset="0"/>
              </a:rPr>
              <a:t>analogiques</a:t>
            </a:r>
            <a:endParaRPr lang="en-US" sz="9600" b="0" i="0" dirty="0">
              <a:solidFill>
                <a:schemeClr val="bg1"/>
              </a:solidFill>
              <a:effectLst>
                <a:outerShdw blurRad="38100" dist="38100" dir="2700000" algn="tl">
                  <a:srgbClr val="000000">
                    <a:alpha val="43137"/>
                  </a:srgbClr>
                </a:outerShdw>
              </a:effectLst>
              <a:latin typeface="Chewy" panose="02000000000000000000" pitchFamily="2" charset="0"/>
            </a:endParaRPr>
          </a:p>
        </p:txBody>
      </p:sp>
      <p:sp>
        <p:nvSpPr>
          <p:cNvPr id="13" name="TextBox 12">
            <a:extLst>
              <a:ext uri="{FF2B5EF4-FFF2-40B4-BE49-F238E27FC236}">
                <a16:creationId xmlns:a16="http://schemas.microsoft.com/office/drawing/2014/main" id="{343CDFD8-216D-46CB-9E94-DECEE2205632}"/>
              </a:ext>
            </a:extLst>
          </p:cNvPr>
          <p:cNvSpPr txBox="1"/>
          <p:nvPr/>
        </p:nvSpPr>
        <p:spPr>
          <a:xfrm>
            <a:off x="12997405" y="1873568"/>
            <a:ext cx="7772400" cy="1107996"/>
          </a:xfrm>
          <a:prstGeom prst="rect">
            <a:avLst/>
          </a:prstGeom>
          <a:solidFill>
            <a:schemeClr val="accent1">
              <a:lumMod val="75000"/>
              <a:alpha val="50000"/>
            </a:schemeClr>
          </a:solidFill>
        </p:spPr>
        <p:txBody>
          <a:bodyPr wrap="square" lIns="182880" tIns="182880" rIns="182880" bIns="182880" rtlCol="0">
            <a:spAutoFit/>
          </a:bodyPr>
          <a:lstStyle/>
          <a:p>
            <a:pPr algn="l"/>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Ce type d'appareil est en voie d'obsolescence car il ne permet généralement que l'observation de tensions </a:t>
            </a:r>
            <a:r>
              <a:rPr lang="fr-FR" sz="1200" dirty="0">
                <a:solidFill>
                  <a:schemeClr val="bg1"/>
                </a:solidFill>
                <a:effectLst>
                  <a:outerShdw blurRad="38100" dist="38100" dir="2700000" algn="tl">
                    <a:srgbClr val="000000">
                      <a:alpha val="43137"/>
                    </a:srgbClr>
                  </a:outerShdw>
                </a:effectLst>
                <a:latin typeface="Arial" panose="020B0604020202020204" pitchFamily="34" charset="0"/>
              </a:rPr>
              <a:t>périodiques</a:t>
            </a:r>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 Il est de plus en plus remplacé par les oscilloscopes numériques.</a:t>
            </a:r>
          </a:p>
          <a:p>
            <a:pPr algn="l"/>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Ne sont décrites dans ce paragraphe que des généralités concernant les calibres de tension et la base de temps d’un oscilloscope analogique.</a:t>
            </a:r>
          </a:p>
        </p:txBody>
      </p:sp>
      <p:sp>
        <p:nvSpPr>
          <p:cNvPr id="14" name="TextBox 13">
            <a:extLst>
              <a:ext uri="{FF2B5EF4-FFF2-40B4-BE49-F238E27FC236}">
                <a16:creationId xmlns:a16="http://schemas.microsoft.com/office/drawing/2014/main" id="{15B78540-8F23-4C57-802A-5F0E9082C5B0}"/>
              </a:ext>
            </a:extLst>
          </p:cNvPr>
          <p:cNvSpPr txBox="1"/>
          <p:nvPr/>
        </p:nvSpPr>
        <p:spPr>
          <a:xfrm>
            <a:off x="-2714398" y="3747136"/>
            <a:ext cx="809773" cy="323165"/>
          </a:xfrm>
          <a:prstGeom prst="rect">
            <a:avLst/>
          </a:prstGeom>
          <a:solidFill>
            <a:schemeClr val="accent1">
              <a:lumMod val="75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Gotham Black" pitchFamily="50" charset="0"/>
                <a:ea typeface="+mn-ea"/>
                <a:cs typeface="+mn-cs"/>
              </a:rPr>
              <a:t>IMAGES</a:t>
            </a:r>
          </a:p>
        </p:txBody>
      </p:sp>
    </p:spTree>
    <p:extLst>
      <p:ext uri="{BB962C8B-B14F-4D97-AF65-F5344CB8AC3E}">
        <p14:creationId xmlns:p14="http://schemas.microsoft.com/office/powerpoint/2010/main" val="1771793785"/>
      </p:ext>
    </p:extLst>
  </p:cSld>
  <p:clrMapOvr>
    <a:masterClrMapping/>
  </p:clrMapOvr>
  <mc:AlternateContent xmlns:mc="http://schemas.openxmlformats.org/markup-compatibility/2006" xmlns:p14="http://schemas.microsoft.com/office/powerpoint/2010/main">
    <mc:Choice Requires="p14">
      <p:transition spd="slow" p14:dur="2000" advClick="0" advTm="0"/>
    </mc:Choice>
    <mc:Fallback xmlns="">
      <p:transition spd="slow" advClick="0" advTm="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85437DF-2612-41F8-6251-2EDEE4E2E92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3104AE3D-6F99-DBDC-FCAD-45F32C0BBF69}"/>
              </a:ext>
            </a:extLst>
          </p:cNvPr>
          <p:cNvSpPr/>
          <p:nvPr/>
        </p:nvSpPr>
        <p:spPr>
          <a:xfrm>
            <a:off x="0" y="0"/>
            <a:ext cx="12192000" cy="6858000"/>
          </a:xfrm>
          <a:prstGeom prst="rect">
            <a:avLst/>
          </a:prstGeom>
          <a:gradFill>
            <a:gsLst>
              <a:gs pos="0">
                <a:schemeClr val="accent1">
                  <a:alpha val="70000"/>
                </a:schemeClr>
              </a:gs>
              <a:gs pos="75000">
                <a:schemeClr val="accent1">
                  <a:alpha val="20000"/>
                </a:schemeClr>
              </a:gs>
              <a:gs pos="100000">
                <a:schemeClr val="accent3">
                  <a:alpha val="2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6F213691-1AEA-AD3B-2128-04E9E4202351}"/>
              </a:ext>
            </a:extLst>
          </p:cNvPr>
          <p:cNvGrpSpPr/>
          <p:nvPr/>
        </p:nvGrpSpPr>
        <p:grpSpPr>
          <a:xfrm>
            <a:off x="-1676400" y="-4343400"/>
            <a:ext cx="15544800" cy="15544800"/>
            <a:chOff x="3329940" y="586740"/>
            <a:chExt cx="5875020" cy="5875020"/>
          </a:xfrm>
        </p:grpSpPr>
        <p:sp>
          <p:nvSpPr>
            <p:cNvPr id="14" name="Oval 13">
              <a:extLst>
                <a:ext uri="{FF2B5EF4-FFF2-40B4-BE49-F238E27FC236}">
                  <a16:creationId xmlns:a16="http://schemas.microsoft.com/office/drawing/2014/main" id="{7E32BBF4-D780-6373-4667-86D054ADFBD8}"/>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Graphic 14">
              <a:extLst>
                <a:ext uri="{FF2B5EF4-FFF2-40B4-BE49-F238E27FC236}">
                  <a16:creationId xmlns:a16="http://schemas.microsoft.com/office/drawing/2014/main" id="{97775F5E-949B-2CFF-EBA7-4063373E0D7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 xmlns:asvg="http://schemas.microsoft.com/office/drawing/2016/SVG/main" r:embed="rId8"/>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graphicFrame>
        <p:nvGraphicFramePr>
          <p:cNvPr id="9" name="Object 8" hidden="1">
            <a:extLst>
              <a:ext uri="{FF2B5EF4-FFF2-40B4-BE49-F238E27FC236}">
                <a16:creationId xmlns:a16="http://schemas.microsoft.com/office/drawing/2014/main" id="{9008E58E-1238-42B3-847B-72B6CFC2DE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 name="think-cell Slide" r:id="rId9" imgW="425" imgH="424" progId="TCLayout.ActiveDocument.1">
                  <p:embed/>
                </p:oleObj>
              </mc:Choice>
              <mc:Fallback>
                <p:oleObj name="think-cell Slide" r:id="rId9" imgW="425" imgH="424" progId="TCLayout.ActiveDocument.1">
                  <p:embed/>
                  <p:pic>
                    <p:nvPicPr>
                      <p:cNvPr id="9" name="Object 8" hidden="1">
                        <a:extLst>
                          <a:ext uri="{FF2B5EF4-FFF2-40B4-BE49-F238E27FC236}">
                            <a16:creationId xmlns:a16="http://schemas.microsoft.com/office/drawing/2014/main" id="{9008E58E-1238-42B3-847B-72B6CFC2DEF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F5332C51-04E1-4BEE-BFB9-E48ECCACFEF4}"/>
              </a:ext>
            </a:extLst>
          </p:cNvPr>
          <p:cNvSpPr txBox="1"/>
          <p:nvPr/>
        </p:nvSpPr>
        <p:spPr>
          <a:xfrm>
            <a:off x="928272" y="381000"/>
            <a:ext cx="904415"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0" b="0" i="0" u="none" strike="noStrike" kern="1200" cap="none" spc="0" normalizeH="0" baseline="0" noProof="0" dirty="0">
                <a:ln w="25400">
                  <a:solidFill>
                    <a:prstClr val="white"/>
                  </a:solidFill>
                </a:ln>
                <a:noFill/>
                <a:effectLst/>
                <a:uLnTx/>
                <a:uFillTx/>
                <a:latin typeface="Gotham Black" pitchFamily="50" charset="0"/>
                <a:ea typeface="+mn-ea"/>
                <a:cs typeface="+mn-cs"/>
              </a:rPr>
              <a:t>2</a:t>
            </a:r>
          </a:p>
        </p:txBody>
      </p:sp>
      <p:sp>
        <p:nvSpPr>
          <p:cNvPr id="10" name="TextBox 9">
            <a:extLst>
              <a:ext uri="{FF2B5EF4-FFF2-40B4-BE49-F238E27FC236}">
                <a16:creationId xmlns:a16="http://schemas.microsoft.com/office/drawing/2014/main" id="{2301A4A2-C7DF-4BA5-8607-F06B1E89B651}"/>
              </a:ext>
            </a:extLst>
          </p:cNvPr>
          <p:cNvSpPr txBox="1"/>
          <p:nvPr/>
        </p:nvSpPr>
        <p:spPr>
          <a:xfrm>
            <a:off x="1780452" y="613782"/>
            <a:ext cx="9687267" cy="1107996"/>
          </a:xfrm>
          <a:prstGeom prst="rect">
            <a:avLst/>
          </a:prstGeom>
          <a:noFill/>
        </p:spPr>
        <p:txBody>
          <a:bodyPr wrap="none" rtlCol="0">
            <a:spAutoFit/>
          </a:bodyPr>
          <a:lstStyle/>
          <a:p>
            <a:pPr algn="l"/>
            <a:r>
              <a:rPr lang="en-US" sz="6600" b="0" i="0" dirty="0">
                <a:solidFill>
                  <a:schemeClr val="bg1"/>
                </a:solidFill>
                <a:effectLst>
                  <a:outerShdw blurRad="38100" dist="38100" dir="2700000" algn="tl">
                    <a:srgbClr val="000000">
                      <a:alpha val="43137"/>
                    </a:srgbClr>
                  </a:outerShdw>
                </a:effectLst>
                <a:latin typeface="Chewy" panose="02000000000000000000" pitchFamily="2" charset="0"/>
              </a:rPr>
              <a:t>Les oscilloscopes </a:t>
            </a:r>
            <a:r>
              <a:rPr lang="en-US" sz="6600" b="0" i="0" dirty="0" err="1">
                <a:solidFill>
                  <a:schemeClr val="bg1"/>
                </a:solidFill>
                <a:effectLst>
                  <a:outerShdw blurRad="38100" dist="38100" dir="2700000" algn="tl">
                    <a:srgbClr val="000000">
                      <a:alpha val="43137"/>
                    </a:srgbClr>
                  </a:outerShdw>
                </a:effectLst>
                <a:latin typeface="Chewy" panose="02000000000000000000" pitchFamily="2" charset="0"/>
              </a:rPr>
              <a:t>analogiques</a:t>
            </a:r>
            <a:endParaRPr lang="en-US" sz="6600" b="0" i="0" dirty="0">
              <a:solidFill>
                <a:schemeClr val="bg1"/>
              </a:solidFill>
              <a:effectLst>
                <a:outerShdw blurRad="38100" dist="38100" dir="2700000" algn="tl">
                  <a:srgbClr val="000000">
                    <a:alpha val="43137"/>
                  </a:srgbClr>
                </a:outerShdw>
              </a:effectLst>
              <a:latin typeface="Chewy" panose="02000000000000000000" pitchFamily="2" charset="0"/>
            </a:endParaRPr>
          </a:p>
        </p:txBody>
      </p:sp>
      <p:sp>
        <p:nvSpPr>
          <p:cNvPr id="12" name="TextBox 11">
            <a:extLst>
              <a:ext uri="{FF2B5EF4-FFF2-40B4-BE49-F238E27FC236}">
                <a16:creationId xmlns:a16="http://schemas.microsoft.com/office/drawing/2014/main" id="{37C6FDC7-9725-4B60-9EE7-8CF75CD73FDD}"/>
              </a:ext>
            </a:extLst>
          </p:cNvPr>
          <p:cNvSpPr txBox="1"/>
          <p:nvPr/>
        </p:nvSpPr>
        <p:spPr>
          <a:xfrm>
            <a:off x="2209800" y="1873568"/>
            <a:ext cx="7772400" cy="1661993"/>
          </a:xfrm>
          <a:prstGeom prst="rect">
            <a:avLst/>
          </a:prstGeom>
          <a:solidFill>
            <a:schemeClr val="accent1">
              <a:lumMod val="75000"/>
              <a:alpha val="50000"/>
            </a:schemeClr>
          </a:solidFill>
        </p:spPr>
        <p:txBody>
          <a:bodyPr wrap="square" lIns="182880" tIns="182880" rIns="182880" bIns="182880" rtlCol="0">
            <a:spAutoFit/>
          </a:bodyPr>
          <a:lstStyle/>
          <a:p>
            <a:pPr algn="l"/>
            <a:r>
              <a:rPr lang="fr-FR" sz="1600" b="0" i="0" dirty="0">
                <a:solidFill>
                  <a:schemeClr val="bg1"/>
                </a:solidFill>
                <a:effectLst>
                  <a:outerShdw blurRad="38100" dist="38100" dir="2700000" algn="tl">
                    <a:srgbClr val="000000">
                      <a:alpha val="43137"/>
                    </a:srgbClr>
                  </a:outerShdw>
                </a:effectLst>
                <a:latin typeface="Arial" panose="020B0604020202020204" pitchFamily="34" charset="0"/>
              </a:rPr>
              <a:t>Ce type d'appareil est en voie d'obsolescence car il ne permet généralement que l'observation de tensions </a:t>
            </a:r>
            <a:r>
              <a:rPr lang="fr-FR" sz="1600" dirty="0">
                <a:solidFill>
                  <a:schemeClr val="bg1"/>
                </a:solidFill>
                <a:effectLst>
                  <a:outerShdw blurRad="38100" dist="38100" dir="2700000" algn="tl">
                    <a:srgbClr val="000000">
                      <a:alpha val="43137"/>
                    </a:srgbClr>
                  </a:outerShdw>
                </a:effectLst>
                <a:latin typeface="Arial" panose="020B0604020202020204" pitchFamily="34" charset="0"/>
              </a:rPr>
              <a:t>périodiques</a:t>
            </a:r>
            <a:r>
              <a:rPr lang="fr-FR" sz="1600" b="0" i="0" dirty="0">
                <a:solidFill>
                  <a:schemeClr val="bg1"/>
                </a:solidFill>
                <a:effectLst>
                  <a:outerShdw blurRad="38100" dist="38100" dir="2700000" algn="tl">
                    <a:srgbClr val="000000">
                      <a:alpha val="43137"/>
                    </a:srgbClr>
                  </a:outerShdw>
                </a:effectLst>
                <a:latin typeface="Arial" panose="020B0604020202020204" pitchFamily="34" charset="0"/>
              </a:rPr>
              <a:t>. Il est de plus en plus remplacé par les oscilloscopes numériques.</a:t>
            </a:r>
          </a:p>
          <a:p>
            <a:pPr algn="l"/>
            <a:r>
              <a:rPr lang="fr-FR" sz="1600" b="0" i="0" dirty="0">
                <a:solidFill>
                  <a:schemeClr val="bg1"/>
                </a:solidFill>
                <a:effectLst>
                  <a:outerShdw blurRad="38100" dist="38100" dir="2700000" algn="tl">
                    <a:srgbClr val="000000">
                      <a:alpha val="43137"/>
                    </a:srgbClr>
                  </a:outerShdw>
                </a:effectLst>
                <a:latin typeface="Arial" panose="020B0604020202020204" pitchFamily="34" charset="0"/>
              </a:rPr>
              <a:t>Ne sont décrites dans ce paragraphe que des généralités concernant les calibres de tension et la base de temps d’un oscilloscope analogique.</a:t>
            </a:r>
          </a:p>
        </p:txBody>
      </p:sp>
      <p:pic>
        <p:nvPicPr>
          <p:cNvPr id="21" name="Picture 20">
            <a:extLst>
              <a:ext uri="{FF2B5EF4-FFF2-40B4-BE49-F238E27FC236}">
                <a16:creationId xmlns:a16="http://schemas.microsoft.com/office/drawing/2014/main" id="{C64C1D31-3E1E-468D-A1A0-A9B06AAB8162}"/>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5547360" y="4310067"/>
            <a:ext cx="1097280" cy="1043840"/>
          </a:xfrm>
          <a:custGeom>
            <a:avLst/>
            <a:gdLst>
              <a:gd name="connsiteX0" fmla="*/ 983073 w 1966146"/>
              <a:gd name="connsiteY0" fmla="*/ 0 h 1966146"/>
              <a:gd name="connsiteX1" fmla="*/ 1966146 w 1966146"/>
              <a:gd name="connsiteY1" fmla="*/ 983073 h 1966146"/>
              <a:gd name="connsiteX2" fmla="*/ 983073 w 1966146"/>
              <a:gd name="connsiteY2" fmla="*/ 1966146 h 1966146"/>
              <a:gd name="connsiteX3" fmla="*/ 0 w 1966146"/>
              <a:gd name="connsiteY3" fmla="*/ 983073 h 1966146"/>
              <a:gd name="connsiteX4" fmla="*/ 983073 w 1966146"/>
              <a:gd name="connsiteY4" fmla="*/ 0 h 1966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6146" h="1966146">
                <a:moveTo>
                  <a:pt x="983073" y="0"/>
                </a:moveTo>
                <a:cubicBezTo>
                  <a:pt x="1526009" y="0"/>
                  <a:pt x="1966146" y="440137"/>
                  <a:pt x="1966146" y="983073"/>
                </a:cubicBezTo>
                <a:cubicBezTo>
                  <a:pt x="1966146" y="1526009"/>
                  <a:pt x="1526009" y="1966146"/>
                  <a:pt x="983073" y="1966146"/>
                </a:cubicBezTo>
                <a:cubicBezTo>
                  <a:pt x="440137" y="1966146"/>
                  <a:pt x="0" y="1526009"/>
                  <a:pt x="0" y="983073"/>
                </a:cubicBezTo>
                <a:cubicBezTo>
                  <a:pt x="0" y="440137"/>
                  <a:pt x="440137" y="0"/>
                  <a:pt x="983073" y="0"/>
                </a:cubicBezTo>
                <a:close/>
              </a:path>
            </a:pathLst>
          </a:custGeom>
          <a:effectLst>
            <a:outerShdw blurRad="50800" dist="38100" dir="2700000" algn="tl" rotWithShape="0">
              <a:prstClr val="black">
                <a:alpha val="40000"/>
              </a:prstClr>
            </a:outerShdw>
          </a:effectLst>
        </p:spPr>
      </p:pic>
      <p:sp>
        <p:nvSpPr>
          <p:cNvPr id="26" name="Rectangle 25">
            <a:extLst>
              <a:ext uri="{FF2B5EF4-FFF2-40B4-BE49-F238E27FC236}">
                <a16:creationId xmlns:a16="http://schemas.microsoft.com/office/drawing/2014/main" id="{1714595F-3A7D-4C7A-89CB-42480388993B}"/>
              </a:ext>
            </a:extLst>
          </p:cNvPr>
          <p:cNvSpPr/>
          <p:nvPr/>
        </p:nvSpPr>
        <p:spPr>
          <a:xfrm>
            <a:off x="2209801" y="3908718"/>
            <a:ext cx="7772400" cy="2356363"/>
          </a:xfrm>
          <a:prstGeom prst="rect">
            <a:avLst/>
          </a:prstGeom>
          <a:no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20B526DE-FA16-40BC-8665-117E71727B09}"/>
              </a:ext>
            </a:extLst>
          </p:cNvPr>
          <p:cNvSpPr txBox="1"/>
          <p:nvPr/>
        </p:nvSpPr>
        <p:spPr>
          <a:xfrm>
            <a:off x="3104522" y="3747136"/>
            <a:ext cx="723467" cy="323165"/>
          </a:xfrm>
          <a:prstGeom prst="rect">
            <a:avLst/>
          </a:prstGeom>
          <a:solidFill>
            <a:schemeClr val="accent1">
              <a:lumMod val="75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dirty="0">
                <a:solidFill>
                  <a:prstClr val="white"/>
                </a:solidFill>
                <a:latin typeface="Gotham Black" pitchFamily="50" charset="0"/>
              </a:rPr>
              <a:t>IMAGE</a:t>
            </a:r>
            <a:endParaRPr kumimoji="0" lang="en-US" sz="1500" b="0" i="0" u="none" strike="noStrike" kern="1200" cap="none" spc="0" normalizeH="0" baseline="0" noProof="0" dirty="0">
              <a:ln>
                <a:noFill/>
              </a:ln>
              <a:solidFill>
                <a:prstClr val="white"/>
              </a:solidFill>
              <a:effectLst/>
              <a:uLnTx/>
              <a:uFillTx/>
              <a:latin typeface="Gotham Black" pitchFamily="50" charset="0"/>
              <a:ea typeface="+mn-ea"/>
              <a:cs typeface="+mn-cs"/>
            </a:endParaRPr>
          </a:p>
        </p:txBody>
      </p:sp>
      <p:pic>
        <p:nvPicPr>
          <p:cNvPr id="23" name="Picture 22">
            <a:extLst>
              <a:ext uri="{FF2B5EF4-FFF2-40B4-BE49-F238E27FC236}">
                <a16:creationId xmlns:a16="http://schemas.microsoft.com/office/drawing/2014/main" id="{61E29E92-FC94-5F40-9A1C-1102C769BEB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036469" y="1767498"/>
            <a:ext cx="8412480" cy="4439160"/>
          </a:xfrm>
          <a:prstGeom prst="rect">
            <a:avLst/>
          </a:prstGeom>
        </p:spPr>
      </p:pic>
      <p:pic>
        <p:nvPicPr>
          <p:cNvPr id="2" name="Record 2023-04-01 at 06h28m37s">
            <a:hlinkClick r:id="" action="ppaction://media"/>
            <a:extLst>
              <a:ext uri="{FF2B5EF4-FFF2-40B4-BE49-F238E27FC236}">
                <a16:creationId xmlns:a16="http://schemas.microsoft.com/office/drawing/2014/main" id="{CB417DD4-B1AD-18EB-CBA7-D7E59331523A}"/>
              </a:ext>
            </a:extLst>
          </p:cNvPr>
          <p:cNvPicPr>
            <a:picLocks noChangeAspect="1"/>
          </p:cNvPicPr>
          <p:nvPr>
            <a:audioFile r:link="rId3"/>
            <p:extLst>
              <p:ext uri="{DAA4B4D4-6D71-4841-9C94-3DE7FCFB9230}">
                <p14:media xmlns:p14="http://schemas.microsoft.com/office/powerpoint/2010/main" r:embed="rId4">
                  <p14:trim st="5629"/>
                </p14:media>
              </p:ext>
            </p:extLst>
          </p:nvPr>
        </p:nvPicPr>
        <p:blipFill>
          <a:blip r:embed="rId12"/>
          <a:stretch>
            <a:fillRect/>
          </a:stretch>
        </p:blipFill>
        <p:spPr>
          <a:xfrm>
            <a:off x="-623989" y="163979"/>
            <a:ext cx="487362" cy="487363"/>
          </a:xfrm>
          <a:prstGeom prst="rect">
            <a:avLst/>
          </a:prstGeom>
        </p:spPr>
      </p:pic>
    </p:spTree>
    <p:extLst>
      <p:ext uri="{BB962C8B-B14F-4D97-AF65-F5344CB8AC3E}">
        <p14:creationId xmlns:p14="http://schemas.microsoft.com/office/powerpoint/2010/main" val="362764042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49" presetClass="entr" presetSubtype="0" decel="100000" fill="hold" nodeType="after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p:cTn id="11" dur="500" fill="hold"/>
                                        <p:tgtEl>
                                          <p:spTgt spid="21"/>
                                        </p:tgtEl>
                                        <p:attrNameLst>
                                          <p:attrName>ppt_w</p:attrName>
                                        </p:attrNameLst>
                                      </p:cBhvr>
                                      <p:tavLst>
                                        <p:tav tm="0">
                                          <p:val>
                                            <p:fltVal val="0"/>
                                          </p:val>
                                        </p:tav>
                                        <p:tav tm="100000">
                                          <p:val>
                                            <p:strVal val="#ppt_w"/>
                                          </p:val>
                                        </p:tav>
                                      </p:tavLst>
                                    </p:anim>
                                    <p:anim calcmode="lin" valueType="num">
                                      <p:cBhvr>
                                        <p:cTn id="12" dur="500" fill="hold"/>
                                        <p:tgtEl>
                                          <p:spTgt spid="21"/>
                                        </p:tgtEl>
                                        <p:attrNameLst>
                                          <p:attrName>ppt_h</p:attrName>
                                        </p:attrNameLst>
                                      </p:cBhvr>
                                      <p:tavLst>
                                        <p:tav tm="0">
                                          <p:val>
                                            <p:fltVal val="0"/>
                                          </p:val>
                                        </p:tav>
                                        <p:tav tm="100000">
                                          <p:val>
                                            <p:strVal val="#ppt_h"/>
                                          </p:val>
                                        </p:tav>
                                      </p:tavLst>
                                    </p:anim>
                                    <p:anim calcmode="lin" valueType="num">
                                      <p:cBhvr>
                                        <p:cTn id="13" dur="500" fill="hold"/>
                                        <p:tgtEl>
                                          <p:spTgt spid="21"/>
                                        </p:tgtEl>
                                        <p:attrNameLst>
                                          <p:attrName>style.rotation</p:attrName>
                                        </p:attrNameLst>
                                      </p:cBhvr>
                                      <p:tavLst>
                                        <p:tav tm="0">
                                          <p:val>
                                            <p:fltVal val="360"/>
                                          </p:val>
                                        </p:tav>
                                        <p:tav tm="100000">
                                          <p:val>
                                            <p:fltVal val="0"/>
                                          </p:val>
                                        </p:tav>
                                      </p:tavLst>
                                    </p:anim>
                                    <p:animEffect transition="in" filter="fade">
                                      <p:cBhvr>
                                        <p:cTn id="14" dur="500"/>
                                        <p:tgtEl>
                                          <p:spTgt spid="21"/>
                                        </p:tgtEl>
                                      </p:cBhvr>
                                    </p:animEffect>
                                  </p:childTnLst>
                                </p:cTn>
                              </p:par>
                              <p:par>
                                <p:cTn id="15" presetID="1" presetClass="mediacall" presetSubtype="0" fill="hold" nodeType="withEffect">
                                  <p:stCondLst>
                                    <p:cond delay="0"/>
                                  </p:stCondLst>
                                  <p:childTnLst>
                                    <p:cmd type="call" cmd="playFrom(0.0)">
                                      <p:cBhvr>
                                        <p:cTn id="16" dur="2337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17" restart="whenNotActive" fill="hold" evtFilter="cancelBubble" nodeType="interactiveSeq">
                <p:stCondLst>
                  <p:cond evt="onClick" delay="0">
                    <p:tgtEl>
                      <p:spTgt spid="21"/>
                    </p:tgtEl>
                  </p:cond>
                </p:stCondLst>
                <p:endSync evt="end" delay="0">
                  <p:rtn val="all"/>
                </p:endSync>
                <p:childTnLst>
                  <p:par>
                    <p:cTn id="18" fill="hold">
                      <p:stCondLst>
                        <p:cond delay="0"/>
                      </p:stCondLst>
                      <p:childTnLst>
                        <p:par>
                          <p:cTn id="19" fill="hold">
                            <p:stCondLst>
                              <p:cond delay="0"/>
                            </p:stCondLst>
                            <p:childTnLst>
                              <p:par>
                                <p:cTn id="20" presetID="42" presetClass="path" presetSubtype="0" accel="50000" decel="50000" fill="hold" nodeType="clickEffect">
                                  <p:stCondLst>
                                    <p:cond delay="0"/>
                                  </p:stCondLst>
                                  <p:childTnLst>
                                    <p:animMotion origin="layout" path="M 0.89609 -0.01134 L 0.89609 0.82639 " pathEditMode="fixed" rAng="0" ptsTypes="AA">
                                      <p:cBhvr>
                                        <p:cTn id="21" dur="1000" spd="-100000" fill="hold"/>
                                        <p:tgtEl>
                                          <p:spTgt spid="23"/>
                                        </p:tgtEl>
                                        <p:attrNameLst>
                                          <p:attrName>ppt_x</p:attrName>
                                          <p:attrName>ppt_y</p:attrName>
                                        </p:attrNameLst>
                                      </p:cBhvr>
                                      <p:rCtr x="0" y="41875"/>
                                    </p:animMotion>
                                  </p:childTnLst>
                                </p:cTn>
                              </p:par>
                            </p:childTnLst>
                          </p:cTn>
                        </p:par>
                      </p:childTnLst>
                    </p:cTn>
                  </p:par>
                </p:childTnLst>
              </p:cTn>
              <p:nextCondLst>
                <p:cond evt="onClick" delay="0">
                  <p:tgtEl>
                    <p:spTgt spid="21"/>
                  </p:tgtEl>
                </p:cond>
              </p:nextCondLst>
            </p:seq>
            <p:seq concurrent="1" nextAc="seek">
              <p:cTn id="22" restart="whenNotActive" fill="hold" evtFilter="cancelBubble" nodeType="interactiveSeq">
                <p:stCondLst>
                  <p:cond evt="onClick" delay="0">
                    <p:tgtEl>
                      <p:spTgt spid="23"/>
                    </p:tgtEl>
                  </p:cond>
                </p:stCondLst>
                <p:endSync evt="end" delay="0">
                  <p:rtn val="all"/>
                </p:endSync>
                <p:childTnLst>
                  <p:par>
                    <p:cTn id="23" fill="hold">
                      <p:stCondLst>
                        <p:cond delay="0"/>
                      </p:stCondLst>
                      <p:childTnLst>
                        <p:par>
                          <p:cTn id="24" fill="hold">
                            <p:stCondLst>
                              <p:cond delay="0"/>
                            </p:stCondLst>
                            <p:childTnLst>
                              <p:par>
                                <p:cTn id="25" presetID="42" presetClass="path" presetSubtype="0" accel="50000" decel="50000" fill="hold" nodeType="clickEffect">
                                  <p:stCondLst>
                                    <p:cond delay="0"/>
                                  </p:stCondLst>
                                  <p:childTnLst>
                                    <p:animMotion origin="layout" path="M 0.89609 -0.01134 L 0.89609 0.78773 " pathEditMode="fixed" rAng="0" ptsTypes="AA">
                                      <p:cBhvr>
                                        <p:cTn id="26" dur="500" fill="hold"/>
                                        <p:tgtEl>
                                          <p:spTgt spid="23"/>
                                        </p:tgtEl>
                                        <p:attrNameLst>
                                          <p:attrName>ppt_x</p:attrName>
                                          <p:attrName>ppt_y</p:attrName>
                                        </p:attrNameLst>
                                      </p:cBhvr>
                                      <p:rCtr x="0" y="39954"/>
                                    </p:animMotion>
                                  </p:childTnLst>
                                </p:cTn>
                              </p:par>
                            </p:childTnLst>
                          </p:cTn>
                        </p:par>
                      </p:childTnLst>
                    </p:cTn>
                  </p:par>
                </p:childTnLst>
              </p:cTn>
              <p:nextCondLst>
                <p:cond evt="onClick" delay="0">
                  <p:tgtEl>
                    <p:spTgt spid="23"/>
                  </p:tgtEl>
                </p:cond>
              </p:nextCondLst>
            </p:seq>
            <p:audio>
              <p:cMediaNode vol="80000">
                <p:cTn id="27" fill="hold" display="0">
                  <p:stCondLst>
                    <p:cond delay="indefinite"/>
                  </p:stCondLst>
                  <p:endCondLst>
                    <p:cond evt="onStopAudio" delay="0">
                      <p:tgtEl>
                        <p:sldTgt/>
                      </p:tgtEl>
                    </p:cond>
                  </p:endCondLst>
                </p:cTn>
                <p:tgtEl>
                  <p:spTgt spid="2"/>
                </p:tgtEl>
              </p:cMediaNode>
            </p:audio>
          </p:childTnLst>
        </p:cTn>
      </p:par>
    </p:tnLst>
    <p:bldLst>
      <p:bldP spid="2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FD266"/>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CC7C2DB-A7A4-4698-A5CD-32B659FC8A8A}"/>
              </a:ext>
            </a:extLst>
          </p:cNvPr>
          <p:cNvGrpSpPr/>
          <p:nvPr/>
        </p:nvGrpSpPr>
        <p:grpSpPr>
          <a:xfrm>
            <a:off x="3158490" y="491490"/>
            <a:ext cx="5875020" cy="5875020"/>
            <a:chOff x="3329940" y="586740"/>
            <a:chExt cx="5875020" cy="5875020"/>
          </a:xfrm>
        </p:grpSpPr>
        <p:sp>
          <p:nvSpPr>
            <p:cNvPr id="4" name="Oval 3">
              <a:extLst>
                <a:ext uri="{FF2B5EF4-FFF2-40B4-BE49-F238E27FC236}">
                  <a16:creationId xmlns:a16="http://schemas.microsoft.com/office/drawing/2014/main" id="{92503E22-6F27-4A2F-AAFD-8AB0EA48E38B}"/>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Graphic 8">
              <a:extLst>
                <a:ext uri="{FF2B5EF4-FFF2-40B4-BE49-F238E27FC236}">
                  <a16:creationId xmlns:a16="http://schemas.microsoft.com/office/drawing/2014/main" id="{7DBA7094-CB32-43CC-8294-D0D458181C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 xmlns:asvg="http://schemas.microsoft.com/office/drawing/2016/SVG/main" r:embed="rId4"/>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sp>
        <p:nvSpPr>
          <p:cNvPr id="11" name="TextBox 10">
            <a:extLst>
              <a:ext uri="{FF2B5EF4-FFF2-40B4-BE49-F238E27FC236}">
                <a16:creationId xmlns:a16="http://schemas.microsoft.com/office/drawing/2014/main" id="{FD678769-02EE-4ADB-AD86-A09BE7D81912}"/>
              </a:ext>
            </a:extLst>
          </p:cNvPr>
          <p:cNvSpPr txBox="1"/>
          <p:nvPr/>
        </p:nvSpPr>
        <p:spPr>
          <a:xfrm>
            <a:off x="6210300" y="1935480"/>
            <a:ext cx="6064481" cy="393954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5000" dirty="0">
                <a:ln w="25400">
                  <a:solidFill>
                    <a:prstClr val="white"/>
                  </a:solidFill>
                </a:ln>
                <a:noFill/>
                <a:latin typeface="Gotham Black" pitchFamily="50" charset="0"/>
              </a:rPr>
              <a:t>GIT?</a:t>
            </a:r>
            <a:endParaRPr kumimoji="0" lang="en-US" sz="25000" b="0" i="0" u="none" strike="noStrike" kern="1200" cap="none" spc="0" normalizeH="0" baseline="0" noProof="0" dirty="0">
              <a:ln w="25400">
                <a:solidFill>
                  <a:prstClr val="white"/>
                </a:solidFill>
              </a:ln>
              <a:noFill/>
              <a:effectLst/>
              <a:uLnTx/>
              <a:uFillTx/>
              <a:latin typeface="Gotham Black" pitchFamily="50" charset="0"/>
              <a:ea typeface="+mn-ea"/>
              <a:cs typeface="+mn-cs"/>
            </a:endParaRPr>
          </a:p>
        </p:txBody>
      </p:sp>
      <p:sp>
        <p:nvSpPr>
          <p:cNvPr id="12" name="TextBox 11">
            <a:extLst>
              <a:ext uri="{FF2B5EF4-FFF2-40B4-BE49-F238E27FC236}">
                <a16:creationId xmlns:a16="http://schemas.microsoft.com/office/drawing/2014/main" id="{C641ADE9-1FF3-4B4E-9AE3-10C4EFC5C2C3}"/>
              </a:ext>
            </a:extLst>
          </p:cNvPr>
          <p:cNvSpPr txBox="1"/>
          <p:nvPr/>
        </p:nvSpPr>
        <p:spPr>
          <a:xfrm>
            <a:off x="3466254" y="-2415541"/>
            <a:ext cx="14005757" cy="1569660"/>
          </a:xfrm>
          <a:prstGeom prst="rect">
            <a:avLst/>
          </a:prstGeom>
          <a:noFill/>
        </p:spPr>
        <p:txBody>
          <a:bodyPr wrap="none" rtlCol="0">
            <a:spAutoFit/>
          </a:bodyPr>
          <a:lstStyle/>
          <a:p>
            <a:pPr algn="l"/>
            <a:r>
              <a:rPr lang="en-US" sz="9600" b="0" i="0" dirty="0">
                <a:solidFill>
                  <a:schemeClr val="bg1"/>
                </a:solidFill>
                <a:effectLst>
                  <a:outerShdw blurRad="38100" dist="38100" dir="2700000" algn="tl">
                    <a:srgbClr val="000000">
                      <a:alpha val="43137"/>
                    </a:srgbClr>
                  </a:outerShdw>
                </a:effectLst>
                <a:latin typeface="Chewy" panose="02000000000000000000" pitchFamily="2" charset="0"/>
              </a:rPr>
              <a:t>Les oscilloscopes </a:t>
            </a:r>
            <a:r>
              <a:rPr lang="en-US" sz="9600" b="0" i="0" dirty="0" err="1">
                <a:solidFill>
                  <a:schemeClr val="bg1"/>
                </a:solidFill>
                <a:effectLst>
                  <a:outerShdw blurRad="38100" dist="38100" dir="2700000" algn="tl">
                    <a:srgbClr val="000000">
                      <a:alpha val="43137"/>
                    </a:srgbClr>
                  </a:outerShdw>
                </a:effectLst>
                <a:latin typeface="Chewy" panose="02000000000000000000" pitchFamily="2" charset="0"/>
              </a:rPr>
              <a:t>analogiques</a:t>
            </a:r>
            <a:endParaRPr lang="en-US" sz="9600" b="0" i="0" dirty="0">
              <a:solidFill>
                <a:schemeClr val="bg1"/>
              </a:solidFill>
              <a:effectLst>
                <a:outerShdw blurRad="38100" dist="38100" dir="2700000" algn="tl">
                  <a:srgbClr val="000000">
                    <a:alpha val="43137"/>
                  </a:srgbClr>
                </a:outerShdw>
              </a:effectLst>
              <a:latin typeface="Chewy" panose="02000000000000000000" pitchFamily="2" charset="0"/>
            </a:endParaRPr>
          </a:p>
        </p:txBody>
      </p:sp>
      <p:sp>
        <p:nvSpPr>
          <p:cNvPr id="13" name="TextBox 12">
            <a:extLst>
              <a:ext uri="{FF2B5EF4-FFF2-40B4-BE49-F238E27FC236}">
                <a16:creationId xmlns:a16="http://schemas.microsoft.com/office/drawing/2014/main" id="{343CDFD8-216D-46CB-9E94-DECEE2205632}"/>
              </a:ext>
            </a:extLst>
          </p:cNvPr>
          <p:cNvSpPr txBox="1"/>
          <p:nvPr/>
        </p:nvSpPr>
        <p:spPr>
          <a:xfrm>
            <a:off x="12997405" y="1873568"/>
            <a:ext cx="7772400" cy="1107996"/>
          </a:xfrm>
          <a:prstGeom prst="rect">
            <a:avLst/>
          </a:prstGeom>
          <a:solidFill>
            <a:schemeClr val="accent1">
              <a:lumMod val="75000"/>
              <a:alpha val="50000"/>
            </a:schemeClr>
          </a:solidFill>
        </p:spPr>
        <p:txBody>
          <a:bodyPr wrap="square" lIns="182880" tIns="182880" rIns="182880" bIns="182880" rtlCol="0">
            <a:spAutoFit/>
          </a:bodyPr>
          <a:lstStyle/>
          <a:p>
            <a:pPr algn="l"/>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Ce type d'appareil est en voie d'obsolescence car il ne permet généralement que l'observation de tensions </a:t>
            </a:r>
            <a:r>
              <a:rPr lang="fr-FR" sz="1200" dirty="0">
                <a:solidFill>
                  <a:schemeClr val="bg1"/>
                </a:solidFill>
                <a:effectLst>
                  <a:outerShdw blurRad="38100" dist="38100" dir="2700000" algn="tl">
                    <a:srgbClr val="000000">
                      <a:alpha val="43137"/>
                    </a:srgbClr>
                  </a:outerShdw>
                </a:effectLst>
                <a:latin typeface="Arial" panose="020B0604020202020204" pitchFamily="34" charset="0"/>
              </a:rPr>
              <a:t>périodiques</a:t>
            </a:r>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 Il est de plus en plus remplacé par les oscilloscopes numériques.</a:t>
            </a:r>
          </a:p>
          <a:p>
            <a:pPr algn="l"/>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Ne sont décrites dans ce paragraphe que des généralités concernant les calibres de tension et la base de temps d’un oscilloscope analogique.</a:t>
            </a:r>
          </a:p>
        </p:txBody>
      </p:sp>
      <p:sp>
        <p:nvSpPr>
          <p:cNvPr id="14" name="TextBox 13">
            <a:extLst>
              <a:ext uri="{FF2B5EF4-FFF2-40B4-BE49-F238E27FC236}">
                <a16:creationId xmlns:a16="http://schemas.microsoft.com/office/drawing/2014/main" id="{15B78540-8F23-4C57-802A-5F0E9082C5B0}"/>
              </a:ext>
            </a:extLst>
          </p:cNvPr>
          <p:cNvSpPr txBox="1"/>
          <p:nvPr/>
        </p:nvSpPr>
        <p:spPr>
          <a:xfrm>
            <a:off x="-2714398" y="3747136"/>
            <a:ext cx="809773" cy="323165"/>
          </a:xfrm>
          <a:prstGeom prst="rect">
            <a:avLst/>
          </a:prstGeom>
          <a:solidFill>
            <a:schemeClr val="accent1">
              <a:lumMod val="75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Gotham Black" pitchFamily="50" charset="0"/>
                <a:ea typeface="+mn-ea"/>
                <a:cs typeface="+mn-cs"/>
              </a:rPr>
              <a:t>IMAGES</a:t>
            </a:r>
          </a:p>
        </p:txBody>
      </p:sp>
    </p:spTree>
    <p:extLst>
      <p:ext uri="{BB962C8B-B14F-4D97-AF65-F5344CB8AC3E}">
        <p14:creationId xmlns:p14="http://schemas.microsoft.com/office/powerpoint/2010/main" val="3709832650"/>
      </p:ext>
    </p:extLst>
  </p:cSld>
  <p:clrMapOvr>
    <a:masterClrMapping/>
  </p:clrMapOvr>
  <mc:AlternateContent xmlns:mc="http://schemas.openxmlformats.org/markup-compatibility/2006" xmlns:p14="http://schemas.microsoft.com/office/powerpoint/2010/main">
    <mc:Choice Requires="p14">
      <p:transition spd="slow" p14:dur="2000" advClick="0" advTm="0"/>
    </mc:Choice>
    <mc:Fallback xmlns="">
      <p:transition spd="slow" advClick="0" advTm="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85437DF-2612-41F8-6251-2EDEE4E2E9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8817" y="106561"/>
            <a:ext cx="12192000" cy="6858000"/>
          </a:xfrm>
          <a:prstGeom prst="rect">
            <a:avLst/>
          </a:prstGeom>
        </p:spPr>
      </p:pic>
      <p:sp>
        <p:nvSpPr>
          <p:cNvPr id="11" name="Rectangle 10">
            <a:extLst>
              <a:ext uri="{FF2B5EF4-FFF2-40B4-BE49-F238E27FC236}">
                <a16:creationId xmlns:a16="http://schemas.microsoft.com/office/drawing/2014/main" id="{3104AE3D-6F99-DBDC-FCAD-45F32C0BBF69}"/>
              </a:ext>
            </a:extLst>
          </p:cNvPr>
          <p:cNvSpPr/>
          <p:nvPr/>
        </p:nvSpPr>
        <p:spPr>
          <a:xfrm>
            <a:off x="3176" y="0"/>
            <a:ext cx="12192000" cy="6858000"/>
          </a:xfrm>
          <a:prstGeom prst="rect">
            <a:avLst/>
          </a:prstGeom>
          <a:solidFill>
            <a:srgbClr val="FFD2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6F213691-1AEA-AD3B-2128-04E9E4202351}"/>
              </a:ext>
            </a:extLst>
          </p:cNvPr>
          <p:cNvGrpSpPr/>
          <p:nvPr/>
        </p:nvGrpSpPr>
        <p:grpSpPr>
          <a:xfrm>
            <a:off x="-1676400" y="-4343400"/>
            <a:ext cx="15544800" cy="15544800"/>
            <a:chOff x="3329940" y="586740"/>
            <a:chExt cx="5875020" cy="5875020"/>
          </a:xfrm>
        </p:grpSpPr>
        <p:sp>
          <p:nvSpPr>
            <p:cNvPr id="14" name="Oval 13">
              <a:extLst>
                <a:ext uri="{FF2B5EF4-FFF2-40B4-BE49-F238E27FC236}">
                  <a16:creationId xmlns:a16="http://schemas.microsoft.com/office/drawing/2014/main" id="{7E32BBF4-D780-6373-4667-86D054ADFBD8}"/>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Graphic 14">
              <a:extLst>
                <a:ext uri="{FF2B5EF4-FFF2-40B4-BE49-F238E27FC236}">
                  <a16:creationId xmlns:a16="http://schemas.microsoft.com/office/drawing/2014/main" id="{97775F5E-949B-2CFF-EBA7-4063373E0D7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 xmlns:asvg="http://schemas.microsoft.com/office/drawing/2016/SVG/main" r:embed="rId6"/>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graphicFrame>
        <p:nvGraphicFramePr>
          <p:cNvPr id="9" name="Object 8" hidden="1">
            <a:extLst>
              <a:ext uri="{FF2B5EF4-FFF2-40B4-BE49-F238E27FC236}">
                <a16:creationId xmlns:a16="http://schemas.microsoft.com/office/drawing/2014/main" id="{9008E58E-1238-42B3-847B-72B6CFC2DE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Slide" r:id="rId7" imgW="425" imgH="424" progId="TCLayout.ActiveDocument.1">
                  <p:embed/>
                </p:oleObj>
              </mc:Choice>
              <mc:Fallback>
                <p:oleObj name="think-cell Slide" r:id="rId7" imgW="425" imgH="424" progId="TCLayout.ActiveDocument.1">
                  <p:embed/>
                  <p:pic>
                    <p:nvPicPr>
                      <p:cNvPr id="9" name="Object 8" hidden="1">
                        <a:extLst>
                          <a:ext uri="{FF2B5EF4-FFF2-40B4-BE49-F238E27FC236}">
                            <a16:creationId xmlns:a16="http://schemas.microsoft.com/office/drawing/2014/main" id="{9008E58E-1238-42B3-847B-72B6CFC2DEF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F5332C51-04E1-4BEE-BFB9-E48ECCACFEF4}"/>
              </a:ext>
            </a:extLst>
          </p:cNvPr>
          <p:cNvSpPr txBox="1"/>
          <p:nvPr/>
        </p:nvSpPr>
        <p:spPr>
          <a:xfrm>
            <a:off x="3014047" y="349678"/>
            <a:ext cx="904415"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0" dirty="0">
                <a:ln w="25400">
                  <a:solidFill>
                    <a:prstClr val="white"/>
                  </a:solidFill>
                </a:ln>
                <a:noFill/>
                <a:latin typeface="Gotham Black" pitchFamily="50" charset="0"/>
              </a:rPr>
              <a:t>1</a:t>
            </a:r>
            <a:endParaRPr kumimoji="0" lang="en-US" sz="9000" b="0" i="0" u="none" strike="noStrike" kern="1200" cap="none" spc="0" normalizeH="0" baseline="0" noProof="0" dirty="0">
              <a:ln w="25400">
                <a:solidFill>
                  <a:prstClr val="white"/>
                </a:solidFill>
              </a:ln>
              <a:noFill/>
              <a:effectLst/>
              <a:uLnTx/>
              <a:uFillTx/>
              <a:latin typeface="Gotham Black" pitchFamily="50" charset="0"/>
              <a:ea typeface="+mn-ea"/>
              <a:cs typeface="+mn-cs"/>
            </a:endParaRPr>
          </a:p>
        </p:txBody>
      </p:sp>
      <p:sp>
        <p:nvSpPr>
          <p:cNvPr id="10" name="TextBox 9">
            <a:extLst>
              <a:ext uri="{FF2B5EF4-FFF2-40B4-BE49-F238E27FC236}">
                <a16:creationId xmlns:a16="http://schemas.microsoft.com/office/drawing/2014/main" id="{2301A4A2-C7DF-4BA5-8607-F06B1E89B651}"/>
              </a:ext>
            </a:extLst>
          </p:cNvPr>
          <p:cNvSpPr txBox="1"/>
          <p:nvPr/>
        </p:nvSpPr>
        <p:spPr>
          <a:xfrm>
            <a:off x="4029916" y="598987"/>
            <a:ext cx="4413388" cy="1107996"/>
          </a:xfrm>
          <a:prstGeom prst="rect">
            <a:avLst/>
          </a:prstGeom>
          <a:noFill/>
        </p:spPr>
        <p:txBody>
          <a:bodyPr wrap="none" rtlCol="0">
            <a:spAutoFit/>
          </a:bodyPr>
          <a:lstStyle/>
          <a:p>
            <a:r>
              <a:rPr lang="en-US" sz="6600" dirty="0">
                <a:solidFill>
                  <a:schemeClr val="bg1"/>
                </a:solidFill>
                <a:effectLst>
                  <a:outerShdw blurRad="38100" dist="38100" dir="2700000" algn="tl">
                    <a:srgbClr val="000000">
                      <a:alpha val="43137"/>
                    </a:srgbClr>
                  </a:outerShdw>
                </a:effectLst>
                <a:latin typeface="Chewy" panose="02000000000000000000" pitchFamily="2" charset="0"/>
              </a:rPr>
              <a:t>DÉFINITION </a:t>
            </a:r>
            <a:endParaRPr lang="en-US" sz="6600" b="0" i="0" dirty="0">
              <a:solidFill>
                <a:schemeClr val="bg1"/>
              </a:solidFill>
              <a:effectLst>
                <a:outerShdw blurRad="38100" dist="38100" dir="2700000" algn="tl">
                  <a:srgbClr val="000000">
                    <a:alpha val="43137"/>
                  </a:srgbClr>
                </a:outerShdw>
              </a:effectLst>
              <a:latin typeface="Chewy" panose="02000000000000000000" pitchFamily="2" charset="0"/>
            </a:endParaRPr>
          </a:p>
        </p:txBody>
      </p:sp>
      <p:sp>
        <p:nvSpPr>
          <p:cNvPr id="12" name="TextBox 11">
            <a:extLst>
              <a:ext uri="{FF2B5EF4-FFF2-40B4-BE49-F238E27FC236}">
                <a16:creationId xmlns:a16="http://schemas.microsoft.com/office/drawing/2014/main" id="{37C6FDC7-9725-4B60-9EE7-8CF75CD73FDD}"/>
              </a:ext>
            </a:extLst>
          </p:cNvPr>
          <p:cNvSpPr txBox="1"/>
          <p:nvPr/>
        </p:nvSpPr>
        <p:spPr>
          <a:xfrm>
            <a:off x="1708354" y="2440408"/>
            <a:ext cx="9122909" cy="3323987"/>
          </a:xfrm>
          <a:prstGeom prst="rect">
            <a:avLst/>
          </a:prstGeom>
          <a:solidFill>
            <a:srgbClr val="463200">
              <a:alpha val="49804"/>
            </a:srgbClr>
          </a:solidFill>
        </p:spPr>
        <p:txBody>
          <a:bodyPr wrap="square" lIns="182880" tIns="182880" rIns="182880" bIns="182880" rtlCol="0">
            <a:spAutoFit/>
          </a:bodyPr>
          <a:lstStyle/>
          <a:p>
            <a:pPr algn="just"/>
            <a:r>
              <a:rPr lang="fr-FR" sz="2400" dirty="0">
                <a:solidFill>
                  <a:schemeClr val="bg1"/>
                </a:solidFill>
                <a:effectLst>
                  <a:outerShdw blurRad="38100" dist="38100" dir="2700000" algn="tl">
                    <a:srgbClr val="000000">
                      <a:alpha val="43137"/>
                    </a:srgbClr>
                  </a:outerShdw>
                </a:effectLst>
                <a:latin typeface="Arial" panose="020B0604020202020204" pitchFamily="34" charset="0"/>
              </a:rPr>
              <a:t>Git, créé en 2005 par Linus </a:t>
            </a:r>
            <a:r>
              <a:rPr lang="fr-FR" sz="2400" dirty="0" err="1">
                <a:solidFill>
                  <a:schemeClr val="bg1"/>
                </a:solidFill>
                <a:effectLst>
                  <a:outerShdw blurRad="38100" dist="38100" dir="2700000" algn="tl">
                    <a:srgbClr val="000000">
                      <a:alpha val="43137"/>
                    </a:srgbClr>
                  </a:outerShdw>
                </a:effectLst>
                <a:latin typeface="Arial" panose="020B0604020202020204" pitchFamily="34" charset="0"/>
              </a:rPr>
              <a:t>Torvalds</a:t>
            </a:r>
            <a:r>
              <a:rPr lang="fr-FR" sz="2400" dirty="0">
                <a:solidFill>
                  <a:schemeClr val="bg1"/>
                </a:solidFill>
                <a:effectLst>
                  <a:outerShdw blurRad="38100" dist="38100" dir="2700000" algn="tl">
                    <a:srgbClr val="000000">
                      <a:alpha val="43137"/>
                    </a:srgbClr>
                  </a:outerShdw>
                </a:effectLst>
                <a:latin typeface="Arial" panose="020B0604020202020204" pitchFamily="34" charset="0"/>
              </a:rPr>
              <a:t>, le fondateur de Linux, est un logiciel de gestion de versions. Il conserve un historique des modifications apportées à un projet, permettant ainsi d'identifier rapidement les changements et de revenir à des versions antérieures en cas de besoin. Les logiciels de gestion de versions sont essentiels pour la gestion de projets et la collaboration en équipe. Git est le leader incontesté parmi ces logiciels et est indispensable pour tout développeur.</a:t>
            </a:r>
            <a:endParaRPr lang="fr-FR" sz="2400" b="0" i="0" dirty="0">
              <a:solidFill>
                <a:schemeClr val="bg1"/>
              </a:solidFill>
              <a:effectLst>
                <a:outerShdw blurRad="38100" dist="38100" dir="2700000" algn="tl">
                  <a:srgbClr val="000000">
                    <a:alpha val="43137"/>
                  </a:srgbClr>
                </a:outerShdw>
              </a:effectLst>
              <a:latin typeface="Arial" panose="020B0604020202020204" pitchFamily="34" charset="0"/>
            </a:endParaRPr>
          </a:p>
        </p:txBody>
      </p:sp>
    </p:spTree>
    <p:extLst>
      <p:ext uri="{BB962C8B-B14F-4D97-AF65-F5344CB8AC3E}">
        <p14:creationId xmlns:p14="http://schemas.microsoft.com/office/powerpoint/2010/main" val="406841686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FD266"/>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CC7C2DB-A7A4-4698-A5CD-32B659FC8A8A}"/>
              </a:ext>
            </a:extLst>
          </p:cNvPr>
          <p:cNvGrpSpPr/>
          <p:nvPr/>
        </p:nvGrpSpPr>
        <p:grpSpPr>
          <a:xfrm>
            <a:off x="115487" y="809626"/>
            <a:ext cx="5875020" cy="5875020"/>
            <a:chOff x="3329940" y="586740"/>
            <a:chExt cx="5875020" cy="5875020"/>
          </a:xfrm>
        </p:grpSpPr>
        <p:sp>
          <p:nvSpPr>
            <p:cNvPr id="4" name="Oval 3">
              <a:extLst>
                <a:ext uri="{FF2B5EF4-FFF2-40B4-BE49-F238E27FC236}">
                  <a16:creationId xmlns:a16="http://schemas.microsoft.com/office/drawing/2014/main" id="{92503E22-6F27-4A2F-AAFD-8AB0EA48E38B}"/>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Graphic 8">
              <a:extLst>
                <a:ext uri="{FF2B5EF4-FFF2-40B4-BE49-F238E27FC236}">
                  <a16:creationId xmlns:a16="http://schemas.microsoft.com/office/drawing/2014/main" id="{7DBA7094-CB32-43CC-8294-D0D458181C2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sp>
        <p:nvSpPr>
          <p:cNvPr id="11" name="TextBox 10">
            <a:extLst>
              <a:ext uri="{FF2B5EF4-FFF2-40B4-BE49-F238E27FC236}">
                <a16:creationId xmlns:a16="http://schemas.microsoft.com/office/drawing/2014/main" id="{FD678769-02EE-4ADB-AD86-A09BE7D81912}"/>
              </a:ext>
            </a:extLst>
          </p:cNvPr>
          <p:cNvSpPr txBox="1"/>
          <p:nvPr/>
        </p:nvSpPr>
        <p:spPr>
          <a:xfrm>
            <a:off x="757203" y="3429000"/>
            <a:ext cx="11434797" cy="16312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0" dirty="0">
                <a:ln w="25400">
                  <a:solidFill>
                    <a:prstClr val="white"/>
                  </a:solidFill>
                </a:ln>
                <a:noFill/>
                <a:latin typeface="Gotham Black" pitchFamily="50" charset="0"/>
              </a:rPr>
              <a:t>GESTION DE VERSION</a:t>
            </a:r>
            <a:endParaRPr kumimoji="0" lang="en-US" sz="10000" b="0" i="0" u="none" strike="noStrike" kern="1200" cap="none" spc="0" normalizeH="0" baseline="0" noProof="0" dirty="0">
              <a:ln w="25400">
                <a:solidFill>
                  <a:prstClr val="white"/>
                </a:solidFill>
              </a:ln>
              <a:noFill/>
              <a:effectLst/>
              <a:uLnTx/>
              <a:uFillTx/>
              <a:latin typeface="Gotham Black" pitchFamily="50" charset="0"/>
              <a:ea typeface="+mn-ea"/>
              <a:cs typeface="+mn-cs"/>
            </a:endParaRPr>
          </a:p>
        </p:txBody>
      </p:sp>
      <p:sp>
        <p:nvSpPr>
          <p:cNvPr id="12" name="TextBox 11">
            <a:extLst>
              <a:ext uri="{FF2B5EF4-FFF2-40B4-BE49-F238E27FC236}">
                <a16:creationId xmlns:a16="http://schemas.microsoft.com/office/drawing/2014/main" id="{C641ADE9-1FF3-4B4E-9AE3-10C4EFC5C2C3}"/>
              </a:ext>
            </a:extLst>
          </p:cNvPr>
          <p:cNvSpPr txBox="1"/>
          <p:nvPr/>
        </p:nvSpPr>
        <p:spPr>
          <a:xfrm>
            <a:off x="3466254" y="-2415541"/>
            <a:ext cx="14005757" cy="1569660"/>
          </a:xfrm>
          <a:prstGeom prst="rect">
            <a:avLst/>
          </a:prstGeom>
          <a:noFill/>
        </p:spPr>
        <p:txBody>
          <a:bodyPr wrap="none" rtlCol="0">
            <a:spAutoFit/>
          </a:bodyPr>
          <a:lstStyle/>
          <a:p>
            <a:pPr algn="l"/>
            <a:r>
              <a:rPr lang="en-US" sz="9600" b="0" i="0" dirty="0">
                <a:solidFill>
                  <a:schemeClr val="bg1"/>
                </a:solidFill>
                <a:effectLst>
                  <a:outerShdw blurRad="38100" dist="38100" dir="2700000" algn="tl">
                    <a:srgbClr val="000000">
                      <a:alpha val="43137"/>
                    </a:srgbClr>
                  </a:outerShdw>
                </a:effectLst>
                <a:latin typeface="Chewy" panose="02000000000000000000" pitchFamily="2" charset="0"/>
              </a:rPr>
              <a:t>Les oscilloscopes </a:t>
            </a:r>
            <a:r>
              <a:rPr lang="en-US" sz="9600" b="0" i="0" dirty="0" err="1">
                <a:solidFill>
                  <a:schemeClr val="bg1"/>
                </a:solidFill>
                <a:effectLst>
                  <a:outerShdw blurRad="38100" dist="38100" dir="2700000" algn="tl">
                    <a:srgbClr val="000000">
                      <a:alpha val="43137"/>
                    </a:srgbClr>
                  </a:outerShdw>
                </a:effectLst>
                <a:latin typeface="Chewy" panose="02000000000000000000" pitchFamily="2" charset="0"/>
              </a:rPr>
              <a:t>analogiques</a:t>
            </a:r>
            <a:endParaRPr lang="en-US" sz="9600" b="0" i="0" dirty="0">
              <a:solidFill>
                <a:schemeClr val="bg1"/>
              </a:solidFill>
              <a:effectLst>
                <a:outerShdw blurRad="38100" dist="38100" dir="2700000" algn="tl">
                  <a:srgbClr val="000000">
                    <a:alpha val="43137"/>
                  </a:srgbClr>
                </a:outerShdw>
              </a:effectLst>
              <a:latin typeface="Chewy" panose="02000000000000000000" pitchFamily="2" charset="0"/>
            </a:endParaRPr>
          </a:p>
        </p:txBody>
      </p:sp>
      <p:sp>
        <p:nvSpPr>
          <p:cNvPr id="13" name="TextBox 12">
            <a:extLst>
              <a:ext uri="{FF2B5EF4-FFF2-40B4-BE49-F238E27FC236}">
                <a16:creationId xmlns:a16="http://schemas.microsoft.com/office/drawing/2014/main" id="{343CDFD8-216D-46CB-9E94-DECEE2205632}"/>
              </a:ext>
            </a:extLst>
          </p:cNvPr>
          <p:cNvSpPr txBox="1"/>
          <p:nvPr/>
        </p:nvSpPr>
        <p:spPr>
          <a:xfrm>
            <a:off x="12997405" y="1873568"/>
            <a:ext cx="7772400" cy="1107996"/>
          </a:xfrm>
          <a:prstGeom prst="rect">
            <a:avLst/>
          </a:prstGeom>
          <a:solidFill>
            <a:schemeClr val="accent1">
              <a:lumMod val="75000"/>
              <a:alpha val="50000"/>
            </a:schemeClr>
          </a:solidFill>
        </p:spPr>
        <p:txBody>
          <a:bodyPr wrap="square" lIns="182880" tIns="182880" rIns="182880" bIns="182880" rtlCol="0">
            <a:spAutoFit/>
          </a:bodyPr>
          <a:lstStyle/>
          <a:p>
            <a:pPr algn="l"/>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Ce type d'appareil est en voie d'obsolescence car il ne permet généralement que l'observation de tensions </a:t>
            </a:r>
            <a:r>
              <a:rPr lang="fr-FR" sz="1200" dirty="0">
                <a:solidFill>
                  <a:schemeClr val="bg1"/>
                </a:solidFill>
                <a:effectLst>
                  <a:outerShdw blurRad="38100" dist="38100" dir="2700000" algn="tl">
                    <a:srgbClr val="000000">
                      <a:alpha val="43137"/>
                    </a:srgbClr>
                  </a:outerShdw>
                </a:effectLst>
                <a:latin typeface="Arial" panose="020B0604020202020204" pitchFamily="34" charset="0"/>
              </a:rPr>
              <a:t>périodiques</a:t>
            </a:r>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 Il est de plus en plus remplacé par les oscilloscopes numériques.</a:t>
            </a:r>
          </a:p>
          <a:p>
            <a:pPr algn="l"/>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Ne sont décrites dans ce paragraphe que des généralités concernant les calibres de tension et la base de temps d’un oscilloscope analogique.</a:t>
            </a:r>
          </a:p>
        </p:txBody>
      </p:sp>
      <p:sp>
        <p:nvSpPr>
          <p:cNvPr id="14" name="TextBox 13">
            <a:extLst>
              <a:ext uri="{FF2B5EF4-FFF2-40B4-BE49-F238E27FC236}">
                <a16:creationId xmlns:a16="http://schemas.microsoft.com/office/drawing/2014/main" id="{15B78540-8F23-4C57-802A-5F0E9082C5B0}"/>
              </a:ext>
            </a:extLst>
          </p:cNvPr>
          <p:cNvSpPr txBox="1"/>
          <p:nvPr/>
        </p:nvSpPr>
        <p:spPr>
          <a:xfrm>
            <a:off x="-2714398" y="3747136"/>
            <a:ext cx="809773" cy="323165"/>
          </a:xfrm>
          <a:prstGeom prst="rect">
            <a:avLst/>
          </a:prstGeom>
          <a:solidFill>
            <a:schemeClr val="accent1">
              <a:lumMod val="75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Gotham Black" pitchFamily="50" charset="0"/>
                <a:ea typeface="+mn-ea"/>
                <a:cs typeface="+mn-cs"/>
              </a:rPr>
              <a:t>IMAGES</a:t>
            </a:r>
          </a:p>
        </p:txBody>
      </p:sp>
    </p:spTree>
    <p:extLst>
      <p:ext uri="{BB962C8B-B14F-4D97-AF65-F5344CB8AC3E}">
        <p14:creationId xmlns:p14="http://schemas.microsoft.com/office/powerpoint/2010/main" val="2808266080"/>
      </p:ext>
    </p:extLst>
  </p:cSld>
  <p:clrMapOvr>
    <a:masterClrMapping/>
  </p:clrMapOvr>
  <mc:AlternateContent xmlns:mc="http://schemas.openxmlformats.org/markup-compatibility/2006" xmlns:p14="http://schemas.microsoft.com/office/powerpoint/2010/main">
    <mc:Choice Requires="p14">
      <p:transition spd="slow" p14:dur="2000" advClick="0" advTm="0"/>
    </mc:Choice>
    <mc:Fallback xmlns="">
      <p:transition spd="slow" advClick="0" advTm="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85437DF-2612-41F8-6251-2EDEE4E2E92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3104AE3D-6F99-DBDC-FCAD-45F32C0BBF69}"/>
              </a:ext>
            </a:extLst>
          </p:cNvPr>
          <p:cNvSpPr/>
          <p:nvPr/>
        </p:nvSpPr>
        <p:spPr>
          <a:xfrm>
            <a:off x="0" y="0"/>
            <a:ext cx="12192000" cy="6858000"/>
          </a:xfrm>
          <a:prstGeom prst="rect">
            <a:avLst/>
          </a:prstGeom>
          <a:solidFill>
            <a:srgbClr val="FFD2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6F213691-1AEA-AD3B-2128-04E9E4202351}"/>
              </a:ext>
            </a:extLst>
          </p:cNvPr>
          <p:cNvGrpSpPr/>
          <p:nvPr/>
        </p:nvGrpSpPr>
        <p:grpSpPr>
          <a:xfrm>
            <a:off x="-1676400" y="-4343400"/>
            <a:ext cx="15544800" cy="15544800"/>
            <a:chOff x="3329940" y="586740"/>
            <a:chExt cx="5875020" cy="5875020"/>
          </a:xfrm>
        </p:grpSpPr>
        <p:sp>
          <p:nvSpPr>
            <p:cNvPr id="14" name="Oval 13">
              <a:extLst>
                <a:ext uri="{FF2B5EF4-FFF2-40B4-BE49-F238E27FC236}">
                  <a16:creationId xmlns:a16="http://schemas.microsoft.com/office/drawing/2014/main" id="{7E32BBF4-D780-6373-4667-86D054ADFBD8}"/>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Graphic 14">
              <a:extLst>
                <a:ext uri="{FF2B5EF4-FFF2-40B4-BE49-F238E27FC236}">
                  <a16:creationId xmlns:a16="http://schemas.microsoft.com/office/drawing/2014/main" id="{97775F5E-949B-2CFF-EBA7-4063373E0D7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 xmlns:asvg="http://schemas.microsoft.com/office/drawing/2016/SVG/main" r:embed="rId9"/>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graphicFrame>
        <p:nvGraphicFramePr>
          <p:cNvPr id="9" name="Object 8" hidden="1">
            <a:extLst>
              <a:ext uri="{FF2B5EF4-FFF2-40B4-BE49-F238E27FC236}">
                <a16:creationId xmlns:a16="http://schemas.microsoft.com/office/drawing/2014/main" id="{9008E58E-1238-42B3-847B-72B6CFC2DE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 name="think-cell Slide" r:id="rId10" imgW="425" imgH="424" progId="TCLayout.ActiveDocument.1">
                  <p:embed/>
                </p:oleObj>
              </mc:Choice>
              <mc:Fallback>
                <p:oleObj name="think-cell Slide" r:id="rId10" imgW="425" imgH="424" progId="TCLayout.ActiveDocument.1">
                  <p:embed/>
                  <p:pic>
                    <p:nvPicPr>
                      <p:cNvPr id="9" name="Object 8" hidden="1">
                        <a:extLst>
                          <a:ext uri="{FF2B5EF4-FFF2-40B4-BE49-F238E27FC236}">
                            <a16:creationId xmlns:a16="http://schemas.microsoft.com/office/drawing/2014/main" id="{9008E58E-1238-42B3-847B-72B6CFC2DEF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F5332C51-04E1-4BEE-BFB9-E48ECCACFEF4}"/>
              </a:ext>
            </a:extLst>
          </p:cNvPr>
          <p:cNvSpPr txBox="1"/>
          <p:nvPr/>
        </p:nvSpPr>
        <p:spPr>
          <a:xfrm>
            <a:off x="928272" y="381000"/>
            <a:ext cx="904415"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0" b="0" i="0" u="none" strike="noStrike" kern="1200" cap="none" spc="0" normalizeH="0" baseline="0" noProof="0" dirty="0">
                <a:ln w="25400">
                  <a:solidFill>
                    <a:prstClr val="white"/>
                  </a:solidFill>
                </a:ln>
                <a:noFill/>
                <a:effectLst/>
                <a:uLnTx/>
                <a:uFillTx/>
                <a:latin typeface="Gotham Black" pitchFamily="50" charset="0"/>
                <a:ea typeface="+mn-ea"/>
                <a:cs typeface="+mn-cs"/>
              </a:rPr>
              <a:t>2</a:t>
            </a:r>
          </a:p>
        </p:txBody>
      </p:sp>
      <p:sp>
        <p:nvSpPr>
          <p:cNvPr id="10" name="TextBox 9">
            <a:extLst>
              <a:ext uri="{FF2B5EF4-FFF2-40B4-BE49-F238E27FC236}">
                <a16:creationId xmlns:a16="http://schemas.microsoft.com/office/drawing/2014/main" id="{2301A4A2-C7DF-4BA5-8607-F06B1E89B651}"/>
              </a:ext>
            </a:extLst>
          </p:cNvPr>
          <p:cNvSpPr txBox="1"/>
          <p:nvPr/>
        </p:nvSpPr>
        <p:spPr>
          <a:xfrm>
            <a:off x="1780452" y="613782"/>
            <a:ext cx="7610225" cy="1107996"/>
          </a:xfrm>
          <a:prstGeom prst="rect">
            <a:avLst/>
          </a:prstGeom>
          <a:noFill/>
        </p:spPr>
        <p:txBody>
          <a:bodyPr wrap="none" rtlCol="0">
            <a:spAutoFit/>
          </a:bodyPr>
          <a:lstStyle/>
          <a:p>
            <a:r>
              <a:rPr lang="en-US" sz="6600" dirty="0">
                <a:solidFill>
                  <a:schemeClr val="bg1"/>
                </a:solidFill>
                <a:effectLst>
                  <a:outerShdw blurRad="38100" dist="38100" dir="2700000" algn="tl">
                    <a:srgbClr val="000000">
                      <a:alpha val="43137"/>
                    </a:srgbClr>
                  </a:outerShdw>
                </a:effectLst>
                <a:latin typeface="Chewy" panose="02000000000000000000" pitchFamily="2" charset="0"/>
              </a:rPr>
              <a:t>GESTION DE VERSION</a:t>
            </a:r>
          </a:p>
        </p:txBody>
      </p:sp>
      <p:sp>
        <p:nvSpPr>
          <p:cNvPr id="12" name="TextBox 11">
            <a:extLst>
              <a:ext uri="{FF2B5EF4-FFF2-40B4-BE49-F238E27FC236}">
                <a16:creationId xmlns:a16="http://schemas.microsoft.com/office/drawing/2014/main" id="{37C6FDC7-9725-4B60-9EE7-8CF75CD73FDD}"/>
              </a:ext>
            </a:extLst>
          </p:cNvPr>
          <p:cNvSpPr txBox="1"/>
          <p:nvPr/>
        </p:nvSpPr>
        <p:spPr>
          <a:xfrm>
            <a:off x="1832687" y="3073724"/>
            <a:ext cx="7772400" cy="1600438"/>
          </a:xfrm>
          <a:prstGeom prst="rect">
            <a:avLst/>
          </a:prstGeom>
          <a:solidFill>
            <a:srgbClr val="463200">
              <a:alpha val="50000"/>
            </a:srgbClr>
          </a:solidFill>
        </p:spPr>
        <p:txBody>
          <a:bodyPr wrap="square" lIns="182880" tIns="182880" rIns="182880" bIns="182880" rtlCol="0">
            <a:spAutoFit/>
          </a:bodyPr>
          <a:lstStyle/>
          <a:p>
            <a:r>
              <a:rPr lang="fr-FR" sz="4000" dirty="0">
                <a:solidFill>
                  <a:schemeClr val="bg1"/>
                </a:solidFill>
                <a:effectLst>
                  <a:outerShdw blurRad="38100" dist="38100" dir="2700000" algn="tl">
                    <a:srgbClr val="000000">
                      <a:alpha val="43137"/>
                    </a:srgbClr>
                  </a:outerShdw>
                </a:effectLst>
                <a:latin typeface="Arial" panose="020B0604020202020204" pitchFamily="34" charset="0"/>
              </a:rPr>
              <a:t>A quoi sert concrètement un système de gestion de version ?</a:t>
            </a:r>
          </a:p>
        </p:txBody>
      </p:sp>
      <p:pic>
        <p:nvPicPr>
          <p:cNvPr id="2" name="Record 2023-04-01 at 06h28m37s">
            <a:hlinkClick r:id="" action="ppaction://media"/>
            <a:extLst>
              <a:ext uri="{FF2B5EF4-FFF2-40B4-BE49-F238E27FC236}">
                <a16:creationId xmlns:a16="http://schemas.microsoft.com/office/drawing/2014/main" id="{CB417DD4-B1AD-18EB-CBA7-D7E59331523A}"/>
              </a:ext>
            </a:extLst>
          </p:cNvPr>
          <p:cNvPicPr>
            <a:picLocks noChangeAspect="1"/>
          </p:cNvPicPr>
          <p:nvPr>
            <a:audioFile r:link="rId3"/>
            <p:extLst>
              <p:ext uri="{DAA4B4D4-6D71-4841-9C94-3DE7FCFB9230}">
                <p14:media xmlns:p14="http://schemas.microsoft.com/office/powerpoint/2010/main" r:embed="rId4">
                  <p14:trim st="5629"/>
                </p14:media>
              </p:ext>
            </p:extLst>
          </p:nvPr>
        </p:nvPicPr>
        <p:blipFill>
          <a:blip r:embed="rId12"/>
          <a:stretch>
            <a:fillRect/>
          </a:stretch>
        </p:blipFill>
        <p:spPr>
          <a:xfrm>
            <a:off x="-623989" y="163979"/>
            <a:ext cx="487362" cy="487363"/>
          </a:xfrm>
          <a:prstGeom prst="rect">
            <a:avLst/>
          </a:prstGeom>
        </p:spPr>
      </p:pic>
    </p:spTree>
    <p:extLst>
      <p:ext uri="{BB962C8B-B14F-4D97-AF65-F5344CB8AC3E}">
        <p14:creationId xmlns:p14="http://schemas.microsoft.com/office/powerpoint/2010/main" val="327802949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337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92503E22-6F27-4A2F-AAFD-8AB0EA48E38B}"/>
              </a:ext>
            </a:extLst>
          </p:cNvPr>
          <p:cNvSpPr/>
          <p:nvPr/>
        </p:nvSpPr>
        <p:spPr>
          <a:xfrm>
            <a:off x="115487" y="809626"/>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FD678769-02EE-4ADB-AD86-A09BE7D81912}"/>
              </a:ext>
            </a:extLst>
          </p:cNvPr>
          <p:cNvSpPr txBox="1"/>
          <p:nvPr/>
        </p:nvSpPr>
        <p:spPr>
          <a:xfrm>
            <a:off x="757203" y="3429000"/>
            <a:ext cx="10249922" cy="16312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0" b="0" i="0" u="none" strike="noStrike" kern="1200" cap="none" spc="0" normalizeH="0" baseline="0" noProof="0" smtClean="0">
                <a:ln w="25400">
                  <a:solidFill>
                    <a:prstClr val="white"/>
                  </a:solidFill>
                </a:ln>
                <a:noFill/>
                <a:effectLst/>
                <a:uLnTx/>
                <a:uFillTx/>
                <a:latin typeface="Gotham Black" pitchFamily="50" charset="0"/>
                <a:ea typeface="+mn-ea"/>
                <a:cs typeface="+mn-cs"/>
              </a:rPr>
              <a:t>Conclusion</a:t>
            </a:r>
            <a:r>
              <a:rPr kumimoji="0" lang="en-US" sz="10000" b="0" i="0" u="none" strike="noStrike" kern="1200" cap="none" spc="0" normalizeH="0" noProof="0" smtClean="0">
                <a:ln w="25400">
                  <a:solidFill>
                    <a:prstClr val="white"/>
                  </a:solidFill>
                </a:ln>
                <a:noFill/>
                <a:effectLst/>
                <a:uLnTx/>
                <a:uFillTx/>
                <a:latin typeface="Gotham Black" pitchFamily="50" charset="0"/>
                <a:ea typeface="+mn-ea"/>
                <a:cs typeface="+mn-cs"/>
              </a:rPr>
              <a:t> :p</a:t>
            </a:r>
            <a:endParaRPr kumimoji="0" lang="en-US" sz="10000" b="0" i="0" u="none" strike="noStrike" kern="1200" cap="none" spc="0" normalizeH="0" baseline="0" noProof="0" dirty="0">
              <a:ln w="25400">
                <a:solidFill>
                  <a:prstClr val="white"/>
                </a:solidFill>
              </a:ln>
              <a:noFill/>
              <a:effectLst/>
              <a:uLnTx/>
              <a:uFillTx/>
              <a:latin typeface="Gotham Black" pitchFamily="50" charset="0"/>
              <a:ea typeface="+mn-ea"/>
              <a:cs typeface="+mn-cs"/>
            </a:endParaRPr>
          </a:p>
        </p:txBody>
      </p:sp>
      <p:sp>
        <p:nvSpPr>
          <p:cNvPr id="12" name="TextBox 11">
            <a:extLst>
              <a:ext uri="{FF2B5EF4-FFF2-40B4-BE49-F238E27FC236}">
                <a16:creationId xmlns:a16="http://schemas.microsoft.com/office/drawing/2014/main" id="{C641ADE9-1FF3-4B4E-9AE3-10C4EFC5C2C3}"/>
              </a:ext>
            </a:extLst>
          </p:cNvPr>
          <p:cNvSpPr txBox="1"/>
          <p:nvPr/>
        </p:nvSpPr>
        <p:spPr>
          <a:xfrm>
            <a:off x="3466254" y="-2415541"/>
            <a:ext cx="14005757" cy="1569660"/>
          </a:xfrm>
          <a:prstGeom prst="rect">
            <a:avLst/>
          </a:prstGeom>
          <a:noFill/>
        </p:spPr>
        <p:txBody>
          <a:bodyPr wrap="none" rtlCol="0">
            <a:spAutoFit/>
          </a:bodyPr>
          <a:lstStyle/>
          <a:p>
            <a:pPr algn="l"/>
            <a:r>
              <a:rPr lang="en-US" sz="9600" b="0" i="0" dirty="0">
                <a:solidFill>
                  <a:schemeClr val="bg1"/>
                </a:solidFill>
                <a:effectLst>
                  <a:outerShdw blurRad="38100" dist="38100" dir="2700000" algn="tl">
                    <a:srgbClr val="000000">
                      <a:alpha val="43137"/>
                    </a:srgbClr>
                  </a:outerShdw>
                </a:effectLst>
                <a:latin typeface="Chewy" panose="02000000000000000000" pitchFamily="2" charset="0"/>
              </a:rPr>
              <a:t>Les oscilloscopes </a:t>
            </a:r>
            <a:r>
              <a:rPr lang="en-US" sz="9600" b="0" i="0" dirty="0" err="1">
                <a:solidFill>
                  <a:schemeClr val="bg1"/>
                </a:solidFill>
                <a:effectLst>
                  <a:outerShdw blurRad="38100" dist="38100" dir="2700000" algn="tl">
                    <a:srgbClr val="000000">
                      <a:alpha val="43137"/>
                    </a:srgbClr>
                  </a:outerShdw>
                </a:effectLst>
                <a:latin typeface="Chewy" panose="02000000000000000000" pitchFamily="2" charset="0"/>
              </a:rPr>
              <a:t>analogiques</a:t>
            </a:r>
            <a:endParaRPr lang="en-US" sz="9600" b="0" i="0" dirty="0">
              <a:solidFill>
                <a:schemeClr val="bg1"/>
              </a:solidFill>
              <a:effectLst>
                <a:outerShdw blurRad="38100" dist="38100" dir="2700000" algn="tl">
                  <a:srgbClr val="000000">
                    <a:alpha val="43137"/>
                  </a:srgbClr>
                </a:outerShdw>
              </a:effectLst>
              <a:latin typeface="Chewy" panose="02000000000000000000" pitchFamily="2" charset="0"/>
            </a:endParaRPr>
          </a:p>
        </p:txBody>
      </p:sp>
      <p:sp>
        <p:nvSpPr>
          <p:cNvPr id="13" name="TextBox 12">
            <a:extLst>
              <a:ext uri="{FF2B5EF4-FFF2-40B4-BE49-F238E27FC236}">
                <a16:creationId xmlns:a16="http://schemas.microsoft.com/office/drawing/2014/main" id="{343CDFD8-216D-46CB-9E94-DECEE2205632}"/>
              </a:ext>
            </a:extLst>
          </p:cNvPr>
          <p:cNvSpPr txBox="1"/>
          <p:nvPr/>
        </p:nvSpPr>
        <p:spPr>
          <a:xfrm>
            <a:off x="12997405" y="1873568"/>
            <a:ext cx="7772400" cy="1107996"/>
          </a:xfrm>
          <a:prstGeom prst="rect">
            <a:avLst/>
          </a:prstGeom>
          <a:solidFill>
            <a:schemeClr val="accent1">
              <a:lumMod val="75000"/>
              <a:alpha val="50000"/>
            </a:schemeClr>
          </a:solidFill>
        </p:spPr>
        <p:txBody>
          <a:bodyPr wrap="square" lIns="182880" tIns="182880" rIns="182880" bIns="182880" rtlCol="0">
            <a:spAutoFit/>
          </a:bodyPr>
          <a:lstStyle/>
          <a:p>
            <a:pPr algn="l"/>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Ce type d'appareil est en voie d'obsolescence car il ne permet généralement que l'observation de tensions </a:t>
            </a:r>
            <a:r>
              <a:rPr lang="fr-FR" sz="1200" dirty="0">
                <a:solidFill>
                  <a:schemeClr val="bg1"/>
                </a:solidFill>
                <a:effectLst>
                  <a:outerShdw blurRad="38100" dist="38100" dir="2700000" algn="tl">
                    <a:srgbClr val="000000">
                      <a:alpha val="43137"/>
                    </a:srgbClr>
                  </a:outerShdw>
                </a:effectLst>
                <a:latin typeface="Arial" panose="020B0604020202020204" pitchFamily="34" charset="0"/>
              </a:rPr>
              <a:t>périodiques</a:t>
            </a:r>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 Il est de plus en plus remplacé par les oscilloscopes numériques.</a:t>
            </a:r>
          </a:p>
          <a:p>
            <a:pPr algn="l"/>
            <a:r>
              <a:rPr lang="fr-FR" sz="1200" b="0" i="0" dirty="0">
                <a:solidFill>
                  <a:schemeClr val="bg1"/>
                </a:solidFill>
                <a:effectLst>
                  <a:outerShdw blurRad="38100" dist="38100" dir="2700000" algn="tl">
                    <a:srgbClr val="000000">
                      <a:alpha val="43137"/>
                    </a:srgbClr>
                  </a:outerShdw>
                </a:effectLst>
                <a:latin typeface="Arial" panose="020B0604020202020204" pitchFamily="34" charset="0"/>
              </a:rPr>
              <a:t>Ne sont décrites dans ce paragraphe que des généralités concernant les calibres de tension et la base de temps d’un oscilloscope analogique.</a:t>
            </a:r>
          </a:p>
        </p:txBody>
      </p:sp>
      <p:sp>
        <p:nvSpPr>
          <p:cNvPr id="14" name="TextBox 13">
            <a:extLst>
              <a:ext uri="{FF2B5EF4-FFF2-40B4-BE49-F238E27FC236}">
                <a16:creationId xmlns:a16="http://schemas.microsoft.com/office/drawing/2014/main" id="{15B78540-8F23-4C57-802A-5F0E9082C5B0}"/>
              </a:ext>
            </a:extLst>
          </p:cNvPr>
          <p:cNvSpPr txBox="1"/>
          <p:nvPr/>
        </p:nvSpPr>
        <p:spPr>
          <a:xfrm>
            <a:off x="-2714398" y="3747136"/>
            <a:ext cx="809773" cy="323165"/>
          </a:xfrm>
          <a:prstGeom prst="rect">
            <a:avLst/>
          </a:prstGeom>
          <a:solidFill>
            <a:schemeClr val="accent1">
              <a:lumMod val="75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Gotham Black" pitchFamily="50" charset="0"/>
                <a:ea typeface="+mn-ea"/>
                <a:cs typeface="+mn-cs"/>
              </a:rPr>
              <a:t>IMAGES</a:t>
            </a:r>
          </a:p>
        </p:txBody>
      </p:sp>
    </p:spTree>
    <p:extLst>
      <p:ext uri="{BB962C8B-B14F-4D97-AF65-F5344CB8AC3E}">
        <p14:creationId xmlns:p14="http://schemas.microsoft.com/office/powerpoint/2010/main" val="4178437608"/>
      </p:ext>
    </p:extLst>
  </p:cSld>
  <p:clrMapOvr>
    <a:masterClrMapping/>
  </p:clrMapOvr>
  <mc:AlternateContent xmlns:mc="http://schemas.openxmlformats.org/markup-compatibility/2006" xmlns:p14="http://schemas.microsoft.com/office/powerpoint/2010/main">
    <mc:Choice Requires="p14">
      <p:transition spd="slow" p14:dur="2000" advClick="0" advTm="0"/>
    </mc:Choice>
    <mc:Fallback xmlns="">
      <p:transition spd="slow" advClick="0" advTm="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lumMod val="95000"/>
            <a:lumOff val="5000"/>
            <a:alpha val="12000"/>
          </a:schemeClr>
        </a:solidFill>
        <a:effectLst/>
      </p:bgPr>
    </p:bg>
    <p:spTree>
      <p:nvGrpSpPr>
        <p:cNvPr id="1" name=""/>
        <p:cNvGrpSpPr/>
        <p:nvPr/>
      </p:nvGrpSpPr>
      <p:grpSpPr>
        <a:xfrm>
          <a:off x="0" y="0"/>
          <a:ext cx="0" cy="0"/>
          <a:chOff x="0" y="0"/>
          <a:chExt cx="0" cy="0"/>
        </a:xfrm>
      </p:grpSpPr>
      <p:grpSp>
        <p:nvGrpSpPr>
          <p:cNvPr id="8" name="GRID 18 x 12" hidden="1">
            <a:extLst>
              <a:ext uri="{FF2B5EF4-FFF2-40B4-BE49-F238E27FC236}">
                <a16:creationId xmlns:a16="http://schemas.microsoft.com/office/drawing/2014/main" id="{9133B822-B4CE-35ED-815D-103606A59E21}"/>
              </a:ext>
            </a:extLst>
          </p:cNvPr>
          <p:cNvGrpSpPr>
            <a:grpSpLocks noGrp="1" noUngrp="1" noRot="1" noMove="1" noResize="1"/>
          </p:cNvGrpSpPr>
          <p:nvPr/>
        </p:nvGrpSpPr>
        <p:grpSpPr>
          <a:xfrm>
            <a:off x="0" y="0"/>
            <a:ext cx="12192000" cy="6858000"/>
            <a:chOff x="0" y="0"/>
            <a:chExt cx="12192000" cy="6858000"/>
          </a:xfrm>
        </p:grpSpPr>
        <p:grpSp>
          <p:nvGrpSpPr>
            <p:cNvPr id="10" name="Rows 12">
              <a:extLst>
                <a:ext uri="{FF2B5EF4-FFF2-40B4-BE49-F238E27FC236}">
                  <a16:creationId xmlns:a16="http://schemas.microsoft.com/office/drawing/2014/main" id="{6A97ABEE-6005-4707-D791-A6E54DAB597F}"/>
                </a:ext>
              </a:extLst>
            </p:cNvPr>
            <p:cNvGrpSpPr>
              <a:grpSpLocks noGrp="1" noUngrp="1" noRot="1" noMove="1" noResize="1"/>
            </p:cNvGrpSpPr>
            <p:nvPr/>
          </p:nvGrpSpPr>
          <p:grpSpPr>
            <a:xfrm>
              <a:off x="0" y="0"/>
              <a:ext cx="12192000" cy="6858000"/>
              <a:chOff x="0" y="0"/>
              <a:chExt cx="12192000" cy="3766788"/>
            </a:xfrm>
          </p:grpSpPr>
          <p:sp>
            <p:nvSpPr>
              <p:cNvPr id="30" name="Rectangle 29">
                <a:extLst>
                  <a:ext uri="{FF2B5EF4-FFF2-40B4-BE49-F238E27FC236}">
                    <a16:creationId xmlns:a16="http://schemas.microsoft.com/office/drawing/2014/main" id="{A7FABFE5-D7CB-868F-6488-4B5FD97948CD}"/>
                  </a:ext>
                </a:extLst>
              </p:cNvPr>
              <p:cNvSpPr>
                <a:spLocks noGrp="1" noRot="1" noMove="1" noResize="1" noEditPoints="1" noAdjustHandles="1" noChangeArrowheads="1" noChangeShapeType="1"/>
              </p:cNvSpPr>
              <p:nvPr/>
            </p:nvSpPr>
            <p:spPr>
              <a:xfrm>
                <a:off x="0" y="0"/>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E65C6606-6BD4-2263-7F42-70DEC36CEAAB}"/>
                  </a:ext>
                </a:extLst>
              </p:cNvPr>
              <p:cNvSpPr>
                <a:spLocks noGrp="1" noRot="1" noMove="1" noResize="1" noEditPoints="1" noAdjustHandles="1" noChangeArrowheads="1" noChangeShapeType="1"/>
              </p:cNvSpPr>
              <p:nvPr/>
            </p:nvSpPr>
            <p:spPr>
              <a:xfrm>
                <a:off x="0" y="313899"/>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EE5C2AFF-FB4A-0617-B0DF-57905C2B2294}"/>
                  </a:ext>
                </a:extLst>
              </p:cNvPr>
              <p:cNvSpPr>
                <a:spLocks noGrp="1" noRot="1" noMove="1" noResize="1" noEditPoints="1" noAdjustHandles="1" noChangeArrowheads="1" noChangeShapeType="1"/>
              </p:cNvSpPr>
              <p:nvPr/>
            </p:nvSpPr>
            <p:spPr>
              <a:xfrm>
                <a:off x="0" y="627798"/>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3975C841-FBF3-5AF2-62AD-6D9EED6BF729}"/>
                  </a:ext>
                </a:extLst>
              </p:cNvPr>
              <p:cNvSpPr>
                <a:spLocks noGrp="1" noRot="1" noMove="1" noResize="1" noEditPoints="1" noAdjustHandles="1" noChangeArrowheads="1" noChangeShapeType="1"/>
              </p:cNvSpPr>
              <p:nvPr/>
            </p:nvSpPr>
            <p:spPr>
              <a:xfrm>
                <a:off x="0" y="941697"/>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B25D74DB-0899-DC2E-F1AE-56B17D34CCEE}"/>
                  </a:ext>
                </a:extLst>
              </p:cNvPr>
              <p:cNvSpPr>
                <a:spLocks noGrp="1" noRot="1" noMove="1" noResize="1" noEditPoints="1" noAdjustHandles="1" noChangeArrowheads="1" noChangeShapeType="1"/>
              </p:cNvSpPr>
              <p:nvPr/>
            </p:nvSpPr>
            <p:spPr>
              <a:xfrm>
                <a:off x="0" y="1255596"/>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B76AC144-D99E-0F2D-0D95-CBACF7942B12}"/>
                  </a:ext>
                </a:extLst>
              </p:cNvPr>
              <p:cNvSpPr>
                <a:spLocks noGrp="1" noRot="1" noMove="1" noResize="1" noEditPoints="1" noAdjustHandles="1" noChangeArrowheads="1" noChangeShapeType="1"/>
              </p:cNvSpPr>
              <p:nvPr/>
            </p:nvSpPr>
            <p:spPr>
              <a:xfrm>
                <a:off x="0" y="1569495"/>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C5962C92-D03B-D375-7B84-927BD2BBC53E}"/>
                  </a:ext>
                </a:extLst>
              </p:cNvPr>
              <p:cNvSpPr>
                <a:spLocks noGrp="1" noRot="1" noMove="1" noResize="1" noEditPoints="1" noAdjustHandles="1" noChangeArrowheads="1" noChangeShapeType="1"/>
              </p:cNvSpPr>
              <p:nvPr/>
            </p:nvSpPr>
            <p:spPr>
              <a:xfrm>
                <a:off x="0" y="1883394"/>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AAA4912E-6344-8D8C-D618-E3E3E992964E}"/>
                  </a:ext>
                </a:extLst>
              </p:cNvPr>
              <p:cNvSpPr>
                <a:spLocks noGrp="1" noRot="1" noMove="1" noResize="1" noEditPoints="1" noAdjustHandles="1" noChangeArrowheads="1" noChangeShapeType="1"/>
              </p:cNvSpPr>
              <p:nvPr/>
            </p:nvSpPr>
            <p:spPr>
              <a:xfrm>
                <a:off x="0" y="2197293"/>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B55EF18A-1576-DBDA-17A0-F107D31E5E75}"/>
                  </a:ext>
                </a:extLst>
              </p:cNvPr>
              <p:cNvSpPr>
                <a:spLocks noGrp="1" noRot="1" noMove="1" noResize="1" noEditPoints="1" noAdjustHandles="1" noChangeArrowheads="1" noChangeShapeType="1"/>
              </p:cNvSpPr>
              <p:nvPr/>
            </p:nvSpPr>
            <p:spPr>
              <a:xfrm>
                <a:off x="0" y="2511192"/>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A56D78BF-0050-4880-5C7C-D6BBA46A2C93}"/>
                  </a:ext>
                </a:extLst>
              </p:cNvPr>
              <p:cNvSpPr>
                <a:spLocks noGrp="1" noRot="1" noMove="1" noResize="1" noEditPoints="1" noAdjustHandles="1" noChangeArrowheads="1" noChangeShapeType="1"/>
              </p:cNvSpPr>
              <p:nvPr/>
            </p:nvSpPr>
            <p:spPr>
              <a:xfrm>
                <a:off x="0" y="2825091"/>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AB1F84C5-D8F8-BBD8-86BF-E59166039803}"/>
                  </a:ext>
                </a:extLst>
              </p:cNvPr>
              <p:cNvSpPr>
                <a:spLocks noGrp="1" noRot="1" noMove="1" noResize="1" noEditPoints="1" noAdjustHandles="1" noChangeArrowheads="1" noChangeShapeType="1"/>
              </p:cNvSpPr>
              <p:nvPr/>
            </p:nvSpPr>
            <p:spPr>
              <a:xfrm>
                <a:off x="0" y="3138990"/>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AC762B63-0238-F599-127D-CD0711F18791}"/>
                  </a:ext>
                </a:extLst>
              </p:cNvPr>
              <p:cNvSpPr>
                <a:spLocks noGrp="1" noRot="1" noMove="1" noResize="1" noEditPoints="1" noAdjustHandles="1" noChangeArrowheads="1" noChangeShapeType="1"/>
              </p:cNvSpPr>
              <p:nvPr/>
            </p:nvSpPr>
            <p:spPr>
              <a:xfrm>
                <a:off x="0" y="3452889"/>
                <a:ext cx="12192000" cy="313899"/>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11" name="Columns 18">
              <a:extLst>
                <a:ext uri="{FF2B5EF4-FFF2-40B4-BE49-F238E27FC236}">
                  <a16:creationId xmlns:a16="http://schemas.microsoft.com/office/drawing/2014/main" id="{4C4C969E-83CD-8FA1-5150-F2320A6FD841}"/>
                </a:ext>
              </a:extLst>
            </p:cNvPr>
            <p:cNvGrpSpPr>
              <a:grpSpLocks noGrp="1" noUngrp="1" noRot="1" noMove="1" noResize="1"/>
            </p:cNvGrpSpPr>
            <p:nvPr/>
          </p:nvGrpSpPr>
          <p:grpSpPr>
            <a:xfrm>
              <a:off x="0" y="0"/>
              <a:ext cx="12192000" cy="6858000"/>
              <a:chOff x="0" y="0"/>
              <a:chExt cx="5650182" cy="6858000"/>
            </a:xfrm>
          </p:grpSpPr>
          <p:sp>
            <p:nvSpPr>
              <p:cNvPr id="12" name="Rectangle 11">
                <a:extLst>
                  <a:ext uri="{FF2B5EF4-FFF2-40B4-BE49-F238E27FC236}">
                    <a16:creationId xmlns:a16="http://schemas.microsoft.com/office/drawing/2014/main" id="{27475249-B345-9E3C-C073-D4F3F2753DA9}"/>
                  </a:ext>
                </a:extLst>
              </p:cNvPr>
              <p:cNvSpPr>
                <a:spLocks noGrp="1" noRot="1" noMove="1" noResize="1" noEditPoints="1" noAdjustHandles="1" noChangeArrowheads="1" noChangeShapeType="1"/>
              </p:cNvSpPr>
              <p:nvPr/>
            </p:nvSpPr>
            <p:spPr>
              <a:xfrm>
                <a:off x="0"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F3343572-EEE0-FAFE-9A50-4713EB7AE0BC}"/>
                  </a:ext>
                </a:extLst>
              </p:cNvPr>
              <p:cNvSpPr>
                <a:spLocks noGrp="1" noRot="1" noMove="1" noResize="1" noEditPoints="1" noAdjustHandles="1" noChangeArrowheads="1" noChangeShapeType="1"/>
              </p:cNvSpPr>
              <p:nvPr/>
            </p:nvSpPr>
            <p:spPr>
              <a:xfrm>
                <a:off x="313899"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8784C4CB-5E60-030F-C314-7783603F1609}"/>
                  </a:ext>
                </a:extLst>
              </p:cNvPr>
              <p:cNvSpPr>
                <a:spLocks noGrp="1" noRot="1" noMove="1" noResize="1" noEditPoints="1" noAdjustHandles="1" noChangeArrowheads="1" noChangeShapeType="1"/>
              </p:cNvSpPr>
              <p:nvPr/>
            </p:nvSpPr>
            <p:spPr>
              <a:xfrm>
                <a:off x="627798"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CBE6C650-F651-F977-F8C3-AD5EAAC7ECD1}"/>
                  </a:ext>
                </a:extLst>
              </p:cNvPr>
              <p:cNvSpPr>
                <a:spLocks noGrp="1" noRot="1" noMove="1" noResize="1" noEditPoints="1" noAdjustHandles="1" noChangeArrowheads="1" noChangeShapeType="1"/>
              </p:cNvSpPr>
              <p:nvPr/>
            </p:nvSpPr>
            <p:spPr>
              <a:xfrm>
                <a:off x="941697"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F0079A4F-EAEB-6E56-5188-3F000965FEB5}"/>
                  </a:ext>
                </a:extLst>
              </p:cNvPr>
              <p:cNvSpPr>
                <a:spLocks noGrp="1" noRot="1" noMove="1" noResize="1" noEditPoints="1" noAdjustHandles="1" noChangeArrowheads="1" noChangeShapeType="1"/>
              </p:cNvSpPr>
              <p:nvPr/>
            </p:nvSpPr>
            <p:spPr>
              <a:xfrm>
                <a:off x="1255596"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AB005368-A137-6FA8-5E16-00279951DBC4}"/>
                  </a:ext>
                </a:extLst>
              </p:cNvPr>
              <p:cNvSpPr>
                <a:spLocks noGrp="1" noRot="1" noMove="1" noResize="1" noEditPoints="1" noAdjustHandles="1" noChangeArrowheads="1" noChangeShapeType="1"/>
              </p:cNvSpPr>
              <p:nvPr/>
            </p:nvSpPr>
            <p:spPr>
              <a:xfrm>
                <a:off x="1569495"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4F33CE02-E6E5-614C-5130-A0CC28FBFDE3}"/>
                  </a:ext>
                </a:extLst>
              </p:cNvPr>
              <p:cNvSpPr>
                <a:spLocks noGrp="1" noRot="1" noMove="1" noResize="1" noEditPoints="1" noAdjustHandles="1" noChangeArrowheads="1" noChangeShapeType="1"/>
              </p:cNvSpPr>
              <p:nvPr/>
            </p:nvSpPr>
            <p:spPr>
              <a:xfrm>
                <a:off x="1883394"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53DB9542-4D15-C4CB-7E3C-72C194E8A245}"/>
                  </a:ext>
                </a:extLst>
              </p:cNvPr>
              <p:cNvSpPr>
                <a:spLocks noGrp="1" noRot="1" noMove="1" noResize="1" noEditPoints="1" noAdjustHandles="1" noChangeArrowheads="1" noChangeShapeType="1"/>
              </p:cNvSpPr>
              <p:nvPr/>
            </p:nvSpPr>
            <p:spPr>
              <a:xfrm>
                <a:off x="2197293"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A2B614D8-B255-90DC-9C6B-43E5A47F9BFF}"/>
                  </a:ext>
                </a:extLst>
              </p:cNvPr>
              <p:cNvSpPr>
                <a:spLocks noGrp="1" noRot="1" noMove="1" noResize="1" noEditPoints="1" noAdjustHandles="1" noChangeArrowheads="1" noChangeShapeType="1"/>
              </p:cNvSpPr>
              <p:nvPr/>
            </p:nvSpPr>
            <p:spPr>
              <a:xfrm>
                <a:off x="2511192"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A628AD48-ECF1-646E-13CE-8E7D78E4F9F2}"/>
                  </a:ext>
                </a:extLst>
              </p:cNvPr>
              <p:cNvSpPr>
                <a:spLocks noGrp="1" noRot="1" noMove="1" noResize="1" noEditPoints="1" noAdjustHandles="1" noChangeArrowheads="1" noChangeShapeType="1"/>
              </p:cNvSpPr>
              <p:nvPr/>
            </p:nvSpPr>
            <p:spPr>
              <a:xfrm>
                <a:off x="2825091"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4735D7A6-F82C-E34B-97F9-BC4257A46CAB}"/>
                  </a:ext>
                </a:extLst>
              </p:cNvPr>
              <p:cNvSpPr>
                <a:spLocks noGrp="1" noRot="1" noMove="1" noResize="1" noEditPoints="1" noAdjustHandles="1" noChangeArrowheads="1" noChangeShapeType="1"/>
              </p:cNvSpPr>
              <p:nvPr/>
            </p:nvSpPr>
            <p:spPr>
              <a:xfrm>
                <a:off x="3138990"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F47C862E-08F9-BD41-9CA5-77C81455EC16}"/>
                  </a:ext>
                </a:extLst>
              </p:cNvPr>
              <p:cNvSpPr>
                <a:spLocks noGrp="1" noRot="1" noMove="1" noResize="1" noEditPoints="1" noAdjustHandles="1" noChangeArrowheads="1" noChangeShapeType="1"/>
              </p:cNvSpPr>
              <p:nvPr/>
            </p:nvSpPr>
            <p:spPr>
              <a:xfrm>
                <a:off x="3452889"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41BE9779-8D07-0164-82B8-B0099F242C7B}"/>
                  </a:ext>
                </a:extLst>
              </p:cNvPr>
              <p:cNvSpPr>
                <a:spLocks noGrp="1" noRot="1" noMove="1" noResize="1" noEditPoints="1" noAdjustHandles="1" noChangeArrowheads="1" noChangeShapeType="1"/>
              </p:cNvSpPr>
              <p:nvPr/>
            </p:nvSpPr>
            <p:spPr>
              <a:xfrm>
                <a:off x="3766788"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1607E658-EDF7-D2F9-8828-B8CDC6431106}"/>
                  </a:ext>
                </a:extLst>
              </p:cNvPr>
              <p:cNvSpPr>
                <a:spLocks noGrp="1" noRot="1" noMove="1" noResize="1" noEditPoints="1" noAdjustHandles="1" noChangeArrowheads="1" noChangeShapeType="1"/>
              </p:cNvSpPr>
              <p:nvPr/>
            </p:nvSpPr>
            <p:spPr>
              <a:xfrm>
                <a:off x="4080687"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6DEA4F78-F245-05B4-1699-763C4102681E}"/>
                  </a:ext>
                </a:extLst>
              </p:cNvPr>
              <p:cNvSpPr>
                <a:spLocks noGrp="1" noRot="1" noMove="1" noResize="1" noEditPoints="1" noAdjustHandles="1" noChangeArrowheads="1" noChangeShapeType="1"/>
              </p:cNvSpPr>
              <p:nvPr/>
            </p:nvSpPr>
            <p:spPr>
              <a:xfrm>
                <a:off x="4394586"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AFAFCEE1-4444-BB7E-1428-28EA71EA0A40}"/>
                  </a:ext>
                </a:extLst>
              </p:cNvPr>
              <p:cNvSpPr>
                <a:spLocks noGrp="1" noRot="1" noMove="1" noResize="1" noEditPoints="1" noAdjustHandles="1" noChangeArrowheads="1" noChangeShapeType="1"/>
              </p:cNvSpPr>
              <p:nvPr/>
            </p:nvSpPr>
            <p:spPr>
              <a:xfrm>
                <a:off x="4708485"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0D4A6FE3-651B-1DB2-DB69-6CE9A5C4A0C9}"/>
                  </a:ext>
                </a:extLst>
              </p:cNvPr>
              <p:cNvSpPr>
                <a:spLocks noGrp="1" noRot="1" noMove="1" noResize="1" noEditPoints="1" noAdjustHandles="1" noChangeArrowheads="1" noChangeShapeType="1"/>
              </p:cNvSpPr>
              <p:nvPr/>
            </p:nvSpPr>
            <p:spPr>
              <a:xfrm>
                <a:off x="5022384"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35C4B27D-E0B4-D84B-1E2F-DDA0C100F89C}"/>
                  </a:ext>
                </a:extLst>
              </p:cNvPr>
              <p:cNvSpPr>
                <a:spLocks noGrp="1" noRot="1" noMove="1" noResize="1" noEditPoints="1" noAdjustHandles="1" noChangeArrowheads="1" noChangeShapeType="1"/>
              </p:cNvSpPr>
              <p:nvPr/>
            </p:nvSpPr>
            <p:spPr>
              <a:xfrm>
                <a:off x="5336283" y="0"/>
                <a:ext cx="313899" cy="6858000"/>
              </a:xfrm>
              <a:prstGeom prst="rect">
                <a:avLst/>
              </a:prstGeom>
              <a:solidFill>
                <a:schemeClr val="bg1">
                  <a:alpha val="0"/>
                </a:schemeClr>
              </a:solidFill>
              <a:ln w="6350" cap="flat">
                <a:solidFill>
                  <a:schemeClr val="bg1">
                    <a:alpha val="25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useBgFill="1">
        <p:nvSpPr>
          <p:cNvPr id="50" name="Snip Diagonal Corner of Rectangle 23">
            <a:extLst>
              <a:ext uri="{FF2B5EF4-FFF2-40B4-BE49-F238E27FC236}">
                <a16:creationId xmlns:a16="http://schemas.microsoft.com/office/drawing/2014/main" id="{3CD33E34-392F-83BF-7B41-2B2876A5E157}"/>
              </a:ext>
            </a:extLst>
          </p:cNvPr>
          <p:cNvSpPr/>
          <p:nvPr/>
        </p:nvSpPr>
        <p:spPr>
          <a:xfrm>
            <a:off x="893002" y="5915311"/>
            <a:ext cx="2032000" cy="561517"/>
          </a:xfrm>
          <a:prstGeom prst="snip2DiagRect">
            <a:avLst>
              <a:gd name="adj1" fmla="val 0"/>
              <a:gd name="adj2" fmla="val 28663"/>
            </a:avLst>
          </a:prstGeom>
          <a:ln w="12700" cap="flat">
            <a:solidFill>
              <a:schemeClr val="accent3"/>
            </a:solidFill>
            <a:prstDash val="solid"/>
            <a:miter/>
          </a:ln>
          <a:effectLst>
            <a:outerShdw blurRad="3175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000" b="1" i="0" u="none" strike="noStrike" kern="1200" cap="none" spc="0" normalizeH="0" baseline="0" noProof="0" dirty="0">
              <a:ln>
                <a:noFill/>
              </a:ln>
              <a:solidFill>
                <a:srgbClr val="FFFFFF"/>
              </a:solidFill>
              <a:effectLst/>
              <a:uLnTx/>
              <a:uFillTx/>
              <a:latin typeface="Hanson" pitchFamily="50" charset="0"/>
              <a:ea typeface="Urbanist Black" panose="020B0A04040200000203" pitchFamily="34" charset="77"/>
              <a:cs typeface="Urbanist Black" panose="020B0A04040200000203" pitchFamily="34" charset="77"/>
            </a:endParaRPr>
          </a:p>
        </p:txBody>
      </p:sp>
      <p:sp>
        <p:nvSpPr>
          <p:cNvPr id="5" name="Snip Diagonal Corner of Rectangle 23">
            <a:extLst>
              <a:ext uri="{FF2B5EF4-FFF2-40B4-BE49-F238E27FC236}">
                <a16:creationId xmlns:a16="http://schemas.microsoft.com/office/drawing/2014/main" id="{0091B6A4-040D-CB0C-0805-3F76BCA274A4}"/>
              </a:ext>
            </a:extLst>
          </p:cNvPr>
          <p:cNvSpPr/>
          <p:nvPr/>
        </p:nvSpPr>
        <p:spPr>
          <a:xfrm>
            <a:off x="2278061" y="4963155"/>
            <a:ext cx="2032000" cy="561517"/>
          </a:xfrm>
          <a:prstGeom prst="snip2DiagRect">
            <a:avLst>
              <a:gd name="adj1" fmla="val 0"/>
              <a:gd name="adj2" fmla="val 28663"/>
            </a:avLst>
          </a:prstGeom>
          <a:pattFill prst="pct20">
            <a:fgClr>
              <a:srgbClr val="008086"/>
            </a:fgClr>
            <a:bgClr>
              <a:schemeClr val="tx1"/>
            </a:bgClr>
          </a:pattFill>
          <a:ln w="6350" cap="flat">
            <a:solidFill>
              <a:schemeClr val="accent3"/>
            </a:solidFill>
            <a:prstDash val="solid"/>
            <a:miter/>
          </a:ln>
          <a:effectLst>
            <a:innerShdw blurRad="190500">
              <a:schemeClr val="accent3"/>
            </a:inn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OTHMA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ASSADI</a:t>
            </a:r>
            <a:endParaRPr kumimoji="0" lang="en-LT"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sp>
        <p:nvSpPr>
          <p:cNvPr id="2" name="Subtitle">
            <a:extLst>
              <a:ext uri="{FF2B5EF4-FFF2-40B4-BE49-F238E27FC236}">
                <a16:creationId xmlns:a16="http://schemas.microsoft.com/office/drawing/2014/main" id="{23876867-EBCE-4B12-F515-A4AA93CFAEB0}"/>
              </a:ext>
            </a:extLst>
          </p:cNvPr>
          <p:cNvSpPr txBox="1"/>
          <p:nvPr/>
        </p:nvSpPr>
        <p:spPr>
          <a:xfrm>
            <a:off x="1361531" y="4109690"/>
            <a:ext cx="3924037" cy="398827"/>
          </a:xfrm>
          <a:prstGeom prst="rect">
            <a:avLst/>
          </a:prstGeom>
          <a:noFill/>
        </p:spPr>
        <p:txBody>
          <a:bodyPr wrap="square" lIns="0" rtlCol="0">
            <a:spAutoFit/>
          </a:bodyPr>
          <a:lstStyle>
            <a:defPPr>
              <a:defRPr lang="en-LT"/>
            </a:defPPr>
            <a:lvl1pPr>
              <a:lnSpc>
                <a:spcPct val="80000"/>
              </a:lnSpc>
              <a:defRPr sz="5000" b="1" spc="300">
                <a:gradFill flip="none" rotWithShape="1">
                  <a:gsLst>
                    <a:gs pos="0">
                      <a:schemeClr val="accent5"/>
                    </a:gs>
                    <a:gs pos="41000">
                      <a:schemeClr val="accent2"/>
                    </a:gs>
                    <a:gs pos="85000">
                      <a:schemeClr val="accent3"/>
                    </a:gs>
                  </a:gsLst>
                  <a:lin ang="0" scaled="1"/>
                  <a:tileRect/>
                </a:gradFill>
                <a:latin typeface="Nunito Sans ExtraBold" pitchFamily="2" charset="77"/>
                <a:ea typeface="Open Sans Extrabold" panose="020B0606030504020204" pitchFamily="34" charset="0"/>
                <a:cs typeface="Open Sans Extrabold" panose="020B0606030504020204" pitchFamily="34" charset="0"/>
              </a:defRPr>
            </a:lvl1pPr>
          </a:lstStyle>
          <a:p>
            <a:pPr lvl="0">
              <a:lnSpc>
                <a:spcPct val="150000"/>
              </a:lnSpc>
              <a:defRPr/>
            </a:pPr>
            <a:r>
              <a:rPr lang="en-GB" sz="700" b="0" spc="110" dirty="0">
                <a:solidFill>
                  <a:srgbClr val="000000"/>
                </a:solidFill>
                <a:latin typeface="Michroma" pitchFamily="2" charset="0"/>
                <a:ea typeface="Roboto" panose="02000000000000000000" pitchFamily="2" charset="0"/>
                <a:cs typeface="Urbanist Light" panose="020B0A04040200000203" pitchFamily="34" charset="77"/>
              </a:rPr>
              <a:t>"Git  </a:t>
            </a:r>
            <a:r>
              <a:rPr lang="en-GB" sz="700" b="0" spc="110" dirty="0" err="1">
                <a:solidFill>
                  <a:srgbClr val="000000"/>
                </a:solidFill>
                <a:latin typeface="Michroma" pitchFamily="2" charset="0"/>
                <a:ea typeface="Roboto" panose="02000000000000000000" pitchFamily="2" charset="0"/>
                <a:cs typeface="Urbanist Light" panose="020B0A04040200000203" pitchFamily="34" charset="77"/>
              </a:rPr>
              <a:t>créé</a:t>
            </a:r>
            <a:r>
              <a:rPr lang="en-GB" sz="700" b="0" spc="110" dirty="0">
                <a:solidFill>
                  <a:srgbClr val="000000"/>
                </a:solidFill>
                <a:latin typeface="Michroma" pitchFamily="2" charset="0"/>
                <a:ea typeface="Roboto" panose="02000000000000000000" pitchFamily="2" charset="0"/>
                <a:cs typeface="Urbanist Light" panose="020B0A04040200000203" pitchFamily="34" charset="77"/>
              </a:rPr>
              <a:t> par Linus Torvalds </a:t>
            </a:r>
            <a:r>
              <a:rPr lang="en-GB" sz="700" b="0" spc="110" dirty="0" err="1">
                <a:solidFill>
                  <a:srgbClr val="000000"/>
                </a:solidFill>
                <a:latin typeface="Michroma" pitchFamily="2" charset="0"/>
                <a:ea typeface="Roboto" panose="02000000000000000000" pitchFamily="2" charset="0"/>
                <a:cs typeface="Urbanist Light" panose="020B0A04040200000203" pitchFamily="34" charset="77"/>
              </a:rPr>
              <a:t>en</a:t>
            </a:r>
            <a:r>
              <a:rPr lang="en-GB" sz="700" b="0" spc="110" dirty="0">
                <a:solidFill>
                  <a:srgbClr val="000000"/>
                </a:solidFill>
                <a:latin typeface="Michroma" pitchFamily="2" charset="0"/>
                <a:ea typeface="Roboto" panose="02000000000000000000" pitchFamily="2" charset="0"/>
                <a:cs typeface="Urbanist Light" panose="020B0A04040200000203" pitchFamily="34" charset="77"/>
              </a:rPr>
              <a:t> 2005, </a:t>
            </a:r>
            <a:r>
              <a:rPr lang="en-GB" sz="700" b="0" spc="110" dirty="0" err="1">
                <a:solidFill>
                  <a:srgbClr val="000000"/>
                </a:solidFill>
                <a:latin typeface="Michroma" pitchFamily="2" charset="0"/>
                <a:ea typeface="Roboto" panose="02000000000000000000" pitchFamily="2" charset="0"/>
                <a:cs typeface="Urbanist Light" panose="020B0A04040200000203" pitchFamily="34" charset="77"/>
              </a:rPr>
              <a:t>tandis</a:t>
            </a:r>
            <a:r>
              <a:rPr lang="en-GB" sz="700" b="0" spc="110" dirty="0">
                <a:solidFill>
                  <a:srgbClr val="000000"/>
                </a:solidFill>
                <a:latin typeface="Michroma" pitchFamily="2" charset="0"/>
                <a:ea typeface="Roboto" panose="02000000000000000000" pitchFamily="2" charset="0"/>
                <a:cs typeface="Urbanist Light" panose="020B0A04040200000203" pitchFamily="34" charset="77"/>
              </a:rPr>
              <a:t> que GitHub  </a:t>
            </a:r>
            <a:r>
              <a:rPr lang="en-GB" sz="700" b="0" spc="110" dirty="0" err="1">
                <a:solidFill>
                  <a:srgbClr val="000000"/>
                </a:solidFill>
                <a:latin typeface="Michroma" pitchFamily="2" charset="0"/>
                <a:ea typeface="Roboto" panose="02000000000000000000" pitchFamily="2" charset="0"/>
                <a:cs typeface="Urbanist Light" panose="020B0A04040200000203" pitchFamily="34" charset="77"/>
              </a:rPr>
              <a:t>créée</a:t>
            </a:r>
            <a:r>
              <a:rPr lang="en-GB" sz="700" b="0" spc="110" dirty="0">
                <a:solidFill>
                  <a:srgbClr val="000000"/>
                </a:solidFill>
                <a:latin typeface="Michroma" pitchFamily="2" charset="0"/>
                <a:ea typeface="Roboto" panose="02000000000000000000" pitchFamily="2" charset="0"/>
                <a:cs typeface="Urbanist Light" panose="020B0A04040200000203" pitchFamily="34" charset="77"/>
              </a:rPr>
              <a:t> </a:t>
            </a:r>
            <a:r>
              <a:rPr lang="en-GB" sz="700" b="0" spc="110" dirty="0" err="1">
                <a:solidFill>
                  <a:srgbClr val="000000"/>
                </a:solidFill>
                <a:latin typeface="Michroma" pitchFamily="2" charset="0"/>
                <a:ea typeface="Roboto" panose="02000000000000000000" pitchFamily="2" charset="0"/>
                <a:cs typeface="Urbanist Light" panose="020B0A04040200000203" pitchFamily="34" charset="77"/>
              </a:rPr>
              <a:t>en</a:t>
            </a:r>
            <a:r>
              <a:rPr lang="en-GB" sz="700" b="0" spc="110" dirty="0">
                <a:solidFill>
                  <a:srgbClr val="000000"/>
                </a:solidFill>
                <a:latin typeface="Michroma" pitchFamily="2" charset="0"/>
                <a:ea typeface="Roboto" panose="02000000000000000000" pitchFamily="2" charset="0"/>
                <a:cs typeface="Urbanist Light" panose="020B0A04040200000203" pitchFamily="34" charset="77"/>
              </a:rPr>
              <a:t> 2008 par Tom Preston-Werner, Chris </a:t>
            </a:r>
            <a:r>
              <a:rPr lang="en-GB" sz="700" b="0" spc="110" dirty="0" err="1">
                <a:solidFill>
                  <a:srgbClr val="000000"/>
                </a:solidFill>
                <a:latin typeface="Michroma" pitchFamily="2" charset="0"/>
                <a:ea typeface="Roboto" panose="02000000000000000000" pitchFamily="2" charset="0"/>
                <a:cs typeface="Urbanist Light" panose="020B0A04040200000203" pitchFamily="34" charset="77"/>
              </a:rPr>
              <a:t>Wanstrath</a:t>
            </a:r>
            <a:r>
              <a:rPr lang="en-GB" sz="700" b="0" spc="110" dirty="0">
                <a:solidFill>
                  <a:srgbClr val="000000"/>
                </a:solidFill>
                <a:latin typeface="Michroma" pitchFamily="2" charset="0"/>
                <a:ea typeface="Roboto" panose="02000000000000000000" pitchFamily="2" charset="0"/>
                <a:cs typeface="Urbanist Light" panose="020B0A04040200000203" pitchFamily="34" charset="77"/>
              </a:rPr>
              <a:t>, et PJ Hyett."</a:t>
            </a:r>
            <a:endParaRPr kumimoji="0" lang="en-LT" sz="700" b="0" i="0" u="none" strike="noStrike" kern="1200" cap="none" spc="110" normalizeH="0" baseline="0" noProof="0" dirty="0">
              <a:ln>
                <a:noFill/>
              </a:ln>
              <a:solidFill>
                <a:srgbClr val="000000"/>
              </a:solidFill>
              <a:effectLst/>
              <a:uLnTx/>
              <a:uFillTx/>
              <a:latin typeface="Michroma" pitchFamily="2" charset="0"/>
              <a:ea typeface="Roboto" panose="02000000000000000000" pitchFamily="2" charset="0"/>
              <a:cs typeface="Urbanist Light" panose="020B0A04040200000203" pitchFamily="34" charset="77"/>
            </a:endParaRPr>
          </a:p>
        </p:txBody>
      </p:sp>
      <p:sp>
        <p:nvSpPr>
          <p:cNvPr id="48" name="Subtitle">
            <a:extLst>
              <a:ext uri="{FF2B5EF4-FFF2-40B4-BE49-F238E27FC236}">
                <a16:creationId xmlns:a16="http://schemas.microsoft.com/office/drawing/2014/main" id="{0F267CBB-AC56-410E-FD4A-8530F7FAD7BD}"/>
              </a:ext>
            </a:extLst>
          </p:cNvPr>
          <p:cNvSpPr txBox="1"/>
          <p:nvPr/>
        </p:nvSpPr>
        <p:spPr>
          <a:xfrm>
            <a:off x="1352815" y="517713"/>
            <a:ext cx="3461745" cy="195823"/>
          </a:xfrm>
          <a:prstGeom prst="rect">
            <a:avLst/>
          </a:prstGeom>
          <a:noFill/>
        </p:spPr>
        <p:txBody>
          <a:bodyPr wrap="square" lIns="0" rtlCol="0">
            <a:spAutoFit/>
          </a:bodyPr>
          <a:lstStyle>
            <a:defPPr>
              <a:defRPr lang="en-LT"/>
            </a:defPPr>
            <a:lvl1pPr marR="0" lvl="0" indent="0" fontAlgn="auto">
              <a:lnSpc>
                <a:spcPct val="150000"/>
              </a:lnSpc>
              <a:spcBef>
                <a:spcPts val="0"/>
              </a:spcBef>
              <a:spcAft>
                <a:spcPts val="0"/>
              </a:spcAft>
              <a:buClrTx/>
              <a:buSzTx/>
              <a:buFontTx/>
              <a:buNone/>
              <a:tabLst/>
              <a:defRPr kumimoji="0" sz="800" b="0" u="none" strike="noStrike" cap="none" spc="110" normalizeH="0">
                <a:ln>
                  <a:noFill/>
                </a:ln>
                <a:solidFill>
                  <a:srgbClr val="FFFFFF"/>
                </a:solidFill>
                <a:uLnTx/>
                <a:uFillTx/>
                <a:latin typeface="Michroma" pitchFamily="2" charset="0"/>
                <a:ea typeface="Roboto" panose="02000000000000000000" pitchFamily="2" charset="0"/>
                <a:cs typeface="Urbanist Light" panose="020B0A04040200000203" pitchFamily="34" charset="77"/>
              </a:defRPr>
            </a:lvl1pPr>
          </a:lstStyle>
          <a:p>
            <a:pPr lvl="0">
              <a:defRPr/>
            </a:pPr>
            <a:r>
              <a:rPr lang="en-GB" sz="500" dirty="0"/>
              <a:t>GIT // REPOSITOIRES // TARIFICATION // COLLABORATEURS</a:t>
            </a:r>
          </a:p>
        </p:txBody>
      </p:sp>
      <p:grpSp>
        <p:nvGrpSpPr>
          <p:cNvPr id="1051" name="PART 2">
            <a:extLst>
              <a:ext uri="{FF2B5EF4-FFF2-40B4-BE49-F238E27FC236}">
                <a16:creationId xmlns:a16="http://schemas.microsoft.com/office/drawing/2014/main" id="{0DE89BEB-9FDF-FD01-F421-C9AD56505E69}"/>
              </a:ext>
            </a:extLst>
          </p:cNvPr>
          <p:cNvGrpSpPr/>
          <p:nvPr/>
        </p:nvGrpSpPr>
        <p:grpSpPr>
          <a:xfrm>
            <a:off x="3255579" y="2297360"/>
            <a:ext cx="2492434" cy="830997"/>
            <a:chOff x="3255579" y="2297360"/>
            <a:chExt cx="2492434" cy="830997"/>
          </a:xfrm>
        </p:grpSpPr>
        <p:sp>
          <p:nvSpPr>
            <p:cNvPr id="1036" name="TextBox 1035">
              <a:extLst>
                <a:ext uri="{FF2B5EF4-FFF2-40B4-BE49-F238E27FC236}">
                  <a16:creationId xmlns:a16="http://schemas.microsoft.com/office/drawing/2014/main" id="{6174ED5A-C98C-FD86-3842-B3CC94D7B8B7}"/>
                </a:ext>
              </a:extLst>
            </p:cNvPr>
            <p:cNvSpPr txBox="1"/>
            <p:nvPr/>
          </p:nvSpPr>
          <p:spPr>
            <a:xfrm>
              <a:off x="4559650" y="2486173"/>
              <a:ext cx="304229" cy="458413"/>
            </a:xfrm>
            <a:custGeom>
              <a:avLst/>
              <a:gdLst/>
              <a:ahLst/>
              <a:cxnLst/>
              <a:rect l="l" t="t" r="r" b="b"/>
              <a:pathLst>
                <a:path w="4309209" h="6493127">
                  <a:moveTo>
                    <a:pt x="62776" y="0"/>
                  </a:moveTo>
                  <a:cubicBezTo>
                    <a:pt x="912770" y="5364"/>
                    <a:pt x="1646186" y="98562"/>
                    <a:pt x="2263023" y="279595"/>
                  </a:cubicBezTo>
                  <a:cubicBezTo>
                    <a:pt x="2920982" y="472696"/>
                    <a:pt x="3425641" y="806358"/>
                    <a:pt x="3777001" y="1280580"/>
                  </a:cubicBezTo>
                  <a:cubicBezTo>
                    <a:pt x="4128361" y="1754802"/>
                    <a:pt x="4305762" y="2410209"/>
                    <a:pt x="4309206" y="3246800"/>
                  </a:cubicBezTo>
                  <a:cubicBezTo>
                    <a:pt x="4310069" y="4066178"/>
                    <a:pt x="4152051" y="4713485"/>
                    <a:pt x="3835150" y="5188719"/>
                  </a:cubicBezTo>
                  <a:cubicBezTo>
                    <a:pt x="3518250" y="5663954"/>
                    <a:pt x="3037286" y="6001666"/>
                    <a:pt x="2392257" y="6201854"/>
                  </a:cubicBezTo>
                  <a:cubicBezTo>
                    <a:pt x="1827856" y="6377020"/>
                    <a:pt x="1133877" y="6473346"/>
                    <a:pt x="310320" y="6490834"/>
                  </a:cubicBezTo>
                  <a:lnTo>
                    <a:pt x="0" y="6493127"/>
                  </a:lnTo>
                  <a:lnTo>
                    <a:pt x="0" y="4824262"/>
                  </a:lnTo>
                  <a:lnTo>
                    <a:pt x="197815" y="4819833"/>
                  </a:lnTo>
                  <a:cubicBezTo>
                    <a:pt x="714688" y="4793827"/>
                    <a:pt x="1128937" y="4669066"/>
                    <a:pt x="1440562" y="4445550"/>
                  </a:cubicBezTo>
                  <a:cubicBezTo>
                    <a:pt x="1796704" y="4190103"/>
                    <a:pt x="1978161" y="3790519"/>
                    <a:pt x="1984935" y="3246800"/>
                  </a:cubicBezTo>
                  <a:cubicBezTo>
                    <a:pt x="1974527" y="2718542"/>
                    <a:pt x="1783550" y="2323376"/>
                    <a:pt x="1412002" y="2061303"/>
                  </a:cubicBezTo>
                  <a:cubicBezTo>
                    <a:pt x="1086898" y="1831988"/>
                    <a:pt x="671355" y="1703120"/>
                    <a:pt x="165374" y="1674698"/>
                  </a:cubicBezTo>
                  <a:lnTo>
                    <a:pt x="0" y="1670212"/>
                  </a:lnTo>
                  <a:lnTo>
                    <a:pt x="0" y="36"/>
                  </a:lnTo>
                  <a:close/>
                </a:path>
              </a:pathLst>
            </a:custGeom>
            <a:solidFill>
              <a:srgbClr val="00F1FF"/>
            </a:solidFill>
            <a:ln w="25400">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1400" b="0" i="0" u="none" strike="noStrike" kern="1200" cap="none" spc="100" normalizeH="0" baseline="0" noProof="0" dirty="0">
                <a:ln w="25400">
                  <a:noFill/>
                </a:ln>
                <a:solidFill>
                  <a:srgbClr val="00F1FF"/>
                </a:solidFill>
                <a:effectLst/>
                <a:uLnTx/>
                <a:uFillTx/>
                <a:latin typeface="Hanson" pitchFamily="50" charset="0"/>
                <a:ea typeface="+mn-ea"/>
                <a:cs typeface="+mn-cs"/>
              </a:endParaRPr>
            </a:p>
          </p:txBody>
        </p:sp>
        <p:sp>
          <p:nvSpPr>
            <p:cNvPr id="1037" name="Rectangle 1036">
              <a:extLst>
                <a:ext uri="{FF2B5EF4-FFF2-40B4-BE49-F238E27FC236}">
                  <a16:creationId xmlns:a16="http://schemas.microsoft.com/office/drawing/2014/main" id="{36581006-A801-4761-6BD7-6AB3BF6C34AB}"/>
                </a:ext>
              </a:extLst>
            </p:cNvPr>
            <p:cNvSpPr/>
            <p:nvPr/>
          </p:nvSpPr>
          <p:spPr>
            <a:xfrm>
              <a:off x="3255579" y="2486173"/>
              <a:ext cx="1304072" cy="117930"/>
            </a:xfrm>
            <a:prstGeom prst="rect">
              <a:avLst/>
            </a:prstGeom>
            <a:solidFill>
              <a:srgbClr val="00F1FF"/>
            </a:solidFill>
            <a:ln w="12700" cap="flat">
              <a:noFill/>
              <a:prstDash val="solid"/>
              <a:miter/>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1039" name="Rectangle 1038">
              <a:extLst>
                <a:ext uri="{FF2B5EF4-FFF2-40B4-BE49-F238E27FC236}">
                  <a16:creationId xmlns:a16="http://schemas.microsoft.com/office/drawing/2014/main" id="{01626707-5AF6-4C6E-5A01-917EF5FB2A7C}"/>
                </a:ext>
              </a:extLst>
            </p:cNvPr>
            <p:cNvSpPr/>
            <p:nvPr/>
          </p:nvSpPr>
          <p:spPr>
            <a:xfrm>
              <a:off x="3255579" y="2826656"/>
              <a:ext cx="1304072" cy="117930"/>
            </a:xfrm>
            <a:prstGeom prst="rect">
              <a:avLst/>
            </a:prstGeom>
            <a:solidFill>
              <a:srgbClr val="00F1FF"/>
            </a:solidFill>
            <a:ln w="12700" cap="flat">
              <a:noFill/>
              <a:prstDash val="solid"/>
              <a:miter/>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1050" name="TextBox 1049">
              <a:extLst>
                <a:ext uri="{FF2B5EF4-FFF2-40B4-BE49-F238E27FC236}">
                  <a16:creationId xmlns:a16="http://schemas.microsoft.com/office/drawing/2014/main" id="{123CF19F-8F78-390D-4B8A-89BDAE93239F}"/>
                </a:ext>
              </a:extLst>
            </p:cNvPr>
            <p:cNvSpPr txBox="1"/>
            <p:nvPr/>
          </p:nvSpPr>
          <p:spPr>
            <a:xfrm>
              <a:off x="4887200" y="2297360"/>
              <a:ext cx="860813" cy="830997"/>
            </a:xfrm>
            <a:prstGeom prst="rect">
              <a:avLst/>
            </a:prstGeom>
            <a:noFill/>
            <a:ln w="6350" cap="rnd">
              <a:noFill/>
              <a:round/>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spAutoFit/>
            </a:bodyPr>
            <a:lstStyle/>
            <a:p>
              <a:pPr lvl="0">
                <a:defRPr/>
              </a:pPr>
              <a:r>
                <a:rPr lang="en-US" sz="5400" b="1" spc="100" dirty="0">
                  <a:ln w="25400">
                    <a:noFill/>
                  </a:ln>
                  <a:solidFill>
                    <a:srgbClr val="00F1FF"/>
                  </a:solidFill>
                  <a:effectLst>
                    <a:outerShdw blurRad="1270000" algn="ctr" rotWithShape="0">
                      <a:srgbClr val="00F1FF"/>
                    </a:outerShdw>
                  </a:effectLst>
                  <a:latin typeface="Forte" panose="03060902040502070203" pitchFamily="66" charset="0"/>
                </a:rPr>
                <a:t>UI</a:t>
              </a:r>
              <a:endParaRPr kumimoji="0" lang="en-GB" sz="5400" b="1" i="0" u="none" strike="noStrike" kern="1200" cap="none" spc="100" normalizeH="0" baseline="0" noProof="0" dirty="0">
                <a:ln w="25400">
                  <a:noFill/>
                </a:ln>
                <a:solidFill>
                  <a:srgbClr val="00F1FF"/>
                </a:solidFill>
                <a:effectLst>
                  <a:outerShdw blurRad="1270000" algn="ctr" rotWithShape="0">
                    <a:srgbClr val="00F1FF"/>
                  </a:outerShdw>
                </a:effectLst>
                <a:uLnTx/>
                <a:uFillTx/>
                <a:latin typeface="Forte" panose="03060902040502070203" pitchFamily="66" charset="0"/>
                <a:ea typeface="+mn-ea"/>
                <a:cs typeface="+mn-cs"/>
              </a:endParaRPr>
            </a:p>
          </p:txBody>
        </p:sp>
      </p:grpSp>
      <p:sp>
        <p:nvSpPr>
          <p:cNvPr id="1040" name="TextBox 1039">
            <a:extLst>
              <a:ext uri="{FF2B5EF4-FFF2-40B4-BE49-F238E27FC236}">
                <a16:creationId xmlns:a16="http://schemas.microsoft.com/office/drawing/2014/main" id="{B9E8D04F-3234-D223-0F8F-6DB8F62D2A04}"/>
              </a:ext>
            </a:extLst>
          </p:cNvPr>
          <p:cNvSpPr txBox="1"/>
          <p:nvPr/>
        </p:nvSpPr>
        <p:spPr>
          <a:xfrm flipH="1">
            <a:off x="2951349" y="2486173"/>
            <a:ext cx="304229" cy="458413"/>
          </a:xfrm>
          <a:custGeom>
            <a:avLst/>
            <a:gdLst/>
            <a:ahLst/>
            <a:cxnLst/>
            <a:rect l="l" t="t" r="r" b="b"/>
            <a:pathLst>
              <a:path w="4309209" h="6493127">
                <a:moveTo>
                  <a:pt x="62776" y="0"/>
                </a:moveTo>
                <a:cubicBezTo>
                  <a:pt x="912770" y="5364"/>
                  <a:pt x="1646186" y="98562"/>
                  <a:pt x="2263023" y="279595"/>
                </a:cubicBezTo>
                <a:cubicBezTo>
                  <a:pt x="2920982" y="472696"/>
                  <a:pt x="3425641" y="806358"/>
                  <a:pt x="3777001" y="1280580"/>
                </a:cubicBezTo>
                <a:cubicBezTo>
                  <a:pt x="4128361" y="1754802"/>
                  <a:pt x="4305762" y="2410209"/>
                  <a:pt x="4309206" y="3246800"/>
                </a:cubicBezTo>
                <a:cubicBezTo>
                  <a:pt x="4310069" y="4066178"/>
                  <a:pt x="4152051" y="4713485"/>
                  <a:pt x="3835150" y="5188719"/>
                </a:cubicBezTo>
                <a:cubicBezTo>
                  <a:pt x="3518250" y="5663954"/>
                  <a:pt x="3037286" y="6001666"/>
                  <a:pt x="2392257" y="6201854"/>
                </a:cubicBezTo>
                <a:cubicBezTo>
                  <a:pt x="1827856" y="6377020"/>
                  <a:pt x="1133877" y="6473346"/>
                  <a:pt x="310320" y="6490834"/>
                </a:cubicBezTo>
                <a:lnTo>
                  <a:pt x="0" y="6493127"/>
                </a:lnTo>
                <a:lnTo>
                  <a:pt x="0" y="4824262"/>
                </a:lnTo>
                <a:lnTo>
                  <a:pt x="197815" y="4819833"/>
                </a:lnTo>
                <a:cubicBezTo>
                  <a:pt x="714688" y="4793827"/>
                  <a:pt x="1128937" y="4669066"/>
                  <a:pt x="1440562" y="4445550"/>
                </a:cubicBezTo>
                <a:cubicBezTo>
                  <a:pt x="1796704" y="4190103"/>
                  <a:pt x="1978161" y="3790519"/>
                  <a:pt x="1984935" y="3246800"/>
                </a:cubicBezTo>
                <a:cubicBezTo>
                  <a:pt x="1974527" y="2718542"/>
                  <a:pt x="1783550" y="2323376"/>
                  <a:pt x="1412002" y="2061303"/>
                </a:cubicBezTo>
                <a:cubicBezTo>
                  <a:pt x="1086898" y="1831988"/>
                  <a:pt x="671355" y="1703120"/>
                  <a:pt x="165374" y="1674698"/>
                </a:cubicBezTo>
                <a:lnTo>
                  <a:pt x="0" y="1670212"/>
                </a:lnTo>
                <a:lnTo>
                  <a:pt x="0" y="36"/>
                </a:lnTo>
                <a:close/>
              </a:path>
            </a:pathLst>
          </a:custGeom>
          <a:solidFill>
            <a:srgbClr val="00F1FF"/>
          </a:solidFill>
          <a:ln w="25400">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1400" b="0" i="0" u="none" strike="noStrike" kern="1200" cap="none" spc="100" normalizeH="0" baseline="0" noProof="0" dirty="0">
              <a:ln w="25400">
                <a:noFill/>
              </a:ln>
              <a:solidFill>
                <a:srgbClr val="00F1FF"/>
              </a:solidFill>
              <a:effectLst/>
              <a:uLnTx/>
              <a:uFillTx/>
              <a:latin typeface="Hanson" pitchFamily="50" charset="0"/>
              <a:ea typeface="+mn-ea"/>
              <a:cs typeface="+mn-cs"/>
            </a:endParaRPr>
          </a:p>
        </p:txBody>
      </p:sp>
      <p:grpSp>
        <p:nvGrpSpPr>
          <p:cNvPr id="49" name="PART 1">
            <a:extLst>
              <a:ext uri="{FF2B5EF4-FFF2-40B4-BE49-F238E27FC236}">
                <a16:creationId xmlns:a16="http://schemas.microsoft.com/office/drawing/2014/main" id="{86376183-C958-08FA-C1E9-39FDFFD23A4E}"/>
              </a:ext>
            </a:extLst>
          </p:cNvPr>
          <p:cNvGrpSpPr/>
          <p:nvPr/>
        </p:nvGrpSpPr>
        <p:grpSpPr>
          <a:xfrm>
            <a:off x="1347451" y="2343526"/>
            <a:ext cx="1908127" cy="738664"/>
            <a:chOff x="1347451" y="2343526"/>
            <a:chExt cx="1908127" cy="738664"/>
          </a:xfrm>
        </p:grpSpPr>
        <p:sp>
          <p:nvSpPr>
            <p:cNvPr id="52" name="TextBox 51">
              <a:extLst>
                <a:ext uri="{FF2B5EF4-FFF2-40B4-BE49-F238E27FC236}">
                  <a16:creationId xmlns:a16="http://schemas.microsoft.com/office/drawing/2014/main" id="{AEF07BFA-6CC8-6E5C-9105-C6D2F42273E4}"/>
                </a:ext>
              </a:extLst>
            </p:cNvPr>
            <p:cNvSpPr txBox="1"/>
            <p:nvPr/>
          </p:nvSpPr>
          <p:spPr>
            <a:xfrm>
              <a:off x="1347451" y="2343526"/>
              <a:ext cx="65" cy="738664"/>
            </a:xfrm>
            <a:prstGeom prst="rect">
              <a:avLst/>
            </a:prstGeom>
            <a:noFill/>
            <a:ln w="6350" cap="rnd">
              <a:noFill/>
              <a:round/>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800" b="0" i="0" u="none" strike="noStrike" kern="1200" cap="none" spc="100" normalizeH="0" baseline="0" noProof="0" dirty="0">
                <a:ln w="25400">
                  <a:noFill/>
                </a:ln>
                <a:solidFill>
                  <a:srgbClr val="00F1FF"/>
                </a:solidFill>
                <a:effectLst>
                  <a:outerShdw blurRad="1270000" algn="ctr" rotWithShape="0">
                    <a:srgbClr val="00F1FF"/>
                  </a:outerShdw>
                </a:effectLst>
                <a:uLnTx/>
                <a:uFillTx/>
                <a:latin typeface="Hanson" pitchFamily="50" charset="0"/>
                <a:ea typeface="+mn-ea"/>
                <a:cs typeface="+mn-cs"/>
              </a:endParaRPr>
            </a:p>
          </p:txBody>
        </p:sp>
        <p:sp>
          <p:nvSpPr>
            <p:cNvPr id="53" name="TextBox 52">
              <a:extLst>
                <a:ext uri="{FF2B5EF4-FFF2-40B4-BE49-F238E27FC236}">
                  <a16:creationId xmlns:a16="http://schemas.microsoft.com/office/drawing/2014/main" id="{036EAD6E-3FD0-78D3-A94D-2A6A7A92FF06}"/>
                </a:ext>
              </a:extLst>
            </p:cNvPr>
            <p:cNvSpPr txBox="1"/>
            <p:nvPr/>
          </p:nvSpPr>
          <p:spPr>
            <a:xfrm flipH="1">
              <a:off x="2951349" y="2486173"/>
              <a:ext cx="304229" cy="458413"/>
            </a:xfrm>
            <a:custGeom>
              <a:avLst/>
              <a:gdLst/>
              <a:ahLst/>
              <a:cxnLst/>
              <a:rect l="l" t="t" r="r" b="b"/>
              <a:pathLst>
                <a:path w="4309209" h="6493127">
                  <a:moveTo>
                    <a:pt x="62776" y="0"/>
                  </a:moveTo>
                  <a:cubicBezTo>
                    <a:pt x="912770" y="5364"/>
                    <a:pt x="1646186" y="98562"/>
                    <a:pt x="2263023" y="279595"/>
                  </a:cubicBezTo>
                  <a:cubicBezTo>
                    <a:pt x="2920982" y="472696"/>
                    <a:pt x="3425641" y="806358"/>
                    <a:pt x="3777001" y="1280580"/>
                  </a:cubicBezTo>
                  <a:cubicBezTo>
                    <a:pt x="4128361" y="1754802"/>
                    <a:pt x="4305762" y="2410209"/>
                    <a:pt x="4309206" y="3246800"/>
                  </a:cubicBezTo>
                  <a:cubicBezTo>
                    <a:pt x="4310069" y="4066178"/>
                    <a:pt x="4152051" y="4713485"/>
                    <a:pt x="3835150" y="5188719"/>
                  </a:cubicBezTo>
                  <a:cubicBezTo>
                    <a:pt x="3518250" y="5663954"/>
                    <a:pt x="3037286" y="6001666"/>
                    <a:pt x="2392257" y="6201854"/>
                  </a:cubicBezTo>
                  <a:cubicBezTo>
                    <a:pt x="1827856" y="6377020"/>
                    <a:pt x="1133877" y="6473346"/>
                    <a:pt x="310320" y="6490834"/>
                  </a:cubicBezTo>
                  <a:lnTo>
                    <a:pt x="0" y="6493127"/>
                  </a:lnTo>
                  <a:lnTo>
                    <a:pt x="0" y="4824262"/>
                  </a:lnTo>
                  <a:lnTo>
                    <a:pt x="197815" y="4819833"/>
                  </a:lnTo>
                  <a:cubicBezTo>
                    <a:pt x="714688" y="4793827"/>
                    <a:pt x="1128937" y="4669066"/>
                    <a:pt x="1440562" y="4445550"/>
                  </a:cubicBezTo>
                  <a:cubicBezTo>
                    <a:pt x="1796704" y="4190103"/>
                    <a:pt x="1978161" y="3790519"/>
                    <a:pt x="1984935" y="3246800"/>
                  </a:cubicBezTo>
                  <a:cubicBezTo>
                    <a:pt x="1974527" y="2718542"/>
                    <a:pt x="1783550" y="2323376"/>
                    <a:pt x="1412002" y="2061303"/>
                  </a:cubicBezTo>
                  <a:cubicBezTo>
                    <a:pt x="1086898" y="1831988"/>
                    <a:pt x="671355" y="1703120"/>
                    <a:pt x="165374" y="1674698"/>
                  </a:cubicBezTo>
                  <a:lnTo>
                    <a:pt x="0" y="1670212"/>
                  </a:lnTo>
                  <a:lnTo>
                    <a:pt x="0" y="36"/>
                  </a:lnTo>
                  <a:close/>
                </a:path>
              </a:pathLst>
            </a:custGeom>
            <a:solidFill>
              <a:srgbClr val="00F1FF"/>
            </a:solidFill>
            <a:ln w="25400">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1400" b="0" i="0" u="none" strike="noStrike" kern="1200" cap="none" spc="100" normalizeH="0" baseline="0" noProof="0" dirty="0">
                <a:ln w="25400">
                  <a:noFill/>
                </a:ln>
                <a:solidFill>
                  <a:srgbClr val="00F1FF"/>
                </a:solidFill>
                <a:effectLst/>
                <a:uLnTx/>
                <a:uFillTx/>
                <a:latin typeface="Hanson" pitchFamily="50" charset="0"/>
                <a:ea typeface="+mn-ea"/>
                <a:cs typeface="+mn-cs"/>
              </a:endParaRPr>
            </a:p>
          </p:txBody>
        </p:sp>
      </p:grpSp>
      <p:grpSp>
        <p:nvGrpSpPr>
          <p:cNvPr id="3" name="Group 2">
            <a:extLst>
              <a:ext uri="{FF2B5EF4-FFF2-40B4-BE49-F238E27FC236}">
                <a16:creationId xmlns:a16="http://schemas.microsoft.com/office/drawing/2014/main" id="{782010DD-EE95-F63D-982F-6B7C85BD7482}"/>
              </a:ext>
            </a:extLst>
          </p:cNvPr>
          <p:cNvGrpSpPr/>
          <p:nvPr/>
        </p:nvGrpSpPr>
        <p:grpSpPr>
          <a:xfrm>
            <a:off x="6650657" y="1117694"/>
            <a:ext cx="3916181" cy="4887438"/>
            <a:chOff x="6985210" y="1117694"/>
            <a:chExt cx="3916181" cy="4887438"/>
          </a:xfrm>
        </p:grpSpPr>
        <p:sp useBgFill="1">
          <p:nvSpPr>
            <p:cNvPr id="42" name="Snip Diagonal Corner of Rectangle 23">
              <a:extLst>
                <a:ext uri="{FF2B5EF4-FFF2-40B4-BE49-F238E27FC236}">
                  <a16:creationId xmlns:a16="http://schemas.microsoft.com/office/drawing/2014/main" id="{F859325A-4DA3-B729-6F6E-1D43767FD7FD}"/>
                </a:ext>
              </a:extLst>
            </p:cNvPr>
            <p:cNvSpPr>
              <a:spLocks/>
            </p:cNvSpPr>
            <p:nvPr/>
          </p:nvSpPr>
          <p:spPr>
            <a:xfrm>
              <a:off x="7111999" y="1248953"/>
              <a:ext cx="3669347" cy="4625527"/>
            </a:xfrm>
            <a:prstGeom prst="snip2DiagRect">
              <a:avLst>
                <a:gd name="adj1" fmla="val 0"/>
                <a:gd name="adj2" fmla="val 10391"/>
              </a:avLst>
            </a:prstGeom>
            <a:ln w="12700" cap="flat">
              <a:solidFill>
                <a:schemeClr val="accent3"/>
              </a:solidFill>
              <a:prstDash val="solid"/>
              <a:miter/>
            </a:ln>
            <a:effectLst>
              <a:outerShdw blurRad="1270000" sx="102000" sy="102000" algn="ctr" rotWithShape="0">
                <a:srgbClr val="00F1FF">
                  <a:alpha val="51000"/>
                </a:srgbClr>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000" b="1" i="0" u="none" strike="noStrike" kern="1200" cap="none" spc="0" normalizeH="0" baseline="0" noProof="0" dirty="0">
                <a:ln>
                  <a:noFill/>
                </a:ln>
                <a:solidFill>
                  <a:srgbClr val="FFFFFF"/>
                </a:solidFill>
                <a:effectLst/>
                <a:uLnTx/>
                <a:uFillTx/>
                <a:latin typeface="Hanson" pitchFamily="50" charset="0"/>
                <a:ea typeface="Urbanist Black" panose="020B0A04040200000203" pitchFamily="34" charset="77"/>
                <a:cs typeface="Urbanist Black" panose="020B0A04040200000203" pitchFamily="34" charset="77"/>
              </a:endParaRPr>
            </a:p>
          </p:txBody>
        </p:sp>
        <p:pic>
          <p:nvPicPr>
            <p:cNvPr id="43" name="Picture 42">
              <a:extLst>
                <a:ext uri="{FF2B5EF4-FFF2-40B4-BE49-F238E27FC236}">
                  <a16:creationId xmlns:a16="http://schemas.microsoft.com/office/drawing/2014/main" id="{2C6D77B6-166D-8883-32CC-951110121716}"/>
                </a:ext>
              </a:extLst>
            </p:cNvPr>
            <p:cNvPicPr>
              <a:picLocks noChangeAspect="1"/>
            </p:cNvPicPr>
            <p:nvPr/>
          </p:nvPicPr>
          <p:blipFill rotWithShape="1">
            <a:blip r:embed="rId3"/>
            <a:srcRect l="-11180" t="-22591" r="-11180" b="-22591"/>
            <a:stretch/>
          </p:blipFill>
          <p:spPr>
            <a:xfrm>
              <a:off x="7123082" y="1236621"/>
              <a:ext cx="3669347" cy="4625526"/>
            </a:xfrm>
            <a:prstGeom prst="snip2DiagRect">
              <a:avLst>
                <a:gd name="adj1" fmla="val 0"/>
                <a:gd name="adj2" fmla="val 10761"/>
              </a:avLst>
            </a:prstGeom>
            <a:solidFill>
              <a:schemeClr val="bg2">
                <a:lumMod val="75000"/>
              </a:schemeClr>
            </a:solidFill>
            <a:ln w="12700" cap="flat">
              <a:solidFill>
                <a:schemeClr val="accent3"/>
              </a:solidFill>
              <a:prstDash val="solid"/>
              <a:miter/>
            </a:ln>
            <a:effectLst>
              <a:innerShdw blurRad="927100">
                <a:srgbClr val="00F1FF"/>
              </a:innerShdw>
            </a:effectLst>
          </p:spPr>
        </p:pic>
        <p:sp>
          <p:nvSpPr>
            <p:cNvPr id="44" name="Half Frame 43">
              <a:extLst>
                <a:ext uri="{FF2B5EF4-FFF2-40B4-BE49-F238E27FC236}">
                  <a16:creationId xmlns:a16="http://schemas.microsoft.com/office/drawing/2014/main" id="{9DA77E65-EDC9-A8FA-E8B3-05078650EDE4}"/>
                </a:ext>
              </a:extLst>
            </p:cNvPr>
            <p:cNvSpPr/>
            <p:nvPr/>
          </p:nvSpPr>
          <p:spPr>
            <a:xfrm rot="10800000">
              <a:off x="10428932" y="5536186"/>
              <a:ext cx="468946" cy="468946"/>
            </a:xfrm>
            <a:prstGeom prst="halfFrame">
              <a:avLst>
                <a:gd name="adj1" fmla="val 14564"/>
                <a:gd name="adj2" fmla="val 15607"/>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45" name="Parallelogram 44">
              <a:extLst>
                <a:ext uri="{FF2B5EF4-FFF2-40B4-BE49-F238E27FC236}">
                  <a16:creationId xmlns:a16="http://schemas.microsoft.com/office/drawing/2014/main" id="{D0607DCC-12BF-0196-0A25-796C93F2B75E}"/>
                </a:ext>
              </a:extLst>
            </p:cNvPr>
            <p:cNvSpPr/>
            <p:nvPr/>
          </p:nvSpPr>
          <p:spPr>
            <a:xfrm rot="16200000" flipV="1">
              <a:off x="10665185" y="5318065"/>
              <a:ext cx="397225" cy="75186"/>
            </a:xfrm>
            <a:prstGeom prst="parallelogram">
              <a:avLst>
                <a:gd name="adj" fmla="val 122225"/>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grpSp>
          <p:nvGrpSpPr>
            <p:cNvPr id="47" name="Group 46">
              <a:extLst>
                <a:ext uri="{FF2B5EF4-FFF2-40B4-BE49-F238E27FC236}">
                  <a16:creationId xmlns:a16="http://schemas.microsoft.com/office/drawing/2014/main" id="{5977E714-332A-8891-C85A-4B8569BF4C8B}"/>
                </a:ext>
              </a:extLst>
            </p:cNvPr>
            <p:cNvGrpSpPr/>
            <p:nvPr/>
          </p:nvGrpSpPr>
          <p:grpSpPr>
            <a:xfrm rot="10800000">
              <a:off x="6985210" y="1117694"/>
              <a:ext cx="472459" cy="1084397"/>
              <a:chOff x="10415386" y="4907189"/>
              <a:chExt cx="472459" cy="1084397"/>
            </a:xfrm>
          </p:grpSpPr>
          <p:sp>
            <p:nvSpPr>
              <p:cNvPr id="63" name="Half Frame 62">
                <a:extLst>
                  <a:ext uri="{FF2B5EF4-FFF2-40B4-BE49-F238E27FC236}">
                    <a16:creationId xmlns:a16="http://schemas.microsoft.com/office/drawing/2014/main" id="{09A66F0C-2034-B37A-AAEB-B7DFA57848EC}"/>
                  </a:ext>
                </a:extLst>
              </p:cNvPr>
              <p:cNvSpPr/>
              <p:nvPr/>
            </p:nvSpPr>
            <p:spPr>
              <a:xfrm rot="10800000">
                <a:off x="10415386" y="5522640"/>
                <a:ext cx="468946" cy="468946"/>
              </a:xfrm>
              <a:prstGeom prst="halfFrame">
                <a:avLst>
                  <a:gd name="adj1" fmla="val 14564"/>
                  <a:gd name="adj2" fmla="val 15607"/>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1024" name="Parallelogram 1023">
                <a:extLst>
                  <a:ext uri="{FF2B5EF4-FFF2-40B4-BE49-F238E27FC236}">
                    <a16:creationId xmlns:a16="http://schemas.microsoft.com/office/drawing/2014/main" id="{83A11566-3E62-8AA0-B691-456B3F147349}"/>
                  </a:ext>
                </a:extLst>
              </p:cNvPr>
              <p:cNvSpPr/>
              <p:nvPr/>
            </p:nvSpPr>
            <p:spPr>
              <a:xfrm rot="16200000" flipV="1">
                <a:off x="10536721" y="5183127"/>
                <a:ext cx="627062" cy="75186"/>
              </a:xfrm>
              <a:prstGeom prst="parallelogram">
                <a:avLst>
                  <a:gd name="adj" fmla="val 122225"/>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grpSp>
        <p:grpSp>
          <p:nvGrpSpPr>
            <p:cNvPr id="51" name="Group 50">
              <a:extLst>
                <a:ext uri="{FF2B5EF4-FFF2-40B4-BE49-F238E27FC236}">
                  <a16:creationId xmlns:a16="http://schemas.microsoft.com/office/drawing/2014/main" id="{34B8A838-2F6C-CFFA-C966-D63D470FB069}"/>
                </a:ext>
              </a:extLst>
            </p:cNvPr>
            <p:cNvGrpSpPr/>
            <p:nvPr/>
          </p:nvGrpSpPr>
          <p:grpSpPr>
            <a:xfrm>
              <a:off x="7140579" y="5508461"/>
              <a:ext cx="243602" cy="457736"/>
              <a:chOff x="7151677" y="5506798"/>
              <a:chExt cx="243602" cy="457736"/>
            </a:xfrm>
          </p:grpSpPr>
          <p:sp>
            <p:nvSpPr>
              <p:cNvPr id="61" name="Parallelogram 60">
                <a:extLst>
                  <a:ext uri="{FF2B5EF4-FFF2-40B4-BE49-F238E27FC236}">
                    <a16:creationId xmlns:a16="http://schemas.microsoft.com/office/drawing/2014/main" id="{F59C5E46-4A21-7288-86FA-0D06DC8AC8C1}"/>
                  </a:ext>
                </a:extLst>
              </p:cNvPr>
              <p:cNvSpPr/>
              <p:nvPr/>
            </p:nvSpPr>
            <p:spPr>
              <a:xfrm rot="13500000" flipV="1">
                <a:off x="7023907" y="5634568"/>
                <a:ext cx="330726" cy="75186"/>
              </a:xfrm>
              <a:prstGeom prst="parallelogram">
                <a:avLst>
                  <a:gd name="adj" fmla="val 102816"/>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62" name="Freeform: Shape 61">
                <a:extLst>
                  <a:ext uri="{FF2B5EF4-FFF2-40B4-BE49-F238E27FC236}">
                    <a16:creationId xmlns:a16="http://schemas.microsoft.com/office/drawing/2014/main" id="{1E6EB70B-CE98-C91F-446C-789AF81DFF33}"/>
                  </a:ext>
                </a:extLst>
              </p:cNvPr>
              <p:cNvSpPr/>
              <p:nvPr/>
            </p:nvSpPr>
            <p:spPr>
              <a:xfrm rot="13500000" flipV="1">
                <a:off x="7231860" y="5801116"/>
                <a:ext cx="251651" cy="75186"/>
              </a:xfrm>
              <a:custGeom>
                <a:avLst/>
                <a:gdLst>
                  <a:gd name="connsiteX0" fmla="*/ 251651 w 251651"/>
                  <a:gd name="connsiteY0" fmla="*/ 0 h 75186"/>
                  <a:gd name="connsiteX1" fmla="*/ 0 w 251651"/>
                  <a:gd name="connsiteY1" fmla="*/ 0 h 75186"/>
                  <a:gd name="connsiteX2" fmla="*/ 75186 w 251651"/>
                  <a:gd name="connsiteY2" fmla="*/ 75186 h 75186"/>
                  <a:gd name="connsiteX3" fmla="*/ 174348 w 251651"/>
                  <a:gd name="connsiteY3" fmla="*/ 75186 h 75186"/>
                </a:gdLst>
                <a:ahLst/>
                <a:cxnLst>
                  <a:cxn ang="0">
                    <a:pos x="connsiteX0" y="connsiteY0"/>
                  </a:cxn>
                  <a:cxn ang="0">
                    <a:pos x="connsiteX1" y="connsiteY1"/>
                  </a:cxn>
                  <a:cxn ang="0">
                    <a:pos x="connsiteX2" y="connsiteY2"/>
                  </a:cxn>
                  <a:cxn ang="0">
                    <a:pos x="connsiteX3" y="connsiteY3"/>
                  </a:cxn>
                </a:cxnLst>
                <a:rect l="l" t="t" r="r" b="b"/>
                <a:pathLst>
                  <a:path w="251651" h="75186">
                    <a:moveTo>
                      <a:pt x="251651" y="0"/>
                    </a:moveTo>
                    <a:lnTo>
                      <a:pt x="0" y="0"/>
                    </a:lnTo>
                    <a:lnTo>
                      <a:pt x="75186" y="75186"/>
                    </a:lnTo>
                    <a:lnTo>
                      <a:pt x="174348" y="75186"/>
                    </a:lnTo>
                    <a:close/>
                  </a:path>
                </a:pathLst>
              </a:cu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grpSp>
        <p:grpSp>
          <p:nvGrpSpPr>
            <p:cNvPr id="56" name="Group 55">
              <a:extLst>
                <a:ext uri="{FF2B5EF4-FFF2-40B4-BE49-F238E27FC236}">
                  <a16:creationId xmlns:a16="http://schemas.microsoft.com/office/drawing/2014/main" id="{2DD86CB4-BD46-7E3D-DD28-952D51D69D0C}"/>
                </a:ext>
              </a:extLst>
            </p:cNvPr>
            <p:cNvGrpSpPr/>
            <p:nvPr/>
          </p:nvGrpSpPr>
          <p:grpSpPr>
            <a:xfrm rot="10800000">
              <a:off x="10526616" y="1145063"/>
              <a:ext cx="243602" cy="457736"/>
              <a:chOff x="7151677" y="5506798"/>
              <a:chExt cx="243602" cy="457736"/>
            </a:xfrm>
          </p:grpSpPr>
          <p:sp>
            <p:nvSpPr>
              <p:cNvPr id="57" name="Parallelogram 56">
                <a:extLst>
                  <a:ext uri="{FF2B5EF4-FFF2-40B4-BE49-F238E27FC236}">
                    <a16:creationId xmlns:a16="http://schemas.microsoft.com/office/drawing/2014/main" id="{EA4BC92B-F3CE-01AA-72B6-DF8F476A1B10}"/>
                  </a:ext>
                </a:extLst>
              </p:cNvPr>
              <p:cNvSpPr/>
              <p:nvPr/>
            </p:nvSpPr>
            <p:spPr>
              <a:xfrm rot="13500000" flipV="1">
                <a:off x="7023907" y="5634568"/>
                <a:ext cx="330726" cy="75186"/>
              </a:xfrm>
              <a:prstGeom prst="parallelogram">
                <a:avLst>
                  <a:gd name="adj" fmla="val 102816"/>
                </a:avLst>
              </a:pr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sp>
            <p:nvSpPr>
              <p:cNvPr id="58" name="Freeform: Shape 57">
                <a:extLst>
                  <a:ext uri="{FF2B5EF4-FFF2-40B4-BE49-F238E27FC236}">
                    <a16:creationId xmlns:a16="http://schemas.microsoft.com/office/drawing/2014/main" id="{54FBCB11-38C1-5364-C3B0-549101AD035C}"/>
                  </a:ext>
                </a:extLst>
              </p:cNvPr>
              <p:cNvSpPr/>
              <p:nvPr/>
            </p:nvSpPr>
            <p:spPr>
              <a:xfrm rot="13500000" flipV="1">
                <a:off x="7231860" y="5801116"/>
                <a:ext cx="251651" cy="75186"/>
              </a:xfrm>
              <a:custGeom>
                <a:avLst/>
                <a:gdLst>
                  <a:gd name="connsiteX0" fmla="*/ 251651 w 251651"/>
                  <a:gd name="connsiteY0" fmla="*/ 0 h 75186"/>
                  <a:gd name="connsiteX1" fmla="*/ 0 w 251651"/>
                  <a:gd name="connsiteY1" fmla="*/ 0 h 75186"/>
                  <a:gd name="connsiteX2" fmla="*/ 75186 w 251651"/>
                  <a:gd name="connsiteY2" fmla="*/ 75186 h 75186"/>
                  <a:gd name="connsiteX3" fmla="*/ 174348 w 251651"/>
                  <a:gd name="connsiteY3" fmla="*/ 75186 h 75186"/>
                </a:gdLst>
                <a:ahLst/>
                <a:cxnLst>
                  <a:cxn ang="0">
                    <a:pos x="connsiteX0" y="connsiteY0"/>
                  </a:cxn>
                  <a:cxn ang="0">
                    <a:pos x="connsiteX1" y="connsiteY1"/>
                  </a:cxn>
                  <a:cxn ang="0">
                    <a:pos x="connsiteX2" y="connsiteY2"/>
                  </a:cxn>
                  <a:cxn ang="0">
                    <a:pos x="connsiteX3" y="connsiteY3"/>
                  </a:cxn>
                </a:cxnLst>
                <a:rect l="l" t="t" r="r" b="b"/>
                <a:pathLst>
                  <a:path w="251651" h="75186">
                    <a:moveTo>
                      <a:pt x="251651" y="0"/>
                    </a:moveTo>
                    <a:lnTo>
                      <a:pt x="0" y="0"/>
                    </a:lnTo>
                    <a:lnTo>
                      <a:pt x="75186" y="75186"/>
                    </a:lnTo>
                    <a:lnTo>
                      <a:pt x="174348" y="75186"/>
                    </a:lnTo>
                    <a:close/>
                  </a:path>
                </a:pathLst>
              </a:custGeom>
              <a:solidFill>
                <a:srgbClr val="00F1FF"/>
              </a:solidFill>
              <a:ln w="25400" cap="flat">
                <a:noFill/>
                <a:prstDash val="solid"/>
                <a:miter/>
              </a:ln>
              <a:effectLst>
                <a:outerShdw blurRad="393700" sx="102000" sy="102000" algn="ctr" rotWithShape="0">
                  <a:srgbClr val="00F1FF"/>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FFFFFF"/>
                  </a:solidFill>
                  <a:effectLst/>
                  <a:uLnTx/>
                  <a:uFillTx/>
                  <a:latin typeface="Hanson" pitchFamily="50" charset="0"/>
                  <a:ea typeface="+mn-ea"/>
                  <a:cs typeface="+mn-cs"/>
                </a:endParaRPr>
              </a:p>
            </p:txBody>
          </p:sp>
        </p:grpSp>
      </p:grpSp>
      <p:sp>
        <p:nvSpPr>
          <p:cNvPr id="65" name="TextBox 5">
            <a:extLst>
              <a:ext uri="{FF2B5EF4-FFF2-40B4-BE49-F238E27FC236}">
                <a16:creationId xmlns:a16="http://schemas.microsoft.com/office/drawing/2014/main" id="{EA48C359-63D0-48A9-A612-770ED50F362C}"/>
              </a:ext>
            </a:extLst>
          </p:cNvPr>
          <p:cNvSpPr txBox="1"/>
          <p:nvPr/>
        </p:nvSpPr>
        <p:spPr>
          <a:xfrm>
            <a:off x="373088" y="1649430"/>
            <a:ext cx="5221045" cy="738664"/>
          </a:xfrm>
          <a:prstGeom prst="rect">
            <a:avLst/>
          </a:prstGeom>
          <a:noFill/>
          <a:ln w="6350" cap="rnd">
            <a:noFill/>
            <a:round/>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800" b="1" i="0" u="none" strike="noStrike" kern="1200" cap="all" spc="100" normalizeH="0" baseline="0" noProof="0" dirty="0">
                <a:ln>
                  <a:noFill/>
                </a:ln>
                <a:solidFill>
                  <a:srgbClr val="073A4C"/>
                </a:solidFill>
                <a:effectLst>
                  <a:outerShdw blurRad="38100" dist="38100" dir="2700000" algn="tl">
                    <a:srgbClr val="000000">
                      <a:alpha val="43137"/>
                    </a:srgbClr>
                  </a:outerShdw>
                </a:effectLst>
                <a:uLnTx/>
                <a:uFillTx/>
                <a:latin typeface="Hanson" pitchFamily="50" charset="0"/>
                <a:ea typeface="+mn-ea"/>
                <a:cs typeface="+mn-cs"/>
              </a:rPr>
              <a:t>Présentation sur</a:t>
            </a:r>
            <a:endParaRPr kumimoji="0" lang="en-GB" sz="4800" b="1" i="0" u="none" strike="noStrike" kern="1200" cap="all" spc="100" normalizeH="0" baseline="0" noProof="0" dirty="0">
              <a:ln>
                <a:noFill/>
              </a:ln>
              <a:solidFill>
                <a:srgbClr val="073A4C"/>
              </a:solidFill>
              <a:effectLst>
                <a:outerShdw blurRad="38100" dist="38100" dir="2700000" algn="tl">
                  <a:srgbClr val="000000">
                    <a:alpha val="43137"/>
                  </a:srgbClr>
                </a:outerShdw>
              </a:effectLst>
              <a:uLnTx/>
              <a:uFillTx/>
              <a:latin typeface="Hanson" pitchFamily="50" charset="0"/>
              <a:ea typeface="+mn-ea"/>
              <a:cs typeface="+mn-cs"/>
            </a:endParaRPr>
          </a:p>
        </p:txBody>
      </p:sp>
      <p:sp>
        <p:nvSpPr>
          <p:cNvPr id="66" name="TextBox 8">
            <a:extLst>
              <a:ext uri="{FF2B5EF4-FFF2-40B4-BE49-F238E27FC236}">
                <a16:creationId xmlns:a16="http://schemas.microsoft.com/office/drawing/2014/main" id="{D9A952AC-4063-4E54-9059-5642A46E937B}"/>
              </a:ext>
            </a:extLst>
          </p:cNvPr>
          <p:cNvSpPr txBox="1"/>
          <p:nvPr/>
        </p:nvSpPr>
        <p:spPr>
          <a:xfrm>
            <a:off x="1347451" y="3082748"/>
            <a:ext cx="3723776" cy="738664"/>
          </a:xfrm>
          <a:prstGeom prst="rect">
            <a:avLst/>
          </a:prstGeom>
          <a:noFill/>
          <a:ln w="6350" cap="rnd">
            <a:noFill/>
            <a:round/>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800" b="1" i="0" u="none" strike="noStrike" kern="1200" cap="all" spc="100" normalizeH="0" baseline="0" noProof="0" dirty="0">
                <a:ln>
                  <a:noFill/>
                </a:ln>
                <a:solidFill>
                  <a:srgbClr val="073A4C"/>
                </a:solidFill>
                <a:effectLst>
                  <a:outerShdw blurRad="38100" dist="38100" dir="2700000" algn="tl">
                    <a:srgbClr val="000000">
                      <a:alpha val="43137"/>
                    </a:srgbClr>
                  </a:outerShdw>
                </a:effectLst>
                <a:uLnTx/>
                <a:uFillTx/>
                <a:latin typeface="Hanson" pitchFamily="50" charset="0"/>
                <a:ea typeface="+mn-ea"/>
                <a:cs typeface="+mn-cs"/>
              </a:rPr>
              <a:t>Git &amp; </a:t>
            </a:r>
            <a:r>
              <a:rPr kumimoji="0" lang="fr-FR" sz="4800" b="1" i="0" u="none" strike="noStrike" kern="1200" cap="all" spc="100" normalizeH="0" baseline="0" noProof="0" dirty="0" err="1">
                <a:ln>
                  <a:noFill/>
                </a:ln>
                <a:solidFill>
                  <a:srgbClr val="073A4C"/>
                </a:solidFill>
                <a:effectLst>
                  <a:outerShdw blurRad="38100" dist="38100" dir="2700000" algn="tl">
                    <a:srgbClr val="000000">
                      <a:alpha val="43137"/>
                    </a:srgbClr>
                  </a:outerShdw>
                </a:effectLst>
                <a:uLnTx/>
                <a:uFillTx/>
                <a:latin typeface="Hanson" pitchFamily="50" charset="0"/>
                <a:ea typeface="+mn-ea"/>
                <a:cs typeface="+mn-cs"/>
              </a:rPr>
              <a:t>github</a:t>
            </a:r>
            <a:endParaRPr kumimoji="0" lang="en-GB" sz="4800" b="1" i="0" u="none" strike="noStrike" kern="1200" cap="all" spc="100" normalizeH="0" baseline="0" noProof="0" dirty="0">
              <a:ln>
                <a:noFill/>
              </a:ln>
              <a:solidFill>
                <a:srgbClr val="073A4C"/>
              </a:solidFill>
              <a:effectLst>
                <a:outerShdw blurRad="38100" dist="38100" dir="2700000" algn="tl">
                  <a:srgbClr val="000000">
                    <a:alpha val="43137"/>
                  </a:srgbClr>
                </a:outerShdw>
              </a:effectLst>
              <a:uLnTx/>
              <a:uFillTx/>
              <a:latin typeface="Hanson" pitchFamily="50" charset="0"/>
              <a:ea typeface="+mn-ea"/>
              <a:cs typeface="+mn-cs"/>
            </a:endParaRPr>
          </a:p>
        </p:txBody>
      </p:sp>
      <p:sp>
        <p:nvSpPr>
          <p:cNvPr id="82" name="Snip Diagonal Corner of Rectangle 23">
            <a:extLst>
              <a:ext uri="{FF2B5EF4-FFF2-40B4-BE49-F238E27FC236}">
                <a16:creationId xmlns:a16="http://schemas.microsoft.com/office/drawing/2014/main" id="{B42AD1DC-4081-46A7-90AC-4EF02439F582}"/>
              </a:ext>
            </a:extLst>
          </p:cNvPr>
          <p:cNvSpPr/>
          <p:nvPr/>
        </p:nvSpPr>
        <p:spPr>
          <a:xfrm>
            <a:off x="2595822" y="5736270"/>
            <a:ext cx="3530500" cy="561517"/>
          </a:xfrm>
          <a:prstGeom prst="snip2DiagRect">
            <a:avLst>
              <a:gd name="adj1" fmla="val 0"/>
              <a:gd name="adj2" fmla="val 28663"/>
            </a:avLst>
          </a:prstGeom>
          <a:pattFill prst="pct20">
            <a:fgClr>
              <a:srgbClr val="008086"/>
            </a:fgClr>
            <a:bgClr>
              <a:schemeClr val="tx1"/>
            </a:bgClr>
          </a:pattFill>
          <a:ln w="6350" cap="flat">
            <a:solidFill>
              <a:schemeClr val="accent3"/>
            </a:solidFill>
            <a:prstDash val="solid"/>
            <a:miter/>
          </a:ln>
          <a:effectLst>
            <a:innerShdw blurRad="190500">
              <a:schemeClr val="accent3"/>
            </a:inn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MERI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ASSADI</a:t>
            </a:r>
            <a:endParaRPr kumimoji="0" lang="en-LT"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sp useBgFill="1">
        <p:nvSpPr>
          <p:cNvPr id="83" name="Snip Diagonal Corner of Rectangle 23">
            <a:extLst>
              <a:ext uri="{FF2B5EF4-FFF2-40B4-BE49-F238E27FC236}">
                <a16:creationId xmlns:a16="http://schemas.microsoft.com/office/drawing/2014/main" id="{DC39BC60-547F-47FD-8A59-30FFEE6A7426}"/>
              </a:ext>
            </a:extLst>
          </p:cNvPr>
          <p:cNvSpPr/>
          <p:nvPr/>
        </p:nvSpPr>
        <p:spPr>
          <a:xfrm>
            <a:off x="3817939" y="5936692"/>
            <a:ext cx="2032000" cy="561517"/>
          </a:xfrm>
          <a:prstGeom prst="snip2DiagRect">
            <a:avLst>
              <a:gd name="adj1" fmla="val 0"/>
              <a:gd name="adj2" fmla="val 28663"/>
            </a:avLst>
          </a:prstGeom>
          <a:ln w="12700" cap="flat">
            <a:solidFill>
              <a:schemeClr val="accent3"/>
            </a:solidFill>
            <a:prstDash val="solid"/>
            <a:miter/>
          </a:ln>
          <a:effectLst>
            <a:outerShdw blurRad="317500" sx="102000" sy="102000" algn="ctr" rotWithShape="0">
              <a:srgbClr val="00F1FF"/>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LT" sz="1000" b="1" i="0" u="none" strike="noStrike" kern="1200" cap="none" spc="0" normalizeH="0" baseline="0" noProof="0" dirty="0">
              <a:ln>
                <a:noFill/>
              </a:ln>
              <a:solidFill>
                <a:srgbClr val="FFFFFF"/>
              </a:solidFill>
              <a:effectLst/>
              <a:uLnTx/>
              <a:uFillTx/>
              <a:latin typeface="Hanson" pitchFamily="50" charset="0"/>
              <a:ea typeface="Urbanist Black" panose="020B0A04040200000203" pitchFamily="34" charset="77"/>
              <a:cs typeface="Urbanist Black" panose="020B0A04040200000203" pitchFamily="34" charset="77"/>
            </a:endParaRPr>
          </a:p>
        </p:txBody>
      </p:sp>
      <p:sp>
        <p:nvSpPr>
          <p:cNvPr id="84" name="Snip Diagonal Corner of Rectangle 23">
            <a:extLst>
              <a:ext uri="{FF2B5EF4-FFF2-40B4-BE49-F238E27FC236}">
                <a16:creationId xmlns:a16="http://schemas.microsoft.com/office/drawing/2014/main" id="{D07FB41A-8D2E-41B1-8595-5D89F3C0752E}"/>
              </a:ext>
            </a:extLst>
          </p:cNvPr>
          <p:cNvSpPr/>
          <p:nvPr/>
        </p:nvSpPr>
        <p:spPr>
          <a:xfrm>
            <a:off x="4689518" y="4984020"/>
            <a:ext cx="2032000" cy="561517"/>
          </a:xfrm>
          <a:prstGeom prst="snip2DiagRect">
            <a:avLst>
              <a:gd name="adj1" fmla="val 0"/>
              <a:gd name="adj2" fmla="val 28663"/>
            </a:avLst>
          </a:prstGeom>
          <a:pattFill prst="pct20">
            <a:fgClr>
              <a:srgbClr val="008086"/>
            </a:fgClr>
            <a:bgClr>
              <a:schemeClr val="tx1"/>
            </a:bgClr>
          </a:pattFill>
          <a:ln w="6350" cap="flat">
            <a:solidFill>
              <a:schemeClr val="accent3"/>
            </a:solidFill>
            <a:prstDash val="solid"/>
            <a:miter/>
          </a:ln>
          <a:effectLst>
            <a:innerShdw blurRad="190500">
              <a:schemeClr val="accent3"/>
            </a:inn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FAT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RAMZ</a:t>
            </a:r>
            <a:endParaRPr kumimoji="0" lang="en-LT"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sp>
        <p:nvSpPr>
          <p:cNvPr id="85" name="Snip Diagonal Corner of Rectangle 23">
            <a:extLst>
              <a:ext uri="{FF2B5EF4-FFF2-40B4-BE49-F238E27FC236}">
                <a16:creationId xmlns:a16="http://schemas.microsoft.com/office/drawing/2014/main" id="{E548EFD5-9CFE-4047-B491-35FE45CBA08D}"/>
              </a:ext>
            </a:extLst>
          </p:cNvPr>
          <p:cNvSpPr/>
          <p:nvPr/>
        </p:nvSpPr>
        <p:spPr>
          <a:xfrm>
            <a:off x="9955524" y="6151153"/>
            <a:ext cx="2032000" cy="561517"/>
          </a:xfrm>
          <a:prstGeom prst="snip2DiagRect">
            <a:avLst>
              <a:gd name="adj1" fmla="val 0"/>
              <a:gd name="adj2" fmla="val 28663"/>
            </a:avLst>
          </a:prstGeom>
          <a:pattFill prst="pct20">
            <a:fgClr>
              <a:srgbClr val="008086"/>
            </a:fgClr>
            <a:bgClr>
              <a:schemeClr val="tx1"/>
            </a:bgClr>
          </a:pattFill>
          <a:ln w="6350" cap="flat">
            <a:solidFill>
              <a:schemeClr val="accent3"/>
            </a:solidFill>
            <a:prstDash val="solid"/>
            <a:miter/>
          </a:ln>
          <a:effectLst>
            <a:innerShdw blurRad="190500">
              <a:schemeClr val="accent3"/>
            </a:inn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10" normalizeH="0" baseline="0" noProof="0" dirty="0" err="1">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rPr>
              <a:t>Mr</a:t>
            </a:r>
            <a:r>
              <a:rPr lang="en-US" sz="1400" b="1" spc="110" dirty="0">
                <a:solidFill>
                  <a:srgbClr val="FFFFFF"/>
                </a:solidFill>
                <a:effectLst>
                  <a:outerShdw blurRad="38100" dist="38100" dir="2700000" algn="tl">
                    <a:srgbClr val="000000">
                      <a:alpha val="43137"/>
                    </a:srgbClr>
                  </a:outerShdw>
                </a:effectLst>
                <a:latin typeface="Hanson" pitchFamily="50" charset="0"/>
              </a:rPr>
              <a:t>.DIDI</a:t>
            </a:r>
            <a:endParaRPr kumimoji="0" lang="en-US" sz="1400" b="1" i="0" u="none" strike="noStrike" kern="1200" cap="none" spc="110" normalizeH="0" baseline="0" noProof="0" dirty="0">
              <a:ln>
                <a:noFill/>
              </a:ln>
              <a:solidFill>
                <a:srgbClr val="FFFFFF"/>
              </a:solidFill>
              <a:effectLst>
                <a:outerShdw blurRad="38100" dist="38100" dir="2700000" algn="tl">
                  <a:srgbClr val="000000">
                    <a:alpha val="43137"/>
                  </a:srgbClr>
                </a:outerShdw>
              </a:effectLst>
              <a:uLnTx/>
              <a:uFillTx/>
              <a:latin typeface="Hanson" pitchFamily="50" charset="0"/>
              <a:ea typeface="+mn-ea"/>
              <a:cs typeface="+mn-cs"/>
            </a:endParaRPr>
          </a:p>
        </p:txBody>
      </p:sp>
    </p:spTree>
    <p:extLst>
      <p:ext uri="{BB962C8B-B14F-4D97-AF65-F5344CB8AC3E}">
        <p14:creationId xmlns:p14="http://schemas.microsoft.com/office/powerpoint/2010/main" val="29068863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F466F"/>
        </a:solidFill>
        <a:effectLst/>
      </p:bgPr>
    </p:bg>
    <p:spTree>
      <p:nvGrpSpPr>
        <p:cNvPr id="1" name=""/>
        <p:cNvGrpSpPr/>
        <p:nvPr/>
      </p:nvGrpSpPr>
      <p:grpSpPr>
        <a:xfrm>
          <a:off x="0" y="0"/>
          <a:ext cx="0" cy="0"/>
          <a:chOff x="0" y="0"/>
          <a:chExt cx="0" cy="0"/>
        </a:xfrm>
      </p:grpSpPr>
      <p:grpSp>
        <p:nvGrpSpPr>
          <p:cNvPr id="61" name="Group 60">
            <a:extLst>
              <a:ext uri="{FF2B5EF4-FFF2-40B4-BE49-F238E27FC236}">
                <a16:creationId xmlns:a16="http://schemas.microsoft.com/office/drawing/2014/main" id="{494D2868-6C4F-D742-8766-0247B2BA2A73}"/>
              </a:ext>
            </a:extLst>
          </p:cNvPr>
          <p:cNvGrpSpPr/>
          <p:nvPr/>
        </p:nvGrpSpPr>
        <p:grpSpPr>
          <a:xfrm>
            <a:off x="866458" y="494367"/>
            <a:ext cx="827568" cy="828000"/>
            <a:chOff x="-842559" y="468160"/>
            <a:chExt cx="827568" cy="828000"/>
          </a:xfrm>
        </p:grpSpPr>
        <p:sp>
          <p:nvSpPr>
            <p:cNvPr id="62" name="Oval 61">
              <a:extLst>
                <a:ext uri="{FF2B5EF4-FFF2-40B4-BE49-F238E27FC236}">
                  <a16:creationId xmlns:a16="http://schemas.microsoft.com/office/drawing/2014/main" id="{5D71F397-1AD5-BB4D-8BA9-29771243D940}"/>
                </a:ext>
              </a:extLst>
            </p:cNvPr>
            <p:cNvSpPr>
              <a:spLocks noChangeAspect="1"/>
            </p:cNvSpPr>
            <p:nvPr/>
          </p:nvSpPr>
          <p:spPr>
            <a:xfrm>
              <a:off x="-842559" y="46816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63" name="Graphic 62" descr="Lightbulb">
              <a:extLst>
                <a:ext uri="{FF2B5EF4-FFF2-40B4-BE49-F238E27FC236}">
                  <a16:creationId xmlns:a16="http://schemas.microsoft.com/office/drawing/2014/main" id="{B653EF25-520D-C345-B8BC-462CA47CA43B}"/>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780293" y="530642"/>
              <a:ext cx="703036" cy="703036"/>
            </a:xfrm>
            <a:prstGeom prst="rect">
              <a:avLst/>
            </a:prstGeom>
          </p:spPr>
        </p:pic>
      </p:grpSp>
      <p:grpSp>
        <p:nvGrpSpPr>
          <p:cNvPr id="64" name="Group 63">
            <a:extLst>
              <a:ext uri="{FF2B5EF4-FFF2-40B4-BE49-F238E27FC236}">
                <a16:creationId xmlns:a16="http://schemas.microsoft.com/office/drawing/2014/main" id="{6FCF0F4A-F8A4-9344-8B5C-35A9795DF560}"/>
              </a:ext>
            </a:extLst>
          </p:cNvPr>
          <p:cNvGrpSpPr/>
          <p:nvPr/>
        </p:nvGrpSpPr>
        <p:grpSpPr>
          <a:xfrm>
            <a:off x="-842559" y="1741580"/>
            <a:ext cx="827568" cy="828000"/>
            <a:chOff x="-842559" y="1741580"/>
            <a:chExt cx="827568" cy="828000"/>
          </a:xfrm>
        </p:grpSpPr>
        <p:sp>
          <p:nvSpPr>
            <p:cNvPr id="65" name="Oval 64">
              <a:extLst>
                <a:ext uri="{FF2B5EF4-FFF2-40B4-BE49-F238E27FC236}">
                  <a16:creationId xmlns:a16="http://schemas.microsoft.com/office/drawing/2014/main" id="{EDF69A96-9C62-1849-B04C-6B01A452ED6F}"/>
                </a:ext>
              </a:extLst>
            </p:cNvPr>
            <p:cNvSpPr>
              <a:spLocks noChangeAspect="1"/>
            </p:cNvSpPr>
            <p:nvPr/>
          </p:nvSpPr>
          <p:spPr>
            <a:xfrm>
              <a:off x="-842559" y="174158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66" name="Graphic 65" descr="Upward trend">
              <a:extLst>
                <a:ext uri="{FF2B5EF4-FFF2-40B4-BE49-F238E27FC236}">
                  <a16:creationId xmlns:a16="http://schemas.microsoft.com/office/drawing/2014/main" id="{84EE1DCD-9CA3-1A4F-9488-7E04A1838BB1}"/>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734943" y="1849412"/>
              <a:ext cx="612336" cy="612336"/>
            </a:xfrm>
            <a:prstGeom prst="rect">
              <a:avLst/>
            </a:prstGeom>
          </p:spPr>
        </p:pic>
      </p:grpSp>
      <p:grpSp>
        <p:nvGrpSpPr>
          <p:cNvPr id="67" name="Group 66">
            <a:extLst>
              <a:ext uri="{FF2B5EF4-FFF2-40B4-BE49-F238E27FC236}">
                <a16:creationId xmlns:a16="http://schemas.microsoft.com/office/drawing/2014/main" id="{185E031E-10C8-5A45-B6F2-66B39AA91C86}"/>
              </a:ext>
            </a:extLst>
          </p:cNvPr>
          <p:cNvGrpSpPr/>
          <p:nvPr/>
        </p:nvGrpSpPr>
        <p:grpSpPr>
          <a:xfrm>
            <a:off x="-842559" y="4288420"/>
            <a:ext cx="827568" cy="828000"/>
            <a:chOff x="-842559" y="4288420"/>
            <a:chExt cx="827568" cy="828000"/>
          </a:xfrm>
        </p:grpSpPr>
        <p:sp>
          <p:nvSpPr>
            <p:cNvPr id="68" name="Oval 67">
              <a:extLst>
                <a:ext uri="{FF2B5EF4-FFF2-40B4-BE49-F238E27FC236}">
                  <a16:creationId xmlns:a16="http://schemas.microsoft.com/office/drawing/2014/main" id="{8641D6DE-CE6E-894A-92F2-68D360E3055D}"/>
                </a:ext>
              </a:extLst>
            </p:cNvPr>
            <p:cNvSpPr>
              <a:spLocks noChangeAspect="1"/>
            </p:cNvSpPr>
            <p:nvPr/>
          </p:nvSpPr>
          <p:spPr>
            <a:xfrm>
              <a:off x="-842559" y="428842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69" name="Graphic 68" descr="Single gear">
              <a:extLst>
                <a:ext uri="{FF2B5EF4-FFF2-40B4-BE49-F238E27FC236}">
                  <a16:creationId xmlns:a16="http://schemas.microsoft.com/office/drawing/2014/main" id="{99491C5A-4007-FA44-A691-DA4DA699D4F4}"/>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780293" y="4363185"/>
              <a:ext cx="724649" cy="724649"/>
            </a:xfrm>
            <a:prstGeom prst="rect">
              <a:avLst/>
            </a:prstGeom>
          </p:spPr>
        </p:pic>
      </p:grpSp>
      <p:grpSp>
        <p:nvGrpSpPr>
          <p:cNvPr id="70" name="Group 69">
            <a:extLst>
              <a:ext uri="{FF2B5EF4-FFF2-40B4-BE49-F238E27FC236}">
                <a16:creationId xmlns:a16="http://schemas.microsoft.com/office/drawing/2014/main" id="{8715754F-3045-DA4B-B2A9-15B88EEAF8B2}"/>
              </a:ext>
            </a:extLst>
          </p:cNvPr>
          <p:cNvGrpSpPr/>
          <p:nvPr/>
        </p:nvGrpSpPr>
        <p:grpSpPr>
          <a:xfrm>
            <a:off x="-842559" y="5561839"/>
            <a:ext cx="827568" cy="828000"/>
            <a:chOff x="-842559" y="5561839"/>
            <a:chExt cx="827568" cy="828000"/>
          </a:xfrm>
        </p:grpSpPr>
        <p:sp>
          <p:nvSpPr>
            <p:cNvPr id="71" name="Oval 70">
              <a:extLst>
                <a:ext uri="{FF2B5EF4-FFF2-40B4-BE49-F238E27FC236}">
                  <a16:creationId xmlns:a16="http://schemas.microsoft.com/office/drawing/2014/main" id="{05FDCAF5-9C98-CA44-9849-B16E48628C00}"/>
                </a:ext>
              </a:extLst>
            </p:cNvPr>
            <p:cNvSpPr>
              <a:spLocks noChangeAspect="1"/>
            </p:cNvSpPr>
            <p:nvPr/>
          </p:nvSpPr>
          <p:spPr>
            <a:xfrm>
              <a:off x="-842559" y="5561839"/>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72" name="Graphic 71" descr="Users">
              <a:extLst>
                <a:ext uri="{FF2B5EF4-FFF2-40B4-BE49-F238E27FC236}">
                  <a16:creationId xmlns:a16="http://schemas.microsoft.com/office/drawing/2014/main" id="{51D8C772-9E20-5E41-A663-9F8986C2E751}"/>
                </a:ext>
              </a:extLst>
            </p:cNvPr>
            <p:cNvPicPr>
              <a:picLocks noChangeAspect="1"/>
            </p:cNvPicPr>
            <p:nvPr/>
          </p:nvPicPr>
          <p:blipFill>
            <a:blip r:embed="rId9">
              <a:extLst>
                <a:ext uri="{96DAC541-7B7A-43D3-8B79-37D633B846F1}">
                  <asvg:svgBlip xmlns="" xmlns:asvg="http://schemas.microsoft.com/office/drawing/2016/SVG/main" r:embed="rId10"/>
                </a:ext>
              </a:extLst>
            </a:blip>
            <a:stretch>
              <a:fillRect/>
            </a:stretch>
          </p:blipFill>
          <p:spPr>
            <a:xfrm>
              <a:off x="-777564" y="5614879"/>
              <a:ext cx="721920" cy="721920"/>
            </a:xfrm>
            <a:prstGeom prst="rect">
              <a:avLst/>
            </a:prstGeom>
          </p:spPr>
        </p:pic>
      </p:grpSp>
      <p:grpSp>
        <p:nvGrpSpPr>
          <p:cNvPr id="73" name="Group 72">
            <a:extLst>
              <a:ext uri="{FF2B5EF4-FFF2-40B4-BE49-F238E27FC236}">
                <a16:creationId xmlns:a16="http://schemas.microsoft.com/office/drawing/2014/main" id="{E5CEAEE4-C867-4343-9D62-70C903A38BB9}"/>
              </a:ext>
            </a:extLst>
          </p:cNvPr>
          <p:cNvGrpSpPr/>
          <p:nvPr/>
        </p:nvGrpSpPr>
        <p:grpSpPr>
          <a:xfrm>
            <a:off x="-842559" y="3015000"/>
            <a:ext cx="827568" cy="828000"/>
            <a:chOff x="-837416" y="3015000"/>
            <a:chExt cx="827568" cy="828000"/>
          </a:xfrm>
        </p:grpSpPr>
        <p:sp>
          <p:nvSpPr>
            <p:cNvPr id="74" name="Oval 73">
              <a:extLst>
                <a:ext uri="{FF2B5EF4-FFF2-40B4-BE49-F238E27FC236}">
                  <a16:creationId xmlns:a16="http://schemas.microsoft.com/office/drawing/2014/main" id="{3CFD9EA6-6323-074D-A620-AB90F8B3536A}"/>
                </a:ext>
              </a:extLst>
            </p:cNvPr>
            <p:cNvSpPr>
              <a:spLocks noChangeAspect="1"/>
            </p:cNvSpPr>
            <p:nvPr/>
          </p:nvSpPr>
          <p:spPr>
            <a:xfrm>
              <a:off x="-837416" y="301500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75" name="Graphic 74" descr="Coffee">
              <a:extLst>
                <a:ext uri="{FF2B5EF4-FFF2-40B4-BE49-F238E27FC236}">
                  <a16:creationId xmlns:a16="http://schemas.microsoft.com/office/drawing/2014/main" id="{C1BB8E9A-EC1B-714F-8AE1-E2299A695361}"/>
                </a:ext>
              </a:extLst>
            </p:cNvPr>
            <p:cNvPicPr>
              <a:picLocks noChangeAspect="1"/>
            </p:cNvPicPr>
            <p:nvPr/>
          </p:nvPicPr>
          <p:blipFill>
            <a:blip r:embed="rId11">
              <a:extLst>
                <a:ext uri="{96DAC541-7B7A-43D3-8B79-37D633B846F1}">
                  <asvg:svgBlip xmlns="" xmlns:asvg="http://schemas.microsoft.com/office/drawing/2016/SVG/main" r:embed="rId12"/>
                </a:ext>
              </a:extLst>
            </a:blip>
            <a:stretch>
              <a:fillRect/>
            </a:stretch>
          </p:blipFill>
          <p:spPr>
            <a:xfrm>
              <a:off x="-698172" y="3065465"/>
              <a:ext cx="620915" cy="620915"/>
            </a:xfrm>
            <a:prstGeom prst="rect">
              <a:avLst/>
            </a:prstGeom>
          </p:spPr>
        </p:pic>
      </p:grpSp>
      <p:sp>
        <p:nvSpPr>
          <p:cNvPr id="76" name="Freeform 75">
            <a:extLst>
              <a:ext uri="{FF2B5EF4-FFF2-40B4-BE49-F238E27FC236}">
                <a16:creationId xmlns:a16="http://schemas.microsoft.com/office/drawing/2014/main" id="{A7181189-D4CB-4748-A2F2-9E601AF2DD72}"/>
              </a:ext>
            </a:extLst>
          </p:cNvPr>
          <p:cNvSpPr/>
          <p:nvPr/>
        </p:nvSpPr>
        <p:spPr>
          <a:xfrm>
            <a:off x="0" y="-11081241"/>
            <a:ext cx="1280242" cy="23926799"/>
          </a:xfrm>
          <a:custGeom>
            <a:avLst/>
            <a:gdLst>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7" fmla="*/ 1280160 w 1280160"/>
              <a:gd name="connsiteY7" fmla="*/ 0 h 23926799"/>
              <a:gd name="connsiteX0" fmla="*/ 1280160 w 1280182"/>
              <a:gd name="connsiteY0" fmla="*/ 0 h 23926799"/>
              <a:gd name="connsiteX1" fmla="*/ 1280160 w 1280182"/>
              <a:gd name="connsiteY1" fmla="*/ 11137327 h 23926799"/>
              <a:gd name="connsiteX2" fmla="*/ 659246 w 1280182"/>
              <a:gd name="connsiteY2" fmla="*/ 11963399 h 23926799"/>
              <a:gd name="connsiteX3" fmla="*/ 1280160 w 1280182"/>
              <a:gd name="connsiteY3" fmla="*/ 12789472 h 23926799"/>
              <a:gd name="connsiteX4" fmla="*/ 1280160 w 1280182"/>
              <a:gd name="connsiteY4" fmla="*/ 23926799 h 23926799"/>
              <a:gd name="connsiteX5" fmla="*/ 0 w 1280182"/>
              <a:gd name="connsiteY5" fmla="*/ 23926799 h 23926799"/>
              <a:gd name="connsiteX6" fmla="*/ 0 w 1280182"/>
              <a:gd name="connsiteY6" fmla="*/ 0 h 23926799"/>
              <a:gd name="connsiteX7" fmla="*/ 1280160 w 1280182"/>
              <a:gd name="connsiteY7" fmla="*/ 0 h 23926799"/>
              <a:gd name="connsiteX0" fmla="*/ 1280160 w 1280231"/>
              <a:gd name="connsiteY0" fmla="*/ 0 h 23926799"/>
              <a:gd name="connsiteX1" fmla="*/ 1280160 w 1280231"/>
              <a:gd name="connsiteY1" fmla="*/ 11137327 h 23926799"/>
              <a:gd name="connsiteX2" fmla="*/ 659246 w 1280231"/>
              <a:gd name="connsiteY2" fmla="*/ 11963399 h 23926799"/>
              <a:gd name="connsiteX3" fmla="*/ 1280160 w 1280231"/>
              <a:gd name="connsiteY3" fmla="*/ 12789472 h 23926799"/>
              <a:gd name="connsiteX4" fmla="*/ 1280160 w 1280231"/>
              <a:gd name="connsiteY4" fmla="*/ 23926799 h 23926799"/>
              <a:gd name="connsiteX5" fmla="*/ 0 w 1280231"/>
              <a:gd name="connsiteY5" fmla="*/ 23926799 h 23926799"/>
              <a:gd name="connsiteX6" fmla="*/ 0 w 1280231"/>
              <a:gd name="connsiteY6" fmla="*/ 0 h 23926799"/>
              <a:gd name="connsiteX7" fmla="*/ 1280160 w 128023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2"/>
              <a:gd name="connsiteY0" fmla="*/ 0 h 23926799"/>
              <a:gd name="connsiteX1" fmla="*/ 1280160 w 1280242"/>
              <a:gd name="connsiteY1" fmla="*/ 11137327 h 23926799"/>
              <a:gd name="connsiteX2" fmla="*/ 742373 w 1280242"/>
              <a:gd name="connsiteY2" fmla="*/ 11966863 h 23926799"/>
              <a:gd name="connsiteX3" fmla="*/ 1280160 w 1280242"/>
              <a:gd name="connsiteY3" fmla="*/ 12789472 h 23926799"/>
              <a:gd name="connsiteX4" fmla="*/ 1280160 w 1280242"/>
              <a:gd name="connsiteY4" fmla="*/ 23926799 h 23926799"/>
              <a:gd name="connsiteX5" fmla="*/ 0 w 1280242"/>
              <a:gd name="connsiteY5" fmla="*/ 23926799 h 23926799"/>
              <a:gd name="connsiteX6" fmla="*/ 0 w 1280242"/>
              <a:gd name="connsiteY6" fmla="*/ 0 h 23926799"/>
              <a:gd name="connsiteX7" fmla="*/ 1280160 w 1280242"/>
              <a:gd name="connsiteY7" fmla="*/ 0 h 2392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0242" h="23926799">
                <a:moveTo>
                  <a:pt x="1280160" y="0"/>
                </a:moveTo>
                <a:lnTo>
                  <a:pt x="1280160" y="11137327"/>
                </a:lnTo>
                <a:cubicBezTo>
                  <a:pt x="1287934" y="11540842"/>
                  <a:pt x="743219" y="11525247"/>
                  <a:pt x="742373" y="11966863"/>
                </a:cubicBezTo>
                <a:cubicBezTo>
                  <a:pt x="741527" y="12408479"/>
                  <a:pt x="1284472" y="12396353"/>
                  <a:pt x="1280160" y="12789472"/>
                </a:cubicBezTo>
                <a:lnTo>
                  <a:pt x="1280160" y="23926799"/>
                </a:lnTo>
                <a:lnTo>
                  <a:pt x="0" y="23926799"/>
                </a:lnTo>
                <a:lnTo>
                  <a:pt x="0" y="0"/>
                </a:lnTo>
                <a:lnTo>
                  <a:pt x="128016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LT"/>
          </a:p>
        </p:txBody>
      </p:sp>
      <p:pic>
        <p:nvPicPr>
          <p:cNvPr id="77" name="Graphic 76" descr="Lightbulb">
            <a:hlinkClick r:id="" action="ppaction://hlinkshowjump?jump=firstslide"/>
            <a:extLst>
              <a:ext uri="{FF2B5EF4-FFF2-40B4-BE49-F238E27FC236}">
                <a16:creationId xmlns:a16="http://schemas.microsoft.com/office/drawing/2014/main" id="{D204EC63-8A98-E944-8E9B-EF61D5A2C150}"/>
              </a:ext>
            </a:extLst>
          </p:cNvPr>
          <p:cNvPicPr>
            <a:picLocks noChangeAspect="1"/>
          </p:cNvPicPr>
          <p:nvPr/>
        </p:nvPicPr>
        <p:blipFill>
          <a:blip r:embed="rId13">
            <a:extLst>
              <a:ext uri="{96DAC541-7B7A-43D3-8B79-37D633B846F1}">
                <asvg:svgBlip xmlns="" xmlns:asvg="http://schemas.microsoft.com/office/drawing/2016/SVG/main" r:embed="rId14"/>
              </a:ext>
            </a:extLst>
          </a:blip>
          <a:stretch>
            <a:fillRect/>
          </a:stretch>
        </p:blipFill>
        <p:spPr>
          <a:xfrm>
            <a:off x="277756" y="530641"/>
            <a:ext cx="703036" cy="703036"/>
          </a:xfrm>
          <a:prstGeom prst="rect">
            <a:avLst/>
          </a:prstGeom>
        </p:spPr>
      </p:pic>
      <p:pic>
        <p:nvPicPr>
          <p:cNvPr id="78" name="Graphic 77" descr="Upward trend">
            <a:hlinkClick r:id="rId15" action="ppaction://hlinksldjump"/>
            <a:extLst>
              <a:ext uri="{FF2B5EF4-FFF2-40B4-BE49-F238E27FC236}">
                <a16:creationId xmlns:a16="http://schemas.microsoft.com/office/drawing/2014/main" id="{6B3E228B-8807-F340-A63F-9D9D353605BF}"/>
              </a:ext>
            </a:extLst>
          </p:cNvPr>
          <p:cNvPicPr>
            <a:picLocks noChangeAspect="1"/>
          </p:cNvPicPr>
          <p:nvPr/>
        </p:nvPicPr>
        <p:blipFill>
          <a:blip r:embed="rId16">
            <a:extLst>
              <a:ext uri="{96DAC541-7B7A-43D3-8B79-37D633B846F1}">
                <asvg:svgBlip xmlns="" xmlns:asvg="http://schemas.microsoft.com/office/drawing/2016/SVG/main" r:embed="rId17"/>
              </a:ext>
            </a:extLst>
          </a:blip>
          <a:stretch>
            <a:fillRect/>
          </a:stretch>
        </p:blipFill>
        <p:spPr>
          <a:xfrm>
            <a:off x="323106" y="1849411"/>
            <a:ext cx="612336" cy="612336"/>
          </a:xfrm>
          <a:prstGeom prst="rect">
            <a:avLst/>
          </a:prstGeom>
        </p:spPr>
      </p:pic>
      <p:pic>
        <p:nvPicPr>
          <p:cNvPr id="79" name="Graphic 78" descr="Coffee">
            <a:hlinkClick r:id="rId18" action="ppaction://hlinksldjump"/>
            <a:extLst>
              <a:ext uri="{FF2B5EF4-FFF2-40B4-BE49-F238E27FC236}">
                <a16:creationId xmlns:a16="http://schemas.microsoft.com/office/drawing/2014/main" id="{0FC508E8-95FC-5A47-8916-7840CF795789}"/>
              </a:ext>
            </a:extLst>
          </p:cNvPr>
          <p:cNvPicPr>
            <a:picLocks noChangeAspect="1"/>
          </p:cNvPicPr>
          <p:nvPr/>
        </p:nvPicPr>
        <p:blipFill>
          <a:blip r:embed="rId19">
            <a:extLst>
              <a:ext uri="{96DAC541-7B7A-43D3-8B79-37D633B846F1}">
                <asvg:svgBlip xmlns="" xmlns:asvg="http://schemas.microsoft.com/office/drawing/2016/SVG/main" r:embed="rId20"/>
              </a:ext>
            </a:extLst>
          </a:blip>
          <a:stretch>
            <a:fillRect/>
          </a:stretch>
        </p:blipFill>
        <p:spPr>
          <a:xfrm>
            <a:off x="359877" y="3065464"/>
            <a:ext cx="620915" cy="620915"/>
          </a:xfrm>
          <a:prstGeom prst="rect">
            <a:avLst/>
          </a:prstGeom>
        </p:spPr>
      </p:pic>
      <p:pic>
        <p:nvPicPr>
          <p:cNvPr id="80" name="Graphic 79" descr="Single gear">
            <a:hlinkClick r:id="rId21" action="ppaction://hlinksldjump"/>
            <a:extLst>
              <a:ext uri="{FF2B5EF4-FFF2-40B4-BE49-F238E27FC236}">
                <a16:creationId xmlns:a16="http://schemas.microsoft.com/office/drawing/2014/main" id="{E18863DD-7DD2-4246-8F3A-C8B8C6FF42B8}"/>
              </a:ext>
            </a:extLst>
          </p:cNvPr>
          <p:cNvPicPr>
            <a:picLocks noChangeAspect="1"/>
          </p:cNvPicPr>
          <p:nvPr/>
        </p:nvPicPr>
        <p:blipFill>
          <a:blip r:embed="rId22">
            <a:extLst>
              <a:ext uri="{96DAC541-7B7A-43D3-8B79-37D633B846F1}">
                <asvg:svgBlip xmlns="" xmlns:asvg="http://schemas.microsoft.com/office/drawing/2016/SVG/main" r:embed="rId23"/>
              </a:ext>
            </a:extLst>
          </a:blip>
          <a:stretch>
            <a:fillRect/>
          </a:stretch>
        </p:blipFill>
        <p:spPr>
          <a:xfrm>
            <a:off x="277756" y="4363184"/>
            <a:ext cx="724649" cy="724649"/>
          </a:xfrm>
          <a:prstGeom prst="rect">
            <a:avLst/>
          </a:prstGeom>
        </p:spPr>
      </p:pic>
      <p:pic>
        <p:nvPicPr>
          <p:cNvPr id="81" name="Graphic 80" descr="Users">
            <a:hlinkClick r:id="rId24" action="ppaction://hlinksldjump"/>
            <a:extLst>
              <a:ext uri="{FF2B5EF4-FFF2-40B4-BE49-F238E27FC236}">
                <a16:creationId xmlns:a16="http://schemas.microsoft.com/office/drawing/2014/main" id="{91581E61-D44A-9A4B-B225-DC06A4724A39}"/>
              </a:ext>
            </a:extLst>
          </p:cNvPr>
          <p:cNvPicPr>
            <a:picLocks noChangeAspect="1"/>
          </p:cNvPicPr>
          <p:nvPr/>
        </p:nvPicPr>
        <p:blipFill>
          <a:blip r:embed="rId25">
            <a:extLst>
              <a:ext uri="{96DAC541-7B7A-43D3-8B79-37D633B846F1}">
                <asvg:svgBlip xmlns="" xmlns:asvg="http://schemas.microsoft.com/office/drawing/2016/SVG/main" r:embed="rId26"/>
              </a:ext>
            </a:extLst>
          </a:blip>
          <a:stretch>
            <a:fillRect/>
          </a:stretch>
        </p:blipFill>
        <p:spPr>
          <a:xfrm>
            <a:off x="280485" y="5614878"/>
            <a:ext cx="721920" cy="721920"/>
          </a:xfrm>
          <a:prstGeom prst="rect">
            <a:avLst/>
          </a:prstGeom>
        </p:spPr>
      </p:pic>
      <p:grpSp>
        <p:nvGrpSpPr>
          <p:cNvPr id="82" name="!!lamp">
            <a:extLst>
              <a:ext uri="{FF2B5EF4-FFF2-40B4-BE49-F238E27FC236}">
                <a16:creationId xmlns:a16="http://schemas.microsoft.com/office/drawing/2014/main" id="{F273F484-4A58-9547-9984-B21F38624CEF}"/>
              </a:ext>
            </a:extLst>
          </p:cNvPr>
          <p:cNvGrpSpPr/>
          <p:nvPr/>
        </p:nvGrpSpPr>
        <p:grpSpPr>
          <a:xfrm>
            <a:off x="4906122" y="1883265"/>
            <a:ext cx="3022850" cy="3794966"/>
            <a:chOff x="5651500" y="2863849"/>
            <a:chExt cx="887355" cy="1114011"/>
          </a:xfrm>
          <a:solidFill>
            <a:schemeClr val="bg1"/>
          </a:solidFill>
        </p:grpSpPr>
        <p:sp>
          <p:nvSpPr>
            <p:cNvPr id="83" name="Freeform 82">
              <a:extLst>
                <a:ext uri="{FF2B5EF4-FFF2-40B4-BE49-F238E27FC236}">
                  <a16:creationId xmlns:a16="http://schemas.microsoft.com/office/drawing/2014/main" id="{3C1E313D-FBB5-7F4E-9F8B-FBD3D194741F}"/>
                </a:ext>
              </a:extLst>
            </p:cNvPr>
            <p:cNvSpPr/>
            <p:nvPr/>
          </p:nvSpPr>
          <p:spPr>
            <a:xfrm>
              <a:off x="5818376" y="3028309"/>
              <a:ext cx="555527" cy="949552"/>
            </a:xfrm>
            <a:custGeom>
              <a:avLst/>
              <a:gdLst>
                <a:gd name="connsiteX0" fmla="*/ 152752 w 555527"/>
                <a:gd name="connsiteY0" fmla="*/ 394768 h 949552"/>
                <a:gd name="connsiteX1" fmla="*/ 134073 w 555527"/>
                <a:gd name="connsiteY1" fmla="*/ 390120 h 949552"/>
                <a:gd name="connsiteX2" fmla="*/ 119257 w 555527"/>
                <a:gd name="connsiteY2" fmla="*/ 362955 h 949552"/>
                <a:gd name="connsiteX3" fmla="*/ 123008 w 555527"/>
                <a:gd name="connsiteY3" fmla="*/ 353111 h 949552"/>
                <a:gd name="connsiteX4" fmla="*/ 124061 w 555527"/>
                <a:gd name="connsiteY4" fmla="*/ 352935 h 949552"/>
                <a:gd name="connsiteX5" fmla="*/ 133081 w 555527"/>
                <a:gd name="connsiteY5" fmla="*/ 358019 h 949552"/>
                <a:gd name="connsiteX6" fmla="*/ 147746 w 555527"/>
                <a:gd name="connsiteY6" fmla="*/ 382616 h 949552"/>
                <a:gd name="connsiteX7" fmla="*/ 152751 w 555527"/>
                <a:gd name="connsiteY7" fmla="*/ 394778 h 949552"/>
                <a:gd name="connsiteX8" fmla="*/ 385106 w 555527"/>
                <a:gd name="connsiteY8" fmla="*/ 380488 h 949552"/>
                <a:gd name="connsiteX9" fmla="*/ 405128 w 555527"/>
                <a:gd name="connsiteY9" fmla="*/ 352177 h 949552"/>
                <a:gd name="connsiteX10" fmla="*/ 426291 w 555527"/>
                <a:gd name="connsiteY10" fmla="*/ 346420 h 949552"/>
                <a:gd name="connsiteX11" fmla="*/ 433190 w 555527"/>
                <a:gd name="connsiteY11" fmla="*/ 351479 h 949552"/>
                <a:gd name="connsiteX12" fmla="*/ 419015 w 555527"/>
                <a:gd name="connsiteY12" fmla="*/ 373971 h 949552"/>
                <a:gd name="connsiteX13" fmla="*/ 385106 w 555527"/>
                <a:gd name="connsiteY13" fmla="*/ 380488 h 949552"/>
                <a:gd name="connsiteX14" fmla="*/ 139693 w 555527"/>
                <a:gd name="connsiteY14" fmla="*/ 51424 h 949552"/>
                <a:gd name="connsiteX15" fmla="*/ 498185 w 555527"/>
                <a:gd name="connsiteY15" fmla="*/ 104344 h 949552"/>
                <a:gd name="connsiteX16" fmla="*/ 502375 w 555527"/>
                <a:gd name="connsiteY16" fmla="*/ 409696 h 949552"/>
                <a:gd name="connsiteX17" fmla="*/ 457653 w 555527"/>
                <a:gd name="connsiteY17" fmla="*/ 470093 h 949552"/>
                <a:gd name="connsiteX18" fmla="*/ 441482 w 555527"/>
                <a:gd name="connsiteY18" fmla="*/ 489183 h 949552"/>
                <a:gd name="connsiteX19" fmla="*/ 399784 w 555527"/>
                <a:gd name="connsiteY19" fmla="*/ 587536 h 949552"/>
                <a:gd name="connsiteX20" fmla="*/ 392595 w 555527"/>
                <a:gd name="connsiteY20" fmla="*/ 625566 h 949552"/>
                <a:gd name="connsiteX21" fmla="*/ 331377 w 555527"/>
                <a:gd name="connsiteY21" fmla="*/ 772753 h 949552"/>
                <a:gd name="connsiteX22" fmla="*/ 330172 w 555527"/>
                <a:gd name="connsiteY22" fmla="*/ 774409 h 949552"/>
                <a:gd name="connsiteX23" fmla="*/ 304856 w 555527"/>
                <a:gd name="connsiteY23" fmla="*/ 780453 h 949552"/>
                <a:gd name="connsiteX24" fmla="*/ 374981 w 555527"/>
                <a:gd name="connsiteY24" fmla="*/ 411689 h 949552"/>
                <a:gd name="connsiteX25" fmla="*/ 380990 w 555527"/>
                <a:gd name="connsiteY25" fmla="*/ 391415 h 949552"/>
                <a:gd name="connsiteX26" fmla="*/ 424094 w 555527"/>
                <a:gd name="connsiteY26" fmla="*/ 384076 h 949552"/>
                <a:gd name="connsiteX27" fmla="*/ 443413 w 555527"/>
                <a:gd name="connsiteY27" fmla="*/ 346556 h 949552"/>
                <a:gd name="connsiteX28" fmla="*/ 428761 w 555527"/>
                <a:gd name="connsiteY28" fmla="*/ 335391 h 949552"/>
                <a:gd name="connsiteX29" fmla="*/ 398014 w 555527"/>
                <a:gd name="connsiteY29" fmla="*/ 343391 h 949552"/>
                <a:gd name="connsiteX30" fmla="*/ 373526 w 555527"/>
                <a:gd name="connsiteY30" fmla="*/ 378780 h 949552"/>
                <a:gd name="connsiteX31" fmla="*/ 346856 w 555527"/>
                <a:gd name="connsiteY31" fmla="*/ 365833 h 949552"/>
                <a:gd name="connsiteX32" fmla="*/ 333320 w 555527"/>
                <a:gd name="connsiteY32" fmla="*/ 350382 h 949552"/>
                <a:gd name="connsiteX33" fmla="*/ 357670 w 555527"/>
                <a:gd name="connsiteY33" fmla="*/ 305722 h 949552"/>
                <a:gd name="connsiteX34" fmla="*/ 353154 w 555527"/>
                <a:gd name="connsiteY34" fmla="*/ 278832 h 949552"/>
                <a:gd name="connsiteX35" fmla="*/ 340810 w 555527"/>
                <a:gd name="connsiteY35" fmla="*/ 271057 h 949552"/>
                <a:gd name="connsiteX36" fmla="*/ 314102 w 555527"/>
                <a:gd name="connsiteY36" fmla="*/ 293984 h 949552"/>
                <a:gd name="connsiteX37" fmla="*/ 319120 w 555527"/>
                <a:gd name="connsiteY37" fmla="*/ 347890 h 949552"/>
                <a:gd name="connsiteX38" fmla="*/ 279930 w 555527"/>
                <a:gd name="connsiteY38" fmla="*/ 362157 h 949552"/>
                <a:gd name="connsiteX39" fmla="*/ 279574 w 555527"/>
                <a:gd name="connsiteY39" fmla="*/ 362157 h 949552"/>
                <a:gd name="connsiteX40" fmla="*/ 238804 w 555527"/>
                <a:gd name="connsiteY40" fmla="*/ 344737 h 949552"/>
                <a:gd name="connsiteX41" fmla="*/ 249090 w 555527"/>
                <a:gd name="connsiteY41" fmla="*/ 318843 h 949552"/>
                <a:gd name="connsiteX42" fmla="*/ 245051 w 555527"/>
                <a:gd name="connsiteY42" fmla="*/ 287430 h 949552"/>
                <a:gd name="connsiteX43" fmla="*/ 225745 w 555527"/>
                <a:gd name="connsiteY43" fmla="*/ 281723 h 949552"/>
                <a:gd name="connsiteX44" fmla="*/ 209072 w 555527"/>
                <a:gd name="connsiteY44" fmla="*/ 292900 h 949552"/>
                <a:gd name="connsiteX45" fmla="*/ 214065 w 555527"/>
                <a:gd name="connsiteY45" fmla="*/ 327616 h 949552"/>
                <a:gd name="connsiteX46" fmla="*/ 224954 w 555527"/>
                <a:gd name="connsiteY46" fmla="*/ 346444 h 949552"/>
                <a:gd name="connsiteX47" fmla="*/ 183908 w 555527"/>
                <a:gd name="connsiteY47" fmla="*/ 387752 h 949552"/>
                <a:gd name="connsiteX48" fmla="*/ 164702 w 555527"/>
                <a:gd name="connsiteY48" fmla="*/ 394069 h 949552"/>
                <a:gd name="connsiteX49" fmla="*/ 158242 w 555527"/>
                <a:gd name="connsiteY49" fmla="*/ 378281 h 949552"/>
                <a:gd name="connsiteX50" fmla="*/ 140767 w 555527"/>
                <a:gd name="connsiteY50" fmla="*/ 349696 h 949552"/>
                <a:gd name="connsiteX51" fmla="*/ 118613 w 555527"/>
                <a:gd name="connsiteY51" fmla="*/ 342706 h 949552"/>
                <a:gd name="connsiteX52" fmla="*/ 107887 w 555527"/>
                <a:gd name="connsiteY52" fmla="*/ 362618 h 949552"/>
                <a:gd name="connsiteX53" fmla="*/ 129063 w 555527"/>
                <a:gd name="connsiteY53" fmla="*/ 400237 h 949552"/>
                <a:gd name="connsiteX54" fmla="*/ 157288 w 555527"/>
                <a:gd name="connsiteY54" fmla="*/ 406081 h 949552"/>
                <a:gd name="connsiteX55" fmla="*/ 252491 w 555527"/>
                <a:gd name="connsiteY55" fmla="*/ 779768 h 949552"/>
                <a:gd name="connsiteX56" fmla="*/ 221957 w 555527"/>
                <a:gd name="connsiteY56" fmla="*/ 775120 h 949552"/>
                <a:gd name="connsiteX57" fmla="*/ 220751 w 555527"/>
                <a:gd name="connsiteY57" fmla="*/ 772803 h 949552"/>
                <a:gd name="connsiteX58" fmla="*/ 162632 w 555527"/>
                <a:gd name="connsiteY58" fmla="*/ 632008 h 949552"/>
                <a:gd name="connsiteX59" fmla="*/ 147929 w 555527"/>
                <a:gd name="connsiteY59" fmla="*/ 567275 h 949552"/>
                <a:gd name="connsiteX60" fmla="*/ 86974 w 555527"/>
                <a:gd name="connsiteY60" fmla="*/ 467676 h 949552"/>
                <a:gd name="connsiteX61" fmla="*/ 35064 w 555527"/>
                <a:gd name="connsiteY61" fmla="*/ 391466 h 949552"/>
                <a:gd name="connsiteX62" fmla="*/ 139687 w 555527"/>
                <a:gd name="connsiteY62" fmla="*/ 51424 h 949552"/>
                <a:gd name="connsiteX63" fmla="*/ 325055 w 555527"/>
                <a:gd name="connsiteY63" fmla="*/ 297026 h 949552"/>
                <a:gd name="connsiteX64" fmla="*/ 338051 w 555527"/>
                <a:gd name="connsiteY64" fmla="*/ 282135 h 949552"/>
                <a:gd name="connsiteX65" fmla="*/ 339068 w 555527"/>
                <a:gd name="connsiteY65" fmla="*/ 282241 h 949552"/>
                <a:gd name="connsiteX66" fmla="*/ 343885 w 555527"/>
                <a:gd name="connsiteY66" fmla="*/ 285367 h 949552"/>
                <a:gd name="connsiteX67" fmla="*/ 346506 w 555527"/>
                <a:gd name="connsiteY67" fmla="*/ 303647 h 949552"/>
                <a:gd name="connsiteX68" fmla="*/ 327915 w 555527"/>
                <a:gd name="connsiteY68" fmla="*/ 339858 h 949552"/>
                <a:gd name="connsiteX69" fmla="*/ 325056 w 555527"/>
                <a:gd name="connsiteY69" fmla="*/ 297042 h 949552"/>
                <a:gd name="connsiteX70" fmla="*/ 230831 w 555527"/>
                <a:gd name="connsiteY70" fmla="*/ 335255 h 949552"/>
                <a:gd name="connsiteX71" fmla="*/ 224683 w 555527"/>
                <a:gd name="connsiteY71" fmla="*/ 323580 h 949552"/>
                <a:gd name="connsiteX72" fmla="*/ 219239 w 555527"/>
                <a:gd name="connsiteY72" fmla="*/ 297960 h 949552"/>
                <a:gd name="connsiteX73" fmla="*/ 227469 w 555527"/>
                <a:gd name="connsiteY73" fmla="*/ 292876 h 949552"/>
                <a:gd name="connsiteX74" fmla="*/ 229688 w 555527"/>
                <a:gd name="connsiteY74" fmla="*/ 292699 h 949552"/>
                <a:gd name="connsiteX75" fmla="*/ 236876 w 555527"/>
                <a:gd name="connsiteY75" fmla="*/ 295278 h 949552"/>
                <a:gd name="connsiteX76" fmla="*/ 238181 w 555527"/>
                <a:gd name="connsiteY76" fmla="*/ 315726 h 949552"/>
                <a:gd name="connsiteX77" fmla="*/ 230829 w 555527"/>
                <a:gd name="connsiteY77" fmla="*/ 335252 h 949552"/>
                <a:gd name="connsiteX78" fmla="*/ 233078 w 555527"/>
                <a:gd name="connsiteY78" fmla="*/ 355030 h 949552"/>
                <a:gd name="connsiteX79" fmla="*/ 280033 w 555527"/>
                <a:gd name="connsiteY79" fmla="*/ 373435 h 949552"/>
                <a:gd name="connsiteX80" fmla="*/ 324642 w 555527"/>
                <a:gd name="connsiteY80" fmla="*/ 357797 h 949552"/>
                <a:gd name="connsiteX81" fmla="*/ 339621 w 555527"/>
                <a:gd name="connsiteY81" fmla="*/ 374544 h 949552"/>
                <a:gd name="connsiteX82" fmla="*/ 369640 w 555527"/>
                <a:gd name="connsiteY82" fmla="*/ 389397 h 949552"/>
                <a:gd name="connsiteX83" fmla="*/ 364020 w 555527"/>
                <a:gd name="connsiteY83" fmla="*/ 408749 h 949552"/>
                <a:gd name="connsiteX84" fmla="*/ 293456 w 555527"/>
                <a:gd name="connsiteY84" fmla="*/ 781301 h 949552"/>
                <a:gd name="connsiteX85" fmla="*/ 286368 w 555527"/>
                <a:gd name="connsiteY85" fmla="*/ 781823 h 949552"/>
                <a:gd name="connsiteX86" fmla="*/ 264152 w 555527"/>
                <a:gd name="connsiteY86" fmla="*/ 780926 h 949552"/>
                <a:gd name="connsiteX87" fmla="*/ 168974 w 555527"/>
                <a:gd name="connsiteY87" fmla="*/ 404761 h 949552"/>
                <a:gd name="connsiteX88" fmla="*/ 189071 w 555527"/>
                <a:gd name="connsiteY88" fmla="*/ 397808 h 949552"/>
                <a:gd name="connsiteX89" fmla="*/ 233078 w 555527"/>
                <a:gd name="connsiteY89" fmla="*/ 355030 h 949552"/>
                <a:gd name="connsiteX90" fmla="*/ 356932 w 555527"/>
                <a:gd name="connsiteY90" fmla="*/ 775893 h 949552"/>
                <a:gd name="connsiteX91" fmla="*/ 291587 w 555527"/>
                <a:gd name="connsiteY91" fmla="*/ 799033 h 949552"/>
                <a:gd name="connsiteX92" fmla="*/ 286193 w 555527"/>
                <a:gd name="connsiteY92" fmla="*/ 804964 h 949552"/>
                <a:gd name="connsiteX93" fmla="*/ 291863 w 555527"/>
                <a:gd name="connsiteY93" fmla="*/ 810310 h 949552"/>
                <a:gd name="connsiteX94" fmla="*/ 292147 w 555527"/>
                <a:gd name="connsiteY94" fmla="*/ 810310 h 949552"/>
                <a:gd name="connsiteX95" fmla="*/ 353291 w 555527"/>
                <a:gd name="connsiteY95" fmla="*/ 791731 h 949552"/>
                <a:gd name="connsiteX96" fmla="*/ 346818 w 555527"/>
                <a:gd name="connsiteY96" fmla="*/ 799593 h 949552"/>
                <a:gd name="connsiteX97" fmla="*/ 310663 w 555527"/>
                <a:gd name="connsiteY97" fmla="*/ 812316 h 949552"/>
                <a:gd name="connsiteX98" fmla="*/ 240036 w 555527"/>
                <a:gd name="connsiteY98" fmla="*/ 812976 h 949552"/>
                <a:gd name="connsiteX99" fmla="*/ 209703 w 555527"/>
                <a:gd name="connsiteY99" fmla="*/ 801974 h 949552"/>
                <a:gd name="connsiteX100" fmla="*/ 204510 w 555527"/>
                <a:gd name="connsiteY100" fmla="*/ 786983 h 949552"/>
                <a:gd name="connsiteX101" fmla="*/ 205552 w 555527"/>
                <a:gd name="connsiteY101" fmla="*/ 783033 h 949552"/>
                <a:gd name="connsiteX102" fmla="*/ 212275 w 555527"/>
                <a:gd name="connsiteY102" fmla="*/ 784902 h 949552"/>
                <a:gd name="connsiteX103" fmla="*/ 283329 w 555527"/>
                <a:gd name="connsiteY103" fmla="*/ 793126 h 949552"/>
                <a:gd name="connsiteX104" fmla="*/ 286540 w 555527"/>
                <a:gd name="connsiteY104" fmla="*/ 793100 h 949552"/>
                <a:gd name="connsiteX105" fmla="*/ 356703 w 555527"/>
                <a:gd name="connsiteY105" fmla="*/ 774559 h 949552"/>
                <a:gd name="connsiteX106" fmla="*/ 356916 w 555527"/>
                <a:gd name="connsiteY106" fmla="*/ 775891 h 949552"/>
                <a:gd name="connsiteX107" fmla="*/ 359290 w 555527"/>
                <a:gd name="connsiteY107" fmla="*/ 802908 h 949552"/>
                <a:gd name="connsiteX108" fmla="*/ 359667 w 555527"/>
                <a:gd name="connsiteY108" fmla="*/ 810908 h 949552"/>
                <a:gd name="connsiteX109" fmla="*/ 356442 w 555527"/>
                <a:gd name="connsiteY109" fmla="*/ 812116 h 949552"/>
                <a:gd name="connsiteX110" fmla="*/ 284096 w 555527"/>
                <a:gd name="connsiteY110" fmla="*/ 832975 h 949552"/>
                <a:gd name="connsiteX111" fmla="*/ 277698 w 555527"/>
                <a:gd name="connsiteY111" fmla="*/ 837810 h 949552"/>
                <a:gd name="connsiteX112" fmla="*/ 282566 w 555527"/>
                <a:gd name="connsiteY112" fmla="*/ 844165 h 949552"/>
                <a:gd name="connsiteX113" fmla="*/ 296089 w 555527"/>
                <a:gd name="connsiteY113" fmla="*/ 845062 h 949552"/>
                <a:gd name="connsiteX114" fmla="*/ 352729 w 555527"/>
                <a:gd name="connsiteY114" fmla="*/ 828639 h 949552"/>
                <a:gd name="connsiteX115" fmla="*/ 347573 w 555527"/>
                <a:gd name="connsiteY115" fmla="*/ 834445 h 949552"/>
                <a:gd name="connsiteX116" fmla="*/ 306689 w 555527"/>
                <a:gd name="connsiteY116" fmla="*/ 849336 h 949552"/>
                <a:gd name="connsiteX117" fmla="*/ 249723 w 555527"/>
                <a:gd name="connsiteY117" fmla="*/ 846793 h 949552"/>
                <a:gd name="connsiteX118" fmla="*/ 218826 w 555527"/>
                <a:gd name="connsiteY118" fmla="*/ 836974 h 949552"/>
                <a:gd name="connsiteX119" fmla="*/ 210772 w 555527"/>
                <a:gd name="connsiteY119" fmla="*/ 816613 h 949552"/>
                <a:gd name="connsiteX120" fmla="*/ 238734 w 555527"/>
                <a:gd name="connsiteY120" fmla="*/ 824177 h 949552"/>
                <a:gd name="connsiteX121" fmla="*/ 272730 w 555527"/>
                <a:gd name="connsiteY121" fmla="*/ 826119 h 949552"/>
                <a:gd name="connsiteX122" fmla="*/ 312172 w 555527"/>
                <a:gd name="connsiteY122" fmla="*/ 823502 h 949552"/>
                <a:gd name="connsiteX123" fmla="*/ 354146 w 555527"/>
                <a:gd name="connsiteY123" fmla="*/ 808238 h 949552"/>
                <a:gd name="connsiteX124" fmla="*/ 359290 w 555527"/>
                <a:gd name="connsiteY124" fmla="*/ 802904 h 949552"/>
                <a:gd name="connsiteX125" fmla="*/ 345717 w 555527"/>
                <a:gd name="connsiteY125" fmla="*/ 866047 h 949552"/>
                <a:gd name="connsiteX126" fmla="*/ 285590 w 555527"/>
                <a:gd name="connsiteY126" fmla="*/ 875367 h 949552"/>
                <a:gd name="connsiteX127" fmla="*/ 279129 w 555527"/>
                <a:gd name="connsiteY127" fmla="*/ 880115 h 949552"/>
                <a:gd name="connsiteX128" fmla="*/ 283909 w 555527"/>
                <a:gd name="connsiteY128" fmla="*/ 886532 h 949552"/>
                <a:gd name="connsiteX129" fmla="*/ 300543 w 555527"/>
                <a:gd name="connsiteY129" fmla="*/ 887740 h 949552"/>
                <a:gd name="connsiteX130" fmla="*/ 335769 w 555527"/>
                <a:gd name="connsiteY130" fmla="*/ 882008 h 949552"/>
                <a:gd name="connsiteX131" fmla="*/ 311081 w 555527"/>
                <a:gd name="connsiteY131" fmla="*/ 895341 h 949552"/>
                <a:gd name="connsiteX132" fmla="*/ 269884 w 555527"/>
                <a:gd name="connsiteY132" fmla="*/ 900862 h 949552"/>
                <a:gd name="connsiteX133" fmla="*/ 229389 w 555527"/>
                <a:gd name="connsiteY133" fmla="*/ 886133 h 949552"/>
                <a:gd name="connsiteX134" fmla="*/ 223355 w 555527"/>
                <a:gd name="connsiteY134" fmla="*/ 852152 h 949552"/>
                <a:gd name="connsiteX135" fmla="*/ 248231 w 555527"/>
                <a:gd name="connsiteY135" fmla="*/ 857984 h 949552"/>
                <a:gd name="connsiteX136" fmla="*/ 290808 w 555527"/>
                <a:gd name="connsiteY136" fmla="*/ 861325 h 949552"/>
                <a:gd name="connsiteX137" fmla="*/ 307756 w 555527"/>
                <a:gd name="connsiteY137" fmla="*/ 860577 h 949552"/>
                <a:gd name="connsiteX138" fmla="*/ 345127 w 555527"/>
                <a:gd name="connsiteY138" fmla="*/ 849885 h 949552"/>
                <a:gd name="connsiteX139" fmla="*/ 345717 w 555527"/>
                <a:gd name="connsiteY139" fmla="*/ 866047 h 949552"/>
                <a:gd name="connsiteX140" fmla="*/ 298636 w 555527"/>
                <a:gd name="connsiteY140" fmla="*/ 935204 h 949552"/>
                <a:gd name="connsiteX141" fmla="*/ 258468 w 555527"/>
                <a:gd name="connsiteY141" fmla="*/ 929273 h 949552"/>
                <a:gd name="connsiteX142" fmla="*/ 249059 w 555527"/>
                <a:gd name="connsiteY142" fmla="*/ 908899 h 949552"/>
                <a:gd name="connsiteX143" fmla="*/ 269394 w 555527"/>
                <a:gd name="connsiteY143" fmla="*/ 912138 h 949552"/>
                <a:gd name="connsiteX144" fmla="*/ 275027 w 555527"/>
                <a:gd name="connsiteY144" fmla="*/ 912244 h 949552"/>
                <a:gd name="connsiteX145" fmla="*/ 314581 w 555527"/>
                <a:gd name="connsiteY145" fmla="*/ 906076 h 949552"/>
                <a:gd name="connsiteX146" fmla="*/ 321782 w 555527"/>
                <a:gd name="connsiteY146" fmla="*/ 903321 h 949552"/>
                <a:gd name="connsiteX147" fmla="*/ 298636 w 555527"/>
                <a:gd name="connsiteY147" fmla="*/ 935196 h 949552"/>
                <a:gd name="connsiteX148" fmla="*/ 24683 w 555527"/>
                <a:gd name="connsiteY148" fmla="*/ 396064 h 949552"/>
                <a:gd name="connsiteX149" fmla="*/ 78149 w 555527"/>
                <a:gd name="connsiteY149" fmla="*/ 474791 h 949552"/>
                <a:gd name="connsiteX150" fmla="*/ 137009 w 555527"/>
                <a:gd name="connsiteY150" fmla="*/ 570415 h 949552"/>
                <a:gd name="connsiteX151" fmla="*/ 151499 w 555527"/>
                <a:gd name="connsiteY151" fmla="*/ 634139 h 949552"/>
                <a:gd name="connsiteX152" fmla="*/ 200047 w 555527"/>
                <a:gd name="connsiteY152" fmla="*/ 765426 h 949552"/>
                <a:gd name="connsiteX153" fmla="*/ 198653 w 555527"/>
                <a:gd name="connsiteY153" fmla="*/ 767644 h 949552"/>
                <a:gd name="connsiteX154" fmla="*/ 197899 w 555527"/>
                <a:gd name="connsiteY154" fmla="*/ 774049 h 949552"/>
                <a:gd name="connsiteX155" fmla="*/ 193207 w 555527"/>
                <a:gd name="connsiteY155" fmla="*/ 785775 h 949552"/>
                <a:gd name="connsiteX156" fmla="*/ 201436 w 555527"/>
                <a:gd name="connsiteY156" fmla="*/ 809662 h 949552"/>
                <a:gd name="connsiteX157" fmla="*/ 211811 w 555527"/>
                <a:gd name="connsiteY157" fmla="*/ 845873 h 949552"/>
                <a:gd name="connsiteX158" fmla="*/ 213379 w 555527"/>
                <a:gd name="connsiteY158" fmla="*/ 846833 h 949552"/>
                <a:gd name="connsiteX159" fmla="*/ 221307 w 555527"/>
                <a:gd name="connsiteY159" fmla="*/ 894085 h 949552"/>
                <a:gd name="connsiteX160" fmla="*/ 238143 w 555527"/>
                <a:gd name="connsiteY160" fmla="*/ 905113 h 949552"/>
                <a:gd name="connsiteX161" fmla="*/ 251139 w 555527"/>
                <a:gd name="connsiteY161" fmla="*/ 937897 h 949552"/>
                <a:gd name="connsiteX162" fmla="*/ 283718 w 555527"/>
                <a:gd name="connsiteY162" fmla="*/ 949460 h 949552"/>
                <a:gd name="connsiteX163" fmla="*/ 303124 w 555527"/>
                <a:gd name="connsiteY163" fmla="*/ 945573 h 949552"/>
                <a:gd name="connsiteX164" fmla="*/ 333282 w 555527"/>
                <a:gd name="connsiteY164" fmla="*/ 902820 h 949552"/>
                <a:gd name="connsiteX165" fmla="*/ 331675 w 555527"/>
                <a:gd name="connsiteY165" fmla="*/ 898596 h 949552"/>
                <a:gd name="connsiteX166" fmla="*/ 349978 w 555527"/>
                <a:gd name="connsiteY166" fmla="*/ 883294 h 949552"/>
                <a:gd name="connsiteX167" fmla="*/ 358107 w 555527"/>
                <a:gd name="connsiteY167" fmla="*/ 862297 h 949552"/>
                <a:gd name="connsiteX168" fmla="*/ 354732 w 555527"/>
                <a:gd name="connsiteY168" fmla="*/ 843170 h 949552"/>
                <a:gd name="connsiteX169" fmla="*/ 355120 w 555527"/>
                <a:gd name="connsiteY169" fmla="*/ 842888 h 949552"/>
                <a:gd name="connsiteX170" fmla="*/ 367978 w 555527"/>
                <a:gd name="connsiteY170" fmla="*/ 793406 h 949552"/>
                <a:gd name="connsiteX171" fmla="*/ 366008 w 555527"/>
                <a:gd name="connsiteY171" fmla="*/ 791213 h 949552"/>
                <a:gd name="connsiteX172" fmla="*/ 364579 w 555527"/>
                <a:gd name="connsiteY172" fmla="*/ 763712 h 949552"/>
                <a:gd name="connsiteX173" fmla="*/ 356813 w 555527"/>
                <a:gd name="connsiteY173" fmla="*/ 761730 h 949552"/>
                <a:gd name="connsiteX174" fmla="*/ 403781 w 555527"/>
                <a:gd name="connsiteY174" fmla="*/ 627502 h 949552"/>
                <a:gd name="connsiteX175" fmla="*/ 410881 w 555527"/>
                <a:gd name="connsiteY175" fmla="*/ 589871 h 949552"/>
                <a:gd name="connsiteX176" fmla="*/ 450285 w 555527"/>
                <a:gd name="connsiteY176" fmla="*/ 496328 h 949552"/>
                <a:gd name="connsiteX177" fmla="*/ 466279 w 555527"/>
                <a:gd name="connsiteY177" fmla="*/ 477413 h 949552"/>
                <a:gd name="connsiteX178" fmla="*/ 512381 w 555527"/>
                <a:gd name="connsiteY178" fmla="*/ 415034 h 949552"/>
                <a:gd name="connsiteX179" fmla="*/ 507189 w 555527"/>
                <a:gd name="connsiteY179" fmla="*/ 97472 h 949552"/>
                <a:gd name="connsiteX180" fmla="*/ 133781 w 555527"/>
                <a:gd name="connsiteY180" fmla="*/ 41773 h 949552"/>
                <a:gd name="connsiteX181" fmla="*/ 24679 w 555527"/>
                <a:gd name="connsiteY181" fmla="*/ 396057 h 949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55527" h="949552">
                  <a:moveTo>
                    <a:pt x="152752" y="394768"/>
                  </a:moveTo>
                  <a:cubicBezTo>
                    <a:pt x="146116" y="394450"/>
                    <a:pt x="139756" y="392899"/>
                    <a:pt x="134073" y="390120"/>
                  </a:cubicBezTo>
                  <a:cubicBezTo>
                    <a:pt x="123485" y="384936"/>
                    <a:pt x="118969" y="372401"/>
                    <a:pt x="119257" y="362955"/>
                  </a:cubicBezTo>
                  <a:cubicBezTo>
                    <a:pt x="119435" y="357199"/>
                    <a:pt x="121316" y="353822"/>
                    <a:pt x="123008" y="353111"/>
                  </a:cubicBezTo>
                  <a:cubicBezTo>
                    <a:pt x="123293" y="352970"/>
                    <a:pt x="123648" y="352935"/>
                    <a:pt x="124061" y="352935"/>
                  </a:cubicBezTo>
                  <a:cubicBezTo>
                    <a:pt x="125917" y="352935"/>
                    <a:pt x="128978" y="354256"/>
                    <a:pt x="133081" y="358019"/>
                  </a:cubicBezTo>
                  <a:cubicBezTo>
                    <a:pt x="139667" y="364038"/>
                    <a:pt x="143618" y="372710"/>
                    <a:pt x="147746" y="382616"/>
                  </a:cubicBezTo>
                  <a:cubicBezTo>
                    <a:pt x="149438" y="386654"/>
                    <a:pt x="151095" y="390716"/>
                    <a:pt x="152751" y="394778"/>
                  </a:cubicBezTo>
                  <a:close/>
                  <a:moveTo>
                    <a:pt x="385106" y="380488"/>
                  </a:moveTo>
                  <a:cubicBezTo>
                    <a:pt x="389911" y="369149"/>
                    <a:pt x="396083" y="359429"/>
                    <a:pt x="405128" y="352177"/>
                  </a:cubicBezTo>
                  <a:cubicBezTo>
                    <a:pt x="411074" y="347429"/>
                    <a:pt x="419955" y="345012"/>
                    <a:pt x="426291" y="346420"/>
                  </a:cubicBezTo>
                  <a:cubicBezTo>
                    <a:pt x="429616" y="347155"/>
                    <a:pt x="431886" y="348825"/>
                    <a:pt x="433190" y="351479"/>
                  </a:cubicBezTo>
                  <a:cubicBezTo>
                    <a:pt x="437155" y="359603"/>
                    <a:pt x="427508" y="369759"/>
                    <a:pt x="419015" y="373971"/>
                  </a:cubicBezTo>
                  <a:cubicBezTo>
                    <a:pt x="408615" y="379142"/>
                    <a:pt x="396685" y="381248"/>
                    <a:pt x="385106" y="380488"/>
                  </a:cubicBezTo>
                  <a:close/>
                  <a:moveTo>
                    <a:pt x="139693" y="51424"/>
                  </a:moveTo>
                  <a:cubicBezTo>
                    <a:pt x="244354" y="-11740"/>
                    <a:pt x="413357" y="-5547"/>
                    <a:pt x="498185" y="104344"/>
                  </a:cubicBezTo>
                  <a:cubicBezTo>
                    <a:pt x="567143" y="193700"/>
                    <a:pt x="549982" y="322084"/>
                    <a:pt x="502375" y="409696"/>
                  </a:cubicBezTo>
                  <a:cubicBezTo>
                    <a:pt x="490031" y="432424"/>
                    <a:pt x="474300" y="450717"/>
                    <a:pt x="457653" y="470093"/>
                  </a:cubicBezTo>
                  <a:cubicBezTo>
                    <a:pt x="452271" y="476348"/>
                    <a:pt x="446864" y="482654"/>
                    <a:pt x="441482" y="489183"/>
                  </a:cubicBezTo>
                  <a:cubicBezTo>
                    <a:pt x="416807" y="519188"/>
                    <a:pt x="406558" y="555736"/>
                    <a:pt x="399784" y="587536"/>
                  </a:cubicBezTo>
                  <a:cubicBezTo>
                    <a:pt x="397113" y="600009"/>
                    <a:pt x="394853" y="612756"/>
                    <a:pt x="392595" y="625566"/>
                  </a:cubicBezTo>
                  <a:cubicBezTo>
                    <a:pt x="383137" y="679110"/>
                    <a:pt x="373352" y="734461"/>
                    <a:pt x="331377" y="772753"/>
                  </a:cubicBezTo>
                  <a:cubicBezTo>
                    <a:pt x="330851" y="773226"/>
                    <a:pt x="330474" y="773813"/>
                    <a:pt x="330172" y="774409"/>
                  </a:cubicBezTo>
                  <a:cubicBezTo>
                    <a:pt x="322268" y="777101"/>
                    <a:pt x="313914" y="779281"/>
                    <a:pt x="304856" y="780453"/>
                  </a:cubicBezTo>
                  <a:cubicBezTo>
                    <a:pt x="309272" y="654736"/>
                    <a:pt x="342641" y="531188"/>
                    <a:pt x="374981" y="411689"/>
                  </a:cubicBezTo>
                  <a:cubicBezTo>
                    <a:pt x="376902" y="404623"/>
                    <a:pt x="378820" y="397820"/>
                    <a:pt x="380990" y="391415"/>
                  </a:cubicBezTo>
                  <a:cubicBezTo>
                    <a:pt x="395693" y="392948"/>
                    <a:pt x="410885" y="390631"/>
                    <a:pt x="424094" y="384076"/>
                  </a:cubicBezTo>
                  <a:cubicBezTo>
                    <a:pt x="438998" y="376687"/>
                    <a:pt x="450288" y="360625"/>
                    <a:pt x="443413" y="346556"/>
                  </a:cubicBezTo>
                  <a:cubicBezTo>
                    <a:pt x="440579" y="340762"/>
                    <a:pt x="435510" y="336899"/>
                    <a:pt x="428761" y="335391"/>
                  </a:cubicBezTo>
                  <a:cubicBezTo>
                    <a:pt x="419001" y="333247"/>
                    <a:pt x="406644" y="336462"/>
                    <a:pt x="398014" y="343391"/>
                  </a:cubicBezTo>
                  <a:cubicBezTo>
                    <a:pt x="386359" y="352712"/>
                    <a:pt x="378858" y="365609"/>
                    <a:pt x="373526" y="378780"/>
                  </a:cubicBezTo>
                  <a:cubicBezTo>
                    <a:pt x="363767" y="376487"/>
                    <a:pt x="354533" y="372138"/>
                    <a:pt x="346856" y="365833"/>
                  </a:cubicBezTo>
                  <a:cubicBezTo>
                    <a:pt x="341524" y="361472"/>
                    <a:pt x="336971" y="356213"/>
                    <a:pt x="333320" y="350382"/>
                  </a:cubicBezTo>
                  <a:cubicBezTo>
                    <a:pt x="345489" y="338532"/>
                    <a:pt x="354408" y="322968"/>
                    <a:pt x="357670" y="305722"/>
                  </a:cubicBezTo>
                  <a:cubicBezTo>
                    <a:pt x="359149" y="297872"/>
                    <a:pt x="358747" y="286682"/>
                    <a:pt x="353154" y="278832"/>
                  </a:cubicBezTo>
                  <a:cubicBezTo>
                    <a:pt x="350092" y="274520"/>
                    <a:pt x="345828" y="271842"/>
                    <a:pt x="340810" y="271057"/>
                  </a:cubicBezTo>
                  <a:cubicBezTo>
                    <a:pt x="327399" y="269050"/>
                    <a:pt x="317614" y="281499"/>
                    <a:pt x="314102" y="293984"/>
                  </a:cubicBezTo>
                  <a:cubicBezTo>
                    <a:pt x="309134" y="311691"/>
                    <a:pt x="311292" y="331167"/>
                    <a:pt x="319120" y="347890"/>
                  </a:cubicBezTo>
                  <a:cubicBezTo>
                    <a:pt x="307754" y="356712"/>
                    <a:pt x="294055" y="362045"/>
                    <a:pt x="279930" y="362157"/>
                  </a:cubicBezTo>
                  <a:cubicBezTo>
                    <a:pt x="279823" y="362157"/>
                    <a:pt x="279681" y="362157"/>
                    <a:pt x="279574" y="362157"/>
                  </a:cubicBezTo>
                  <a:cubicBezTo>
                    <a:pt x="264658" y="362157"/>
                    <a:pt x="249805" y="355466"/>
                    <a:pt x="238804" y="344737"/>
                  </a:cubicBezTo>
                  <a:cubicBezTo>
                    <a:pt x="243295" y="335903"/>
                    <a:pt x="246719" y="327030"/>
                    <a:pt x="249090" y="318843"/>
                  </a:cubicBezTo>
                  <a:cubicBezTo>
                    <a:pt x="253117" y="304888"/>
                    <a:pt x="251761" y="294321"/>
                    <a:pt x="245051" y="287430"/>
                  </a:cubicBezTo>
                  <a:cubicBezTo>
                    <a:pt x="240459" y="282720"/>
                    <a:pt x="233246" y="280564"/>
                    <a:pt x="225745" y="281723"/>
                  </a:cubicBezTo>
                  <a:cubicBezTo>
                    <a:pt x="218268" y="282857"/>
                    <a:pt x="212045" y="287031"/>
                    <a:pt x="209072" y="292900"/>
                  </a:cubicBezTo>
                  <a:cubicBezTo>
                    <a:pt x="204883" y="301212"/>
                    <a:pt x="209250" y="315118"/>
                    <a:pt x="214065" y="327616"/>
                  </a:cubicBezTo>
                  <a:cubicBezTo>
                    <a:pt x="216725" y="334482"/>
                    <a:pt x="220438" y="340812"/>
                    <a:pt x="224954" y="346444"/>
                  </a:cubicBezTo>
                  <a:cubicBezTo>
                    <a:pt x="214203" y="364824"/>
                    <a:pt x="199601" y="379814"/>
                    <a:pt x="183908" y="387752"/>
                  </a:cubicBezTo>
                  <a:cubicBezTo>
                    <a:pt x="177648" y="390917"/>
                    <a:pt x="171150" y="393023"/>
                    <a:pt x="164702" y="394069"/>
                  </a:cubicBezTo>
                  <a:cubicBezTo>
                    <a:pt x="162568" y="388798"/>
                    <a:pt x="160425" y="383528"/>
                    <a:pt x="158242" y="378281"/>
                  </a:cubicBezTo>
                  <a:cubicBezTo>
                    <a:pt x="153601" y="367129"/>
                    <a:pt x="149059" y="357285"/>
                    <a:pt x="140767" y="349696"/>
                  </a:cubicBezTo>
                  <a:cubicBezTo>
                    <a:pt x="130669" y="340463"/>
                    <a:pt x="123129" y="340812"/>
                    <a:pt x="118613" y="342706"/>
                  </a:cubicBezTo>
                  <a:cubicBezTo>
                    <a:pt x="112190" y="345383"/>
                    <a:pt x="108188" y="352836"/>
                    <a:pt x="107887" y="362618"/>
                  </a:cubicBezTo>
                  <a:cubicBezTo>
                    <a:pt x="107499" y="375989"/>
                    <a:pt x="113883" y="392811"/>
                    <a:pt x="129063" y="400237"/>
                  </a:cubicBezTo>
                  <a:cubicBezTo>
                    <a:pt x="137581" y="404424"/>
                    <a:pt x="147391" y="406430"/>
                    <a:pt x="157288" y="406081"/>
                  </a:cubicBezTo>
                  <a:cubicBezTo>
                    <a:pt x="203340" y="522378"/>
                    <a:pt x="235292" y="647958"/>
                    <a:pt x="252491" y="779768"/>
                  </a:cubicBezTo>
                  <a:cubicBezTo>
                    <a:pt x="242242" y="778521"/>
                    <a:pt x="232043" y="776864"/>
                    <a:pt x="221957" y="775120"/>
                  </a:cubicBezTo>
                  <a:cubicBezTo>
                    <a:pt x="221743" y="774286"/>
                    <a:pt x="221381" y="773474"/>
                    <a:pt x="220751" y="772803"/>
                  </a:cubicBezTo>
                  <a:cubicBezTo>
                    <a:pt x="181486" y="729477"/>
                    <a:pt x="172341" y="682138"/>
                    <a:pt x="162632" y="632008"/>
                  </a:cubicBezTo>
                  <a:cubicBezTo>
                    <a:pt x="158592" y="611087"/>
                    <a:pt x="154415" y="589455"/>
                    <a:pt x="147929" y="567275"/>
                  </a:cubicBezTo>
                  <a:cubicBezTo>
                    <a:pt x="136601" y="528472"/>
                    <a:pt x="111361" y="497569"/>
                    <a:pt x="86974" y="467676"/>
                  </a:cubicBezTo>
                  <a:cubicBezTo>
                    <a:pt x="67630" y="444000"/>
                    <a:pt x="47646" y="419490"/>
                    <a:pt x="35064" y="391466"/>
                  </a:cubicBezTo>
                  <a:cubicBezTo>
                    <a:pt x="-20635" y="267257"/>
                    <a:pt x="24338" y="121067"/>
                    <a:pt x="139687" y="51424"/>
                  </a:cubicBezTo>
                  <a:close/>
                  <a:moveTo>
                    <a:pt x="325055" y="297026"/>
                  </a:moveTo>
                  <a:cubicBezTo>
                    <a:pt x="327149" y="289574"/>
                    <a:pt x="332318" y="282135"/>
                    <a:pt x="338051" y="282135"/>
                  </a:cubicBezTo>
                  <a:cubicBezTo>
                    <a:pt x="338407" y="282135"/>
                    <a:pt x="338730" y="282160"/>
                    <a:pt x="339068" y="282241"/>
                  </a:cubicBezTo>
                  <a:cubicBezTo>
                    <a:pt x="341049" y="282523"/>
                    <a:pt x="342581" y="283537"/>
                    <a:pt x="343885" y="285367"/>
                  </a:cubicBezTo>
                  <a:cubicBezTo>
                    <a:pt x="346708" y="289342"/>
                    <a:pt x="347799" y="296868"/>
                    <a:pt x="346506" y="303647"/>
                  </a:cubicBezTo>
                  <a:cubicBezTo>
                    <a:pt x="343896" y="317416"/>
                    <a:pt x="337173" y="329952"/>
                    <a:pt x="327915" y="339858"/>
                  </a:cubicBezTo>
                  <a:cubicBezTo>
                    <a:pt x="322407" y="326325"/>
                    <a:pt x="321115" y="311036"/>
                    <a:pt x="325056" y="297042"/>
                  </a:cubicBezTo>
                  <a:close/>
                  <a:moveTo>
                    <a:pt x="230831" y="335255"/>
                  </a:moveTo>
                  <a:cubicBezTo>
                    <a:pt x="228359" y="331617"/>
                    <a:pt x="226290" y="327704"/>
                    <a:pt x="224683" y="323580"/>
                  </a:cubicBezTo>
                  <a:cubicBezTo>
                    <a:pt x="217495" y="304950"/>
                    <a:pt x="218486" y="299455"/>
                    <a:pt x="219239" y="297960"/>
                  </a:cubicBezTo>
                  <a:cubicBezTo>
                    <a:pt x="220544" y="295406"/>
                    <a:pt x="223680" y="293461"/>
                    <a:pt x="227469" y="292876"/>
                  </a:cubicBezTo>
                  <a:cubicBezTo>
                    <a:pt x="228223" y="292770"/>
                    <a:pt x="228962" y="292699"/>
                    <a:pt x="229688" y="292699"/>
                  </a:cubicBezTo>
                  <a:cubicBezTo>
                    <a:pt x="232621" y="292699"/>
                    <a:pt x="235257" y="293621"/>
                    <a:pt x="236876" y="295278"/>
                  </a:cubicBezTo>
                  <a:cubicBezTo>
                    <a:pt x="241467" y="299988"/>
                    <a:pt x="240111" y="308997"/>
                    <a:pt x="238181" y="315726"/>
                  </a:cubicBezTo>
                  <a:cubicBezTo>
                    <a:pt x="236225" y="322430"/>
                    <a:pt x="233752" y="328972"/>
                    <a:pt x="230829" y="335252"/>
                  </a:cubicBezTo>
                  <a:close/>
                  <a:moveTo>
                    <a:pt x="233078" y="355030"/>
                  </a:moveTo>
                  <a:cubicBezTo>
                    <a:pt x="245962" y="366631"/>
                    <a:pt x="262483" y="373772"/>
                    <a:pt x="280033" y="373435"/>
                  </a:cubicBezTo>
                  <a:cubicBezTo>
                    <a:pt x="296040" y="373294"/>
                    <a:pt x="311621" y="367491"/>
                    <a:pt x="324642" y="357797"/>
                  </a:cubicBezTo>
                  <a:cubicBezTo>
                    <a:pt x="328757" y="364089"/>
                    <a:pt x="333800" y="369771"/>
                    <a:pt x="339621" y="374544"/>
                  </a:cubicBezTo>
                  <a:cubicBezTo>
                    <a:pt x="348314" y="381659"/>
                    <a:pt x="358676" y="386656"/>
                    <a:pt x="369640" y="389397"/>
                  </a:cubicBezTo>
                  <a:cubicBezTo>
                    <a:pt x="367421" y="396176"/>
                    <a:pt x="365626" y="402793"/>
                    <a:pt x="364020" y="408749"/>
                  </a:cubicBezTo>
                  <a:cubicBezTo>
                    <a:pt x="331404" y="529269"/>
                    <a:pt x="297734" y="653852"/>
                    <a:pt x="293456" y="781301"/>
                  </a:cubicBezTo>
                  <a:cubicBezTo>
                    <a:pt x="291073" y="781442"/>
                    <a:pt x="288802" y="781788"/>
                    <a:pt x="286368" y="781823"/>
                  </a:cubicBezTo>
                  <a:cubicBezTo>
                    <a:pt x="278967" y="781965"/>
                    <a:pt x="271553" y="781541"/>
                    <a:pt x="264152" y="780926"/>
                  </a:cubicBezTo>
                  <a:cubicBezTo>
                    <a:pt x="247053" y="648294"/>
                    <a:pt x="215101" y="521917"/>
                    <a:pt x="168974" y="404761"/>
                  </a:cubicBezTo>
                  <a:cubicBezTo>
                    <a:pt x="175761" y="403426"/>
                    <a:pt x="182535" y="401109"/>
                    <a:pt x="189071" y="397808"/>
                  </a:cubicBezTo>
                  <a:cubicBezTo>
                    <a:pt x="207926" y="388275"/>
                    <a:pt x="222578" y="372213"/>
                    <a:pt x="233078" y="355030"/>
                  </a:cubicBezTo>
                  <a:close/>
                  <a:moveTo>
                    <a:pt x="356932" y="775893"/>
                  </a:moveTo>
                  <a:cubicBezTo>
                    <a:pt x="338078" y="789612"/>
                    <a:pt x="314933" y="797837"/>
                    <a:pt x="291587" y="799033"/>
                  </a:cubicBezTo>
                  <a:cubicBezTo>
                    <a:pt x="288440" y="799209"/>
                    <a:pt x="286030" y="801848"/>
                    <a:pt x="286193" y="804964"/>
                  </a:cubicBezTo>
                  <a:cubicBezTo>
                    <a:pt x="286371" y="807980"/>
                    <a:pt x="288863" y="810310"/>
                    <a:pt x="291863" y="810310"/>
                  </a:cubicBezTo>
                  <a:cubicBezTo>
                    <a:pt x="291969" y="810310"/>
                    <a:pt x="292076" y="810310"/>
                    <a:pt x="292147" y="810310"/>
                  </a:cubicBezTo>
                  <a:cubicBezTo>
                    <a:pt x="313574" y="809215"/>
                    <a:pt x="334812" y="802659"/>
                    <a:pt x="353291" y="791731"/>
                  </a:cubicBezTo>
                  <a:cubicBezTo>
                    <a:pt x="351534" y="794747"/>
                    <a:pt x="349339" y="797488"/>
                    <a:pt x="346818" y="799593"/>
                  </a:cubicBezTo>
                  <a:cubicBezTo>
                    <a:pt x="336920" y="807868"/>
                    <a:pt x="322982" y="810671"/>
                    <a:pt x="310663" y="812316"/>
                  </a:cubicBezTo>
                  <a:cubicBezTo>
                    <a:pt x="287280" y="815442"/>
                    <a:pt x="263507" y="815668"/>
                    <a:pt x="240036" y="812976"/>
                  </a:cubicBezTo>
                  <a:cubicBezTo>
                    <a:pt x="229223" y="811719"/>
                    <a:pt x="217142" y="809451"/>
                    <a:pt x="209703" y="801974"/>
                  </a:cubicBezTo>
                  <a:cubicBezTo>
                    <a:pt x="206027" y="798285"/>
                    <a:pt x="203932" y="792267"/>
                    <a:pt x="204510" y="786983"/>
                  </a:cubicBezTo>
                  <a:cubicBezTo>
                    <a:pt x="204652" y="785786"/>
                    <a:pt x="204947" y="784390"/>
                    <a:pt x="205552" y="783033"/>
                  </a:cubicBezTo>
                  <a:cubicBezTo>
                    <a:pt x="207998" y="784079"/>
                    <a:pt x="210469" y="784580"/>
                    <a:pt x="212275" y="784902"/>
                  </a:cubicBezTo>
                  <a:cubicBezTo>
                    <a:pt x="235383" y="788952"/>
                    <a:pt x="259218" y="793126"/>
                    <a:pt x="283329" y="793126"/>
                  </a:cubicBezTo>
                  <a:cubicBezTo>
                    <a:pt x="284396" y="793126"/>
                    <a:pt x="285473" y="793126"/>
                    <a:pt x="286540" y="793100"/>
                  </a:cubicBezTo>
                  <a:cubicBezTo>
                    <a:pt x="313700" y="792677"/>
                    <a:pt x="337773" y="786160"/>
                    <a:pt x="356703" y="774559"/>
                  </a:cubicBezTo>
                  <a:cubicBezTo>
                    <a:pt x="356810" y="774993"/>
                    <a:pt x="356881" y="775442"/>
                    <a:pt x="356916" y="775891"/>
                  </a:cubicBezTo>
                  <a:close/>
                  <a:moveTo>
                    <a:pt x="359290" y="802908"/>
                  </a:moveTo>
                  <a:cubicBezTo>
                    <a:pt x="359880" y="805536"/>
                    <a:pt x="359916" y="808229"/>
                    <a:pt x="359667" y="810908"/>
                  </a:cubicBezTo>
                  <a:cubicBezTo>
                    <a:pt x="358536" y="810978"/>
                    <a:pt x="357395" y="811317"/>
                    <a:pt x="356442" y="812116"/>
                  </a:cubicBezTo>
                  <a:cubicBezTo>
                    <a:pt x="336696" y="828626"/>
                    <a:pt x="309600" y="836414"/>
                    <a:pt x="284096" y="832975"/>
                  </a:cubicBezTo>
                  <a:cubicBezTo>
                    <a:pt x="281024" y="832590"/>
                    <a:pt x="278125" y="834720"/>
                    <a:pt x="277698" y="837810"/>
                  </a:cubicBezTo>
                  <a:cubicBezTo>
                    <a:pt x="277286" y="840900"/>
                    <a:pt x="279465" y="843741"/>
                    <a:pt x="282566" y="844165"/>
                  </a:cubicBezTo>
                  <a:cubicBezTo>
                    <a:pt x="287044" y="844762"/>
                    <a:pt x="291573" y="845062"/>
                    <a:pt x="296089" y="845062"/>
                  </a:cubicBezTo>
                  <a:cubicBezTo>
                    <a:pt x="315997" y="845062"/>
                    <a:pt x="335906" y="839230"/>
                    <a:pt x="352729" y="828639"/>
                  </a:cubicBezTo>
                  <a:cubicBezTo>
                    <a:pt x="351161" y="830793"/>
                    <a:pt x="349443" y="832801"/>
                    <a:pt x="347573" y="834445"/>
                  </a:cubicBezTo>
                  <a:cubicBezTo>
                    <a:pt x="338265" y="842657"/>
                    <a:pt x="324503" y="847679"/>
                    <a:pt x="306689" y="849336"/>
                  </a:cubicBezTo>
                  <a:cubicBezTo>
                    <a:pt x="287270" y="851141"/>
                    <a:pt x="267850" y="849159"/>
                    <a:pt x="249723" y="846793"/>
                  </a:cubicBezTo>
                  <a:cubicBezTo>
                    <a:pt x="238120" y="845249"/>
                    <a:pt x="227030" y="843352"/>
                    <a:pt x="218826" y="836974"/>
                  </a:cubicBezTo>
                  <a:cubicBezTo>
                    <a:pt x="212817" y="832313"/>
                    <a:pt x="208790" y="823566"/>
                    <a:pt x="210772" y="816613"/>
                  </a:cubicBezTo>
                  <a:cubicBezTo>
                    <a:pt x="219403" y="821285"/>
                    <a:pt x="229476" y="823117"/>
                    <a:pt x="238734" y="824177"/>
                  </a:cubicBezTo>
                  <a:cubicBezTo>
                    <a:pt x="250025" y="825473"/>
                    <a:pt x="261377" y="826119"/>
                    <a:pt x="272730" y="826119"/>
                  </a:cubicBezTo>
                  <a:cubicBezTo>
                    <a:pt x="285915" y="826119"/>
                    <a:pt x="299099" y="825247"/>
                    <a:pt x="312172" y="823502"/>
                  </a:cubicBezTo>
                  <a:cubicBezTo>
                    <a:pt x="326121" y="821644"/>
                    <a:pt x="342016" y="818368"/>
                    <a:pt x="354146" y="808238"/>
                  </a:cubicBezTo>
                  <a:cubicBezTo>
                    <a:pt x="356002" y="806680"/>
                    <a:pt x="357695" y="804847"/>
                    <a:pt x="359290" y="802904"/>
                  </a:cubicBezTo>
                  <a:close/>
                  <a:moveTo>
                    <a:pt x="345717" y="866047"/>
                  </a:moveTo>
                  <a:cubicBezTo>
                    <a:pt x="327150" y="875043"/>
                    <a:pt x="306000" y="878383"/>
                    <a:pt x="285590" y="875367"/>
                  </a:cubicBezTo>
                  <a:cubicBezTo>
                    <a:pt x="282517" y="874943"/>
                    <a:pt x="279593" y="877013"/>
                    <a:pt x="279129" y="880115"/>
                  </a:cubicBezTo>
                  <a:cubicBezTo>
                    <a:pt x="278663" y="883191"/>
                    <a:pt x="280811" y="886059"/>
                    <a:pt x="283909" y="886532"/>
                  </a:cubicBezTo>
                  <a:cubicBezTo>
                    <a:pt x="289428" y="887341"/>
                    <a:pt x="294998" y="887740"/>
                    <a:pt x="300543" y="887740"/>
                  </a:cubicBezTo>
                  <a:cubicBezTo>
                    <a:pt x="312511" y="887740"/>
                    <a:pt x="324390" y="885660"/>
                    <a:pt x="335769" y="882008"/>
                  </a:cubicBezTo>
                  <a:cubicBezTo>
                    <a:pt x="329735" y="887503"/>
                    <a:pt x="321505" y="892002"/>
                    <a:pt x="311081" y="895341"/>
                  </a:cubicBezTo>
                  <a:cubicBezTo>
                    <a:pt x="297745" y="899603"/>
                    <a:pt x="283946" y="901447"/>
                    <a:pt x="269884" y="900862"/>
                  </a:cubicBezTo>
                  <a:cubicBezTo>
                    <a:pt x="257590" y="900325"/>
                    <a:pt x="240566" y="897347"/>
                    <a:pt x="229389" y="886133"/>
                  </a:cubicBezTo>
                  <a:cubicBezTo>
                    <a:pt x="220947" y="877684"/>
                    <a:pt x="217007" y="862619"/>
                    <a:pt x="223355" y="852152"/>
                  </a:cubicBezTo>
                  <a:cubicBezTo>
                    <a:pt x="231271" y="855317"/>
                    <a:pt x="239839" y="856875"/>
                    <a:pt x="248231" y="857984"/>
                  </a:cubicBezTo>
                  <a:cubicBezTo>
                    <a:pt x="261817" y="859768"/>
                    <a:pt x="276156" y="861325"/>
                    <a:pt x="290808" y="861325"/>
                  </a:cubicBezTo>
                  <a:cubicBezTo>
                    <a:pt x="296416" y="861325"/>
                    <a:pt x="302086" y="861113"/>
                    <a:pt x="307756" y="860577"/>
                  </a:cubicBezTo>
                  <a:cubicBezTo>
                    <a:pt x="322622" y="859192"/>
                    <a:pt x="335091" y="855567"/>
                    <a:pt x="345127" y="849885"/>
                  </a:cubicBezTo>
                  <a:cubicBezTo>
                    <a:pt x="347133" y="854733"/>
                    <a:pt x="347271" y="860390"/>
                    <a:pt x="345717" y="866047"/>
                  </a:cubicBezTo>
                  <a:close/>
                  <a:moveTo>
                    <a:pt x="298636" y="935204"/>
                  </a:moveTo>
                  <a:cubicBezTo>
                    <a:pt x="285502" y="940799"/>
                    <a:pt x="269394" y="938432"/>
                    <a:pt x="258468" y="929273"/>
                  </a:cubicBezTo>
                  <a:cubicBezTo>
                    <a:pt x="252647" y="924400"/>
                    <a:pt x="248093" y="916201"/>
                    <a:pt x="249059" y="908899"/>
                  </a:cubicBezTo>
                  <a:cubicBezTo>
                    <a:pt x="255344" y="910581"/>
                    <a:pt x="262006" y="911813"/>
                    <a:pt x="269394" y="912138"/>
                  </a:cubicBezTo>
                  <a:cubicBezTo>
                    <a:pt x="271265" y="912209"/>
                    <a:pt x="273158" y="912244"/>
                    <a:pt x="275027" y="912244"/>
                  </a:cubicBezTo>
                  <a:cubicBezTo>
                    <a:pt x="288450" y="912244"/>
                    <a:pt x="301722" y="910174"/>
                    <a:pt x="314581" y="906076"/>
                  </a:cubicBezTo>
                  <a:cubicBezTo>
                    <a:pt x="317141" y="905267"/>
                    <a:pt x="319423" y="904268"/>
                    <a:pt x="321782" y="903321"/>
                  </a:cubicBezTo>
                  <a:cubicBezTo>
                    <a:pt x="320526" y="917028"/>
                    <a:pt x="311395" y="929750"/>
                    <a:pt x="298636" y="935196"/>
                  </a:cubicBezTo>
                  <a:close/>
                  <a:moveTo>
                    <a:pt x="24683" y="396064"/>
                  </a:moveTo>
                  <a:cubicBezTo>
                    <a:pt x="37881" y="425446"/>
                    <a:pt x="58353" y="450530"/>
                    <a:pt x="78149" y="474791"/>
                  </a:cubicBezTo>
                  <a:cubicBezTo>
                    <a:pt x="102938" y="505145"/>
                    <a:pt x="126334" y="533805"/>
                    <a:pt x="137009" y="570415"/>
                  </a:cubicBezTo>
                  <a:cubicBezTo>
                    <a:pt x="143344" y="592097"/>
                    <a:pt x="147484" y="613467"/>
                    <a:pt x="151499" y="634139"/>
                  </a:cubicBezTo>
                  <a:cubicBezTo>
                    <a:pt x="160405" y="680269"/>
                    <a:pt x="168948" y="724093"/>
                    <a:pt x="200047" y="765426"/>
                  </a:cubicBezTo>
                  <a:cubicBezTo>
                    <a:pt x="199506" y="766086"/>
                    <a:pt x="199044" y="766821"/>
                    <a:pt x="198653" y="767644"/>
                  </a:cubicBezTo>
                  <a:cubicBezTo>
                    <a:pt x="197750" y="769661"/>
                    <a:pt x="197547" y="771906"/>
                    <a:pt x="197899" y="774049"/>
                  </a:cubicBezTo>
                  <a:cubicBezTo>
                    <a:pt x="195389" y="777302"/>
                    <a:pt x="193696" y="781251"/>
                    <a:pt x="193207" y="785775"/>
                  </a:cubicBezTo>
                  <a:cubicBezTo>
                    <a:pt x="192279" y="794410"/>
                    <a:pt x="195451" y="803519"/>
                    <a:pt x="201436" y="809662"/>
                  </a:cubicBezTo>
                  <a:cubicBezTo>
                    <a:pt x="195164" y="822222"/>
                    <a:pt x="201411" y="837786"/>
                    <a:pt x="211811" y="845873"/>
                  </a:cubicBezTo>
                  <a:cubicBezTo>
                    <a:pt x="212313" y="846258"/>
                    <a:pt x="212878" y="846470"/>
                    <a:pt x="213379" y="846833"/>
                  </a:cubicBezTo>
                  <a:cubicBezTo>
                    <a:pt x="204385" y="862198"/>
                    <a:pt x="209880" y="882634"/>
                    <a:pt x="221307" y="894085"/>
                  </a:cubicBezTo>
                  <a:cubicBezTo>
                    <a:pt x="225887" y="898670"/>
                    <a:pt x="231670" y="902222"/>
                    <a:pt x="238143" y="905113"/>
                  </a:cubicBezTo>
                  <a:cubicBezTo>
                    <a:pt x="235369" y="917200"/>
                    <a:pt x="242019" y="930259"/>
                    <a:pt x="251139" y="937897"/>
                  </a:cubicBezTo>
                  <a:cubicBezTo>
                    <a:pt x="260159" y="945461"/>
                    <a:pt x="271951" y="949460"/>
                    <a:pt x="283718" y="949460"/>
                  </a:cubicBezTo>
                  <a:cubicBezTo>
                    <a:pt x="290367" y="949460"/>
                    <a:pt x="297003" y="948189"/>
                    <a:pt x="303124" y="945573"/>
                  </a:cubicBezTo>
                  <a:cubicBezTo>
                    <a:pt x="320098" y="938321"/>
                    <a:pt x="332216" y="921137"/>
                    <a:pt x="333282" y="902820"/>
                  </a:cubicBezTo>
                  <a:cubicBezTo>
                    <a:pt x="333389" y="901174"/>
                    <a:pt x="332731" y="899694"/>
                    <a:pt x="331675" y="898596"/>
                  </a:cubicBezTo>
                  <a:cubicBezTo>
                    <a:pt x="333481" y="900478"/>
                    <a:pt x="348623" y="885263"/>
                    <a:pt x="349978" y="883294"/>
                  </a:cubicBezTo>
                  <a:cubicBezTo>
                    <a:pt x="353929" y="877487"/>
                    <a:pt x="356965" y="869238"/>
                    <a:pt x="358107" y="862297"/>
                  </a:cubicBezTo>
                  <a:cubicBezTo>
                    <a:pt x="358462" y="860252"/>
                    <a:pt x="355386" y="842609"/>
                    <a:pt x="354732" y="843170"/>
                  </a:cubicBezTo>
                  <a:cubicBezTo>
                    <a:pt x="354874" y="843064"/>
                    <a:pt x="354981" y="842994"/>
                    <a:pt x="355120" y="842888"/>
                  </a:cubicBezTo>
                  <a:cubicBezTo>
                    <a:pt x="367778" y="831698"/>
                    <a:pt x="376271" y="811112"/>
                    <a:pt x="367978" y="793406"/>
                  </a:cubicBezTo>
                  <a:cubicBezTo>
                    <a:pt x="367527" y="792445"/>
                    <a:pt x="366822" y="791760"/>
                    <a:pt x="366008" y="791213"/>
                  </a:cubicBezTo>
                  <a:cubicBezTo>
                    <a:pt x="369394" y="782291"/>
                    <a:pt x="369696" y="772285"/>
                    <a:pt x="364579" y="763712"/>
                  </a:cubicBezTo>
                  <a:cubicBezTo>
                    <a:pt x="363000" y="761020"/>
                    <a:pt x="359498" y="760147"/>
                    <a:pt x="356813" y="761730"/>
                  </a:cubicBezTo>
                  <a:cubicBezTo>
                    <a:pt x="386795" y="723127"/>
                    <a:pt x="395464" y="674654"/>
                    <a:pt x="403781" y="627502"/>
                  </a:cubicBezTo>
                  <a:cubicBezTo>
                    <a:pt x="406039" y="614830"/>
                    <a:pt x="408247" y="602220"/>
                    <a:pt x="410881" y="589871"/>
                  </a:cubicBezTo>
                  <a:cubicBezTo>
                    <a:pt x="417379" y="559404"/>
                    <a:pt x="427139" y="524452"/>
                    <a:pt x="450285" y="496328"/>
                  </a:cubicBezTo>
                  <a:cubicBezTo>
                    <a:pt x="455604" y="489848"/>
                    <a:pt x="460973" y="483606"/>
                    <a:pt x="466279" y="477413"/>
                  </a:cubicBezTo>
                  <a:cubicBezTo>
                    <a:pt x="483340" y="457575"/>
                    <a:pt x="499460" y="438834"/>
                    <a:pt x="512381" y="415034"/>
                  </a:cubicBezTo>
                  <a:cubicBezTo>
                    <a:pt x="561720" y="324246"/>
                    <a:pt x="579258" y="190841"/>
                    <a:pt x="507189" y="97472"/>
                  </a:cubicBezTo>
                  <a:cubicBezTo>
                    <a:pt x="418673" y="-17242"/>
                    <a:pt x="242644" y="-23958"/>
                    <a:pt x="133781" y="41773"/>
                  </a:cubicBezTo>
                  <a:cubicBezTo>
                    <a:pt x="13564" y="114357"/>
                    <a:pt x="-33341" y="266665"/>
                    <a:pt x="24679" y="396057"/>
                  </a:cubicBezTo>
                </a:path>
              </a:pathLst>
            </a:custGeom>
            <a:grpFill/>
            <a:ln w="1250" cap="flat">
              <a:noFill/>
              <a:prstDash val="solid"/>
              <a:miter/>
            </a:ln>
          </p:spPr>
          <p:txBody>
            <a:bodyPr rtlCol="0" anchor="ctr"/>
            <a:lstStyle/>
            <a:p>
              <a:endParaRPr lang="en-LT"/>
            </a:p>
          </p:txBody>
        </p:sp>
        <p:sp>
          <p:nvSpPr>
            <p:cNvPr id="84" name="Freeform 83">
              <a:extLst>
                <a:ext uri="{FF2B5EF4-FFF2-40B4-BE49-F238E27FC236}">
                  <a16:creationId xmlns:a16="http://schemas.microsoft.com/office/drawing/2014/main" id="{FC67537C-4CF3-8F42-963E-5DA28E031867}"/>
                </a:ext>
              </a:extLst>
            </p:cNvPr>
            <p:cNvSpPr/>
            <p:nvPr/>
          </p:nvSpPr>
          <p:spPr>
            <a:xfrm>
              <a:off x="5859545" y="3128279"/>
              <a:ext cx="142589" cy="204679"/>
            </a:xfrm>
            <a:custGeom>
              <a:avLst/>
              <a:gdLst>
                <a:gd name="connsiteX0" fmla="*/ 69207 w 142589"/>
                <a:gd name="connsiteY0" fmla="*/ 32523 h 204679"/>
                <a:gd name="connsiteX1" fmla="*/ 97684 w 142589"/>
                <a:gd name="connsiteY1" fmla="*/ 11352 h 204679"/>
                <a:gd name="connsiteX2" fmla="*/ 127753 w 142589"/>
                <a:gd name="connsiteY2" fmla="*/ 23626 h 204679"/>
                <a:gd name="connsiteX3" fmla="*/ 33065 w 142589"/>
                <a:gd name="connsiteY3" fmla="*/ 192233 h 204679"/>
                <a:gd name="connsiteX4" fmla="*/ 11501 w 142589"/>
                <a:gd name="connsiteY4" fmla="*/ 187959 h 204679"/>
                <a:gd name="connsiteX5" fmla="*/ 69207 w 142589"/>
                <a:gd name="connsiteY5" fmla="*/ 32523 h 204679"/>
                <a:gd name="connsiteX6" fmla="*/ 4488 w 142589"/>
                <a:gd name="connsiteY6" fmla="*/ 198077 h 204679"/>
                <a:gd name="connsiteX7" fmla="*/ 36816 w 142589"/>
                <a:gd name="connsiteY7" fmla="*/ 204482 h 204679"/>
                <a:gd name="connsiteX8" fmla="*/ 37933 w 142589"/>
                <a:gd name="connsiteY8" fmla="*/ 204588 h 204679"/>
                <a:gd name="connsiteX9" fmla="*/ 41268 w 142589"/>
                <a:gd name="connsiteY9" fmla="*/ 203503 h 204679"/>
                <a:gd name="connsiteX10" fmla="*/ 43576 w 142589"/>
                <a:gd name="connsiteY10" fmla="*/ 199591 h 204679"/>
                <a:gd name="connsiteX11" fmla="*/ 140309 w 142589"/>
                <a:gd name="connsiteY11" fmla="*/ 28067 h 204679"/>
                <a:gd name="connsiteX12" fmla="*/ 142492 w 142589"/>
                <a:gd name="connsiteY12" fmla="*/ 23706 h 204679"/>
                <a:gd name="connsiteX13" fmla="*/ 140433 w 142589"/>
                <a:gd name="connsiteY13" fmla="*/ 19282 h 204679"/>
                <a:gd name="connsiteX14" fmla="*/ 96401 w 142589"/>
                <a:gd name="connsiteY14" fmla="*/ 130 h 204679"/>
                <a:gd name="connsiteX15" fmla="*/ 60185 w 142589"/>
                <a:gd name="connsiteY15" fmla="*/ 25675 h 204679"/>
                <a:gd name="connsiteX16" fmla="*/ -93 w 142589"/>
                <a:gd name="connsiteY16" fmla="*/ 192312 h 204679"/>
                <a:gd name="connsiteX17" fmla="*/ 4486 w 142589"/>
                <a:gd name="connsiteY17" fmla="*/ 198070 h 20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589" h="204679">
                  <a:moveTo>
                    <a:pt x="69207" y="32523"/>
                  </a:moveTo>
                  <a:cubicBezTo>
                    <a:pt x="76244" y="23364"/>
                    <a:pt x="85804" y="12686"/>
                    <a:pt x="97684" y="11352"/>
                  </a:cubicBezTo>
                  <a:cubicBezTo>
                    <a:pt x="108221" y="10131"/>
                    <a:pt x="118232" y="16262"/>
                    <a:pt x="127753" y="23626"/>
                  </a:cubicBezTo>
                  <a:cubicBezTo>
                    <a:pt x="76445" y="65868"/>
                    <a:pt x="42298" y="126664"/>
                    <a:pt x="33065" y="192233"/>
                  </a:cubicBezTo>
                  <a:lnTo>
                    <a:pt x="11501" y="187959"/>
                  </a:lnTo>
                  <a:cubicBezTo>
                    <a:pt x="14687" y="132060"/>
                    <a:pt x="35098" y="77046"/>
                    <a:pt x="69207" y="32523"/>
                  </a:cubicBezTo>
                  <a:close/>
                  <a:moveTo>
                    <a:pt x="4488" y="198077"/>
                  </a:moveTo>
                  <a:lnTo>
                    <a:pt x="36816" y="204482"/>
                  </a:lnTo>
                  <a:cubicBezTo>
                    <a:pt x="37193" y="204552"/>
                    <a:pt x="37570" y="204588"/>
                    <a:pt x="37933" y="204588"/>
                  </a:cubicBezTo>
                  <a:cubicBezTo>
                    <a:pt x="39124" y="204588"/>
                    <a:pt x="40305" y="204213"/>
                    <a:pt x="41268" y="203503"/>
                  </a:cubicBezTo>
                  <a:cubicBezTo>
                    <a:pt x="42548" y="202581"/>
                    <a:pt x="43388" y="201161"/>
                    <a:pt x="43576" y="199591"/>
                  </a:cubicBezTo>
                  <a:cubicBezTo>
                    <a:pt x="51404" y="132364"/>
                    <a:pt x="86680" y="69836"/>
                    <a:pt x="140309" y="28067"/>
                  </a:cubicBezTo>
                  <a:cubicBezTo>
                    <a:pt x="141664" y="27022"/>
                    <a:pt x="142467" y="25414"/>
                    <a:pt x="142492" y="23706"/>
                  </a:cubicBezTo>
                  <a:cubicBezTo>
                    <a:pt x="142504" y="21999"/>
                    <a:pt x="141753" y="20366"/>
                    <a:pt x="140433" y="19282"/>
                  </a:cubicBezTo>
                  <a:cubicBezTo>
                    <a:pt x="127525" y="8653"/>
                    <a:pt x="113261" y="-1752"/>
                    <a:pt x="96401" y="130"/>
                  </a:cubicBezTo>
                  <a:cubicBezTo>
                    <a:pt x="80256" y="1950"/>
                    <a:pt x="68564" y="14734"/>
                    <a:pt x="60185" y="25675"/>
                  </a:cubicBezTo>
                  <a:cubicBezTo>
                    <a:pt x="23667" y="73312"/>
                    <a:pt x="2253" y="132488"/>
                    <a:pt x="-93" y="192312"/>
                  </a:cubicBezTo>
                  <a:cubicBezTo>
                    <a:pt x="-200" y="195078"/>
                    <a:pt x="1738" y="197521"/>
                    <a:pt x="4486" y="198070"/>
                  </a:cubicBezTo>
                </a:path>
              </a:pathLst>
            </a:custGeom>
            <a:grpFill/>
            <a:ln w="1250" cap="flat">
              <a:noFill/>
              <a:prstDash val="solid"/>
              <a:miter/>
            </a:ln>
          </p:spPr>
          <p:txBody>
            <a:bodyPr rtlCol="0" anchor="ctr"/>
            <a:lstStyle/>
            <a:p>
              <a:endParaRPr lang="en-LT"/>
            </a:p>
          </p:txBody>
        </p:sp>
        <p:sp>
          <p:nvSpPr>
            <p:cNvPr id="85" name="Freeform 84">
              <a:extLst>
                <a:ext uri="{FF2B5EF4-FFF2-40B4-BE49-F238E27FC236}">
                  <a16:creationId xmlns:a16="http://schemas.microsoft.com/office/drawing/2014/main" id="{C22070DE-306A-BF41-BCC7-EDAB7B96D308}"/>
                </a:ext>
              </a:extLst>
            </p:cNvPr>
            <p:cNvSpPr/>
            <p:nvPr/>
          </p:nvSpPr>
          <p:spPr>
            <a:xfrm>
              <a:off x="5651500" y="3281988"/>
              <a:ext cx="127873" cy="59002"/>
            </a:xfrm>
            <a:custGeom>
              <a:avLst/>
              <a:gdLst>
                <a:gd name="connsiteX0" fmla="*/ 12156 w 127873"/>
                <a:gd name="connsiteY0" fmla="*/ 29839 h 59002"/>
                <a:gd name="connsiteX1" fmla="*/ 33545 w 127873"/>
                <a:gd name="connsiteY1" fmla="*/ 12493 h 59002"/>
                <a:gd name="connsiteX2" fmla="*/ 45613 w 127873"/>
                <a:gd name="connsiteY2" fmla="*/ 11197 h 59002"/>
                <a:gd name="connsiteX3" fmla="*/ 89507 w 127873"/>
                <a:gd name="connsiteY3" fmla="*/ 22399 h 59002"/>
                <a:gd name="connsiteX4" fmla="*/ 103632 w 127873"/>
                <a:gd name="connsiteY4" fmla="*/ 27658 h 59002"/>
                <a:gd name="connsiteX5" fmla="*/ 45061 w 127873"/>
                <a:gd name="connsiteY5" fmla="*/ 44418 h 59002"/>
                <a:gd name="connsiteX6" fmla="*/ 28025 w 127873"/>
                <a:gd name="connsiteY6" fmla="*/ 47621 h 59002"/>
                <a:gd name="connsiteX7" fmla="*/ 28025 w 127873"/>
                <a:gd name="connsiteY7" fmla="*/ 53266 h 59002"/>
                <a:gd name="connsiteX8" fmla="*/ 27197 w 127873"/>
                <a:gd name="connsiteY8" fmla="*/ 47609 h 59002"/>
                <a:gd name="connsiteX9" fmla="*/ 14025 w 127873"/>
                <a:gd name="connsiteY9" fmla="*/ 41889 h 59002"/>
                <a:gd name="connsiteX10" fmla="*/ 12156 w 127873"/>
                <a:gd name="connsiteY10" fmla="*/ 29840 h 59002"/>
                <a:gd name="connsiteX11" fmla="*/ 26858 w 127873"/>
                <a:gd name="connsiteY11" fmla="*/ 58885 h 59002"/>
                <a:gd name="connsiteX12" fmla="*/ 28025 w 127873"/>
                <a:gd name="connsiteY12" fmla="*/ 58910 h 59002"/>
                <a:gd name="connsiteX13" fmla="*/ 48009 w 127873"/>
                <a:gd name="connsiteY13" fmla="*/ 55321 h 59002"/>
                <a:gd name="connsiteX14" fmla="*/ 108011 w 127873"/>
                <a:gd name="connsiteY14" fmla="*/ 38101 h 59002"/>
                <a:gd name="connsiteX15" fmla="*/ 124143 w 127873"/>
                <a:gd name="connsiteY15" fmla="*/ 32306 h 59002"/>
                <a:gd name="connsiteX16" fmla="*/ 127756 w 127873"/>
                <a:gd name="connsiteY16" fmla="*/ 26562 h 59002"/>
                <a:gd name="connsiteX17" fmla="*/ 123240 w 127873"/>
                <a:gd name="connsiteY17" fmla="*/ 21503 h 59002"/>
                <a:gd name="connsiteX18" fmla="*/ 93634 w 127873"/>
                <a:gd name="connsiteY18" fmla="*/ 11883 h 59002"/>
                <a:gd name="connsiteX19" fmla="*/ 45613 w 127873"/>
                <a:gd name="connsiteY19" fmla="*/ -92 h 59002"/>
                <a:gd name="connsiteX20" fmla="*/ 31086 w 127873"/>
                <a:gd name="connsiteY20" fmla="*/ 1466 h 59002"/>
                <a:gd name="connsiteX21" fmla="*/ 1505 w 127873"/>
                <a:gd name="connsiteY21" fmla="*/ 25926 h 59002"/>
                <a:gd name="connsiteX22" fmla="*/ 4917 w 127873"/>
                <a:gd name="connsiteY22" fmla="*/ 48655 h 59002"/>
                <a:gd name="connsiteX23" fmla="*/ 26858 w 127873"/>
                <a:gd name="connsiteY23" fmla="*/ 58885 h 59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873" h="59002">
                  <a:moveTo>
                    <a:pt x="12156" y="29839"/>
                  </a:moveTo>
                  <a:cubicBezTo>
                    <a:pt x="15242" y="21614"/>
                    <a:pt x="25704" y="14226"/>
                    <a:pt x="33545" y="12493"/>
                  </a:cubicBezTo>
                  <a:cubicBezTo>
                    <a:pt x="37509" y="11621"/>
                    <a:pt x="41448" y="11197"/>
                    <a:pt x="45613" y="11197"/>
                  </a:cubicBezTo>
                  <a:cubicBezTo>
                    <a:pt x="60453" y="11197"/>
                    <a:pt x="74566" y="16642"/>
                    <a:pt x="89507" y="22399"/>
                  </a:cubicBezTo>
                  <a:cubicBezTo>
                    <a:pt x="94161" y="24194"/>
                    <a:pt x="98865" y="26000"/>
                    <a:pt x="103632" y="27658"/>
                  </a:cubicBezTo>
                  <a:cubicBezTo>
                    <a:pt x="86985" y="33290"/>
                    <a:pt x="67880" y="38748"/>
                    <a:pt x="45061" y="44418"/>
                  </a:cubicBezTo>
                  <a:cubicBezTo>
                    <a:pt x="39754" y="45926"/>
                    <a:pt x="33695" y="47621"/>
                    <a:pt x="28025" y="47621"/>
                  </a:cubicBezTo>
                  <a:lnTo>
                    <a:pt x="28025" y="53266"/>
                  </a:lnTo>
                  <a:lnTo>
                    <a:pt x="27197" y="47609"/>
                  </a:lnTo>
                  <a:cubicBezTo>
                    <a:pt x="21527" y="47432"/>
                    <a:pt x="16597" y="45302"/>
                    <a:pt x="14025" y="41889"/>
                  </a:cubicBezTo>
                  <a:cubicBezTo>
                    <a:pt x="11152" y="38101"/>
                    <a:pt x="10550" y="34151"/>
                    <a:pt x="12156" y="29840"/>
                  </a:cubicBezTo>
                  <a:close/>
                  <a:moveTo>
                    <a:pt x="26858" y="58885"/>
                  </a:moveTo>
                  <a:cubicBezTo>
                    <a:pt x="26922" y="58885"/>
                    <a:pt x="27975" y="58910"/>
                    <a:pt x="28025" y="58910"/>
                  </a:cubicBezTo>
                  <a:cubicBezTo>
                    <a:pt x="35288" y="58910"/>
                    <a:pt x="42125" y="56978"/>
                    <a:pt x="48009" y="55321"/>
                  </a:cubicBezTo>
                  <a:cubicBezTo>
                    <a:pt x="71254" y="49540"/>
                    <a:pt x="90899" y="43907"/>
                    <a:pt x="108011" y="38101"/>
                  </a:cubicBezTo>
                  <a:cubicBezTo>
                    <a:pt x="113468" y="36243"/>
                    <a:pt x="118849" y="34312"/>
                    <a:pt x="124143" y="32306"/>
                  </a:cubicBezTo>
                  <a:cubicBezTo>
                    <a:pt x="126501" y="31395"/>
                    <a:pt x="127969" y="29067"/>
                    <a:pt x="127756" y="26562"/>
                  </a:cubicBezTo>
                  <a:cubicBezTo>
                    <a:pt x="127542" y="24072"/>
                    <a:pt x="125697" y="22001"/>
                    <a:pt x="123240" y="21503"/>
                  </a:cubicBezTo>
                  <a:cubicBezTo>
                    <a:pt x="113405" y="19496"/>
                    <a:pt x="103796" y="15796"/>
                    <a:pt x="93634" y="11883"/>
                  </a:cubicBezTo>
                  <a:cubicBezTo>
                    <a:pt x="78367" y="6002"/>
                    <a:pt x="62573" y="-92"/>
                    <a:pt x="45613" y="-92"/>
                  </a:cubicBezTo>
                  <a:cubicBezTo>
                    <a:pt x="40683" y="-92"/>
                    <a:pt x="35790" y="445"/>
                    <a:pt x="31086" y="1466"/>
                  </a:cubicBezTo>
                  <a:cubicBezTo>
                    <a:pt x="20285" y="3871"/>
                    <a:pt x="6235" y="13241"/>
                    <a:pt x="1505" y="25926"/>
                  </a:cubicBezTo>
                  <a:cubicBezTo>
                    <a:pt x="-1468" y="33876"/>
                    <a:pt x="-289" y="41739"/>
                    <a:pt x="4917" y="48655"/>
                  </a:cubicBezTo>
                  <a:cubicBezTo>
                    <a:pt x="9609" y="54885"/>
                    <a:pt x="17613" y="58611"/>
                    <a:pt x="26858" y="58885"/>
                  </a:cubicBezTo>
                </a:path>
              </a:pathLst>
            </a:custGeom>
            <a:grpFill/>
            <a:ln w="1250" cap="flat">
              <a:noFill/>
              <a:prstDash val="solid"/>
              <a:miter/>
            </a:ln>
          </p:spPr>
          <p:txBody>
            <a:bodyPr rtlCol="0" anchor="ctr"/>
            <a:lstStyle/>
            <a:p>
              <a:endParaRPr lang="en-LT"/>
            </a:p>
          </p:txBody>
        </p:sp>
        <p:sp>
          <p:nvSpPr>
            <p:cNvPr id="86" name="Freeform 85">
              <a:extLst>
                <a:ext uri="{FF2B5EF4-FFF2-40B4-BE49-F238E27FC236}">
                  <a16:creationId xmlns:a16="http://schemas.microsoft.com/office/drawing/2014/main" id="{2706732C-21E9-EE40-85CA-2FF17D929A12}"/>
                </a:ext>
              </a:extLst>
            </p:cNvPr>
            <p:cNvSpPr/>
            <p:nvPr/>
          </p:nvSpPr>
          <p:spPr>
            <a:xfrm>
              <a:off x="5764013" y="3003228"/>
              <a:ext cx="109098" cy="87325"/>
            </a:xfrm>
            <a:custGeom>
              <a:avLst/>
              <a:gdLst>
                <a:gd name="connsiteX0" fmla="*/ 11742 w 109098"/>
                <a:gd name="connsiteY0" fmla="*/ 17827 h 87325"/>
                <a:gd name="connsiteX1" fmla="*/ 23848 w 109098"/>
                <a:gd name="connsiteY1" fmla="*/ 11186 h 87325"/>
                <a:gd name="connsiteX2" fmla="*/ 29342 w 109098"/>
                <a:gd name="connsiteY2" fmla="*/ 12083 h 87325"/>
                <a:gd name="connsiteX3" fmla="*/ 49477 w 109098"/>
                <a:gd name="connsiteY3" fmla="*/ 28631 h 87325"/>
                <a:gd name="connsiteX4" fmla="*/ 75369 w 109098"/>
                <a:gd name="connsiteY4" fmla="*/ 58250 h 87325"/>
                <a:gd name="connsiteX5" fmla="*/ 38575 w 109098"/>
                <a:gd name="connsiteY5" fmla="*/ 41403 h 87325"/>
                <a:gd name="connsiteX6" fmla="*/ 35013 w 109098"/>
                <a:gd name="connsiteY6" fmla="*/ 40219 h 87325"/>
                <a:gd name="connsiteX7" fmla="*/ 18027 w 109098"/>
                <a:gd name="connsiteY7" fmla="*/ 32556 h 87325"/>
                <a:gd name="connsiteX8" fmla="*/ 11742 w 109098"/>
                <a:gd name="connsiteY8" fmla="*/ 17827 h 87325"/>
                <a:gd name="connsiteX9" fmla="*/ 11102 w 109098"/>
                <a:gd name="connsiteY9" fmla="*/ 41503 h 87325"/>
                <a:gd name="connsiteX10" fmla="*/ 31412 w 109098"/>
                <a:gd name="connsiteY10" fmla="*/ 50923 h 87325"/>
                <a:gd name="connsiteX11" fmla="*/ 34851 w 109098"/>
                <a:gd name="connsiteY11" fmla="*/ 52082 h 87325"/>
                <a:gd name="connsiteX12" fmla="*/ 100309 w 109098"/>
                <a:gd name="connsiteY12" fmla="*/ 86374 h 87325"/>
                <a:gd name="connsiteX13" fmla="*/ 103321 w 109098"/>
                <a:gd name="connsiteY13" fmla="*/ 87234 h 87325"/>
                <a:gd name="connsiteX14" fmla="*/ 107636 w 109098"/>
                <a:gd name="connsiteY14" fmla="*/ 85265 h 87325"/>
                <a:gd name="connsiteX15" fmla="*/ 107611 w 109098"/>
                <a:gd name="connsiteY15" fmla="*/ 77888 h 87325"/>
                <a:gd name="connsiteX16" fmla="*/ 58047 w 109098"/>
                <a:gd name="connsiteY16" fmla="*/ 21229 h 87325"/>
                <a:gd name="connsiteX17" fmla="*/ 33070 w 109098"/>
                <a:gd name="connsiteY17" fmla="*/ 1416 h 87325"/>
                <a:gd name="connsiteX18" fmla="*/ 23850 w 109098"/>
                <a:gd name="connsiteY18" fmla="*/ -92 h 87325"/>
                <a:gd name="connsiteX19" fmla="*/ 1043 w 109098"/>
                <a:gd name="connsiteY19" fmla="*/ 14051 h 87325"/>
                <a:gd name="connsiteX20" fmla="*/ 11104 w 109098"/>
                <a:gd name="connsiteY20" fmla="*/ 41502 h 8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098" h="87325">
                  <a:moveTo>
                    <a:pt x="11742" y="17827"/>
                  </a:moveTo>
                  <a:cubicBezTo>
                    <a:pt x="13399" y="13241"/>
                    <a:pt x="19005" y="11186"/>
                    <a:pt x="23848" y="11186"/>
                  </a:cubicBezTo>
                  <a:cubicBezTo>
                    <a:pt x="25754" y="11186"/>
                    <a:pt x="27661" y="11496"/>
                    <a:pt x="29342" y="12083"/>
                  </a:cubicBezTo>
                  <a:cubicBezTo>
                    <a:pt x="37434" y="14874"/>
                    <a:pt x="43832" y="22176"/>
                    <a:pt x="49477" y="28631"/>
                  </a:cubicBezTo>
                  <a:lnTo>
                    <a:pt x="75369" y="58250"/>
                  </a:lnTo>
                  <a:cubicBezTo>
                    <a:pt x="63615" y="51720"/>
                    <a:pt x="51434" y="45839"/>
                    <a:pt x="38575" y="41403"/>
                  </a:cubicBezTo>
                  <a:lnTo>
                    <a:pt x="35013" y="40219"/>
                  </a:lnTo>
                  <a:cubicBezTo>
                    <a:pt x="28715" y="38126"/>
                    <a:pt x="22731" y="36132"/>
                    <a:pt x="18027" y="32556"/>
                  </a:cubicBezTo>
                  <a:cubicBezTo>
                    <a:pt x="13523" y="29104"/>
                    <a:pt x="9910" y="22961"/>
                    <a:pt x="11742" y="17827"/>
                  </a:cubicBezTo>
                  <a:close/>
                  <a:moveTo>
                    <a:pt x="11102" y="41503"/>
                  </a:moveTo>
                  <a:cubicBezTo>
                    <a:pt x="17312" y="46250"/>
                    <a:pt x="24487" y="48618"/>
                    <a:pt x="31412" y="50923"/>
                  </a:cubicBezTo>
                  <a:lnTo>
                    <a:pt x="34851" y="52082"/>
                  </a:lnTo>
                  <a:cubicBezTo>
                    <a:pt x="58096" y="60069"/>
                    <a:pt x="79548" y="73439"/>
                    <a:pt x="100309" y="86374"/>
                  </a:cubicBezTo>
                  <a:cubicBezTo>
                    <a:pt x="101238" y="86960"/>
                    <a:pt x="102279" y="87234"/>
                    <a:pt x="103321" y="87234"/>
                  </a:cubicBezTo>
                  <a:cubicBezTo>
                    <a:pt x="104939" y="87234"/>
                    <a:pt x="106533" y="86548"/>
                    <a:pt x="107636" y="85265"/>
                  </a:cubicBezTo>
                  <a:cubicBezTo>
                    <a:pt x="109468" y="83134"/>
                    <a:pt x="109454" y="80006"/>
                    <a:pt x="107611" y="77888"/>
                  </a:cubicBezTo>
                  <a:lnTo>
                    <a:pt x="58047" y="21229"/>
                  </a:lnTo>
                  <a:cubicBezTo>
                    <a:pt x="51799" y="14089"/>
                    <a:pt x="44022" y="5192"/>
                    <a:pt x="33070" y="1416"/>
                  </a:cubicBezTo>
                  <a:cubicBezTo>
                    <a:pt x="30161" y="407"/>
                    <a:pt x="27061" y="-92"/>
                    <a:pt x="23850" y="-92"/>
                  </a:cubicBezTo>
                  <a:cubicBezTo>
                    <a:pt x="13061" y="-92"/>
                    <a:pt x="4130" y="5453"/>
                    <a:pt x="1043" y="14051"/>
                  </a:cubicBezTo>
                  <a:cubicBezTo>
                    <a:pt x="-2770" y="24718"/>
                    <a:pt x="3589" y="35758"/>
                    <a:pt x="11104" y="41502"/>
                  </a:cubicBezTo>
                </a:path>
              </a:pathLst>
            </a:custGeom>
            <a:grpFill/>
            <a:ln w="1250" cap="flat">
              <a:noFill/>
              <a:prstDash val="solid"/>
              <a:miter/>
            </a:ln>
          </p:spPr>
          <p:txBody>
            <a:bodyPr rtlCol="0" anchor="ctr"/>
            <a:lstStyle/>
            <a:p>
              <a:endParaRPr lang="en-LT"/>
            </a:p>
          </p:txBody>
        </p:sp>
        <p:sp>
          <p:nvSpPr>
            <p:cNvPr id="87" name="Freeform 86">
              <a:extLst>
                <a:ext uri="{FF2B5EF4-FFF2-40B4-BE49-F238E27FC236}">
                  <a16:creationId xmlns:a16="http://schemas.microsoft.com/office/drawing/2014/main" id="{E85AE113-B206-B546-9571-562A9C2ED191}"/>
                </a:ext>
              </a:extLst>
            </p:cNvPr>
            <p:cNvSpPr/>
            <p:nvPr/>
          </p:nvSpPr>
          <p:spPr>
            <a:xfrm>
              <a:off x="6405855" y="3140991"/>
              <a:ext cx="132999" cy="67590"/>
            </a:xfrm>
            <a:custGeom>
              <a:avLst/>
              <a:gdLst>
                <a:gd name="connsiteX0" fmla="*/ 88554 w 132999"/>
                <a:gd name="connsiteY0" fmla="*/ 11214 h 67590"/>
                <a:gd name="connsiteX1" fmla="*/ 109804 w 132999"/>
                <a:gd name="connsiteY1" fmla="*/ 15849 h 67590"/>
                <a:gd name="connsiteX2" fmla="*/ 120304 w 132999"/>
                <a:gd name="connsiteY2" fmla="*/ 25107 h 67590"/>
                <a:gd name="connsiteX3" fmla="*/ 119703 w 132999"/>
                <a:gd name="connsiteY3" fmla="*/ 35711 h 67590"/>
                <a:gd name="connsiteX4" fmla="*/ 107710 w 132999"/>
                <a:gd name="connsiteY4" fmla="*/ 40310 h 67590"/>
                <a:gd name="connsiteX5" fmla="*/ 48524 w 132999"/>
                <a:gd name="connsiteY5" fmla="*/ 50826 h 67590"/>
                <a:gd name="connsiteX6" fmla="*/ 31062 w 132999"/>
                <a:gd name="connsiteY6" fmla="*/ 52921 h 67590"/>
                <a:gd name="connsiteX7" fmla="*/ 20750 w 132999"/>
                <a:gd name="connsiteY7" fmla="*/ 54094 h 67590"/>
                <a:gd name="connsiteX8" fmla="*/ 88555 w 132999"/>
                <a:gd name="connsiteY8" fmla="*/ 11216 h 67590"/>
                <a:gd name="connsiteX9" fmla="*/ 5595 w 132999"/>
                <a:gd name="connsiteY9" fmla="*/ 67499 h 67590"/>
                <a:gd name="connsiteX10" fmla="*/ 7526 w 132999"/>
                <a:gd name="connsiteY10" fmla="*/ 67146 h 67590"/>
                <a:gd name="connsiteX11" fmla="*/ 32352 w 132999"/>
                <a:gd name="connsiteY11" fmla="*/ 64105 h 67590"/>
                <a:gd name="connsiteX12" fmla="*/ 50529 w 132999"/>
                <a:gd name="connsiteY12" fmla="*/ 61925 h 67590"/>
                <a:gd name="connsiteX13" fmla="*/ 109715 w 132999"/>
                <a:gd name="connsiteY13" fmla="*/ 51408 h 67590"/>
                <a:gd name="connsiteX14" fmla="*/ 128269 w 132999"/>
                <a:gd name="connsiteY14" fmla="*/ 43109 h 67590"/>
                <a:gd name="connsiteX15" fmla="*/ 130488 w 132999"/>
                <a:gd name="connsiteY15" fmla="*/ 20082 h 67590"/>
                <a:gd name="connsiteX16" fmla="*/ 114581 w 132999"/>
                <a:gd name="connsiteY16" fmla="*/ 5590 h 67590"/>
                <a:gd name="connsiteX17" fmla="*/ 88551 w 132999"/>
                <a:gd name="connsiteY17" fmla="*/ -92 h 67590"/>
                <a:gd name="connsiteX18" fmla="*/ 9920 w 132999"/>
                <a:gd name="connsiteY18" fmla="*/ 49041 h 67590"/>
                <a:gd name="connsiteX19" fmla="*/ 1490 w 132999"/>
                <a:gd name="connsiteY19" fmla="*/ 57926 h 67590"/>
                <a:gd name="connsiteX20" fmla="*/ 1632 w 132999"/>
                <a:gd name="connsiteY20" fmla="*/ 65900 h 67590"/>
                <a:gd name="connsiteX21" fmla="*/ 5584 w 132999"/>
                <a:gd name="connsiteY21" fmla="*/ 67483 h 67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999" h="67590">
                  <a:moveTo>
                    <a:pt x="88554" y="11214"/>
                  </a:moveTo>
                  <a:cubicBezTo>
                    <a:pt x="95566" y="11214"/>
                    <a:pt x="102792" y="12797"/>
                    <a:pt x="109804" y="15849"/>
                  </a:cubicBezTo>
                  <a:cubicBezTo>
                    <a:pt x="113342" y="17569"/>
                    <a:pt x="118033" y="20572"/>
                    <a:pt x="120304" y="25107"/>
                  </a:cubicBezTo>
                  <a:cubicBezTo>
                    <a:pt x="122150" y="28771"/>
                    <a:pt x="121883" y="33232"/>
                    <a:pt x="119703" y="35711"/>
                  </a:cubicBezTo>
                  <a:cubicBezTo>
                    <a:pt x="117332" y="38417"/>
                    <a:pt x="112879" y="39400"/>
                    <a:pt x="107710" y="40310"/>
                  </a:cubicBezTo>
                  <a:lnTo>
                    <a:pt x="48524" y="50826"/>
                  </a:lnTo>
                  <a:cubicBezTo>
                    <a:pt x="46643" y="51180"/>
                    <a:pt x="39229" y="51985"/>
                    <a:pt x="31062" y="52921"/>
                  </a:cubicBezTo>
                  <a:cubicBezTo>
                    <a:pt x="27085" y="53370"/>
                    <a:pt x="23660" y="53755"/>
                    <a:pt x="20750" y="54094"/>
                  </a:cubicBezTo>
                  <a:cubicBezTo>
                    <a:pt x="40194" y="33446"/>
                    <a:pt x="62173" y="11216"/>
                    <a:pt x="88555" y="11216"/>
                  </a:cubicBezTo>
                  <a:close/>
                  <a:moveTo>
                    <a:pt x="5595" y="67499"/>
                  </a:moveTo>
                  <a:cubicBezTo>
                    <a:pt x="6246" y="67499"/>
                    <a:pt x="6886" y="67393"/>
                    <a:pt x="7526" y="67146"/>
                  </a:cubicBezTo>
                  <a:cubicBezTo>
                    <a:pt x="10186" y="66623"/>
                    <a:pt x="23470" y="65115"/>
                    <a:pt x="32352" y="64105"/>
                  </a:cubicBezTo>
                  <a:cubicBezTo>
                    <a:pt x="40844" y="63144"/>
                    <a:pt x="48585" y="62261"/>
                    <a:pt x="50529" y="61925"/>
                  </a:cubicBezTo>
                  <a:lnTo>
                    <a:pt x="109715" y="51408"/>
                  </a:lnTo>
                  <a:cubicBezTo>
                    <a:pt x="115022" y="50472"/>
                    <a:pt x="123076" y="49042"/>
                    <a:pt x="128269" y="43109"/>
                  </a:cubicBezTo>
                  <a:cubicBezTo>
                    <a:pt x="133500" y="37153"/>
                    <a:pt x="134391" y="27895"/>
                    <a:pt x="130488" y="20082"/>
                  </a:cubicBezTo>
                  <a:cubicBezTo>
                    <a:pt x="127554" y="14238"/>
                    <a:pt x="122146" y="9266"/>
                    <a:pt x="114581" y="5590"/>
                  </a:cubicBezTo>
                  <a:cubicBezTo>
                    <a:pt x="105900" y="1827"/>
                    <a:pt x="97144" y="-92"/>
                    <a:pt x="88551" y="-92"/>
                  </a:cubicBezTo>
                  <a:cubicBezTo>
                    <a:pt x="56085" y="-92"/>
                    <a:pt x="31560" y="26013"/>
                    <a:pt x="9920" y="49041"/>
                  </a:cubicBezTo>
                  <a:cubicBezTo>
                    <a:pt x="7061" y="52093"/>
                    <a:pt x="4237" y="55072"/>
                    <a:pt x="1490" y="57926"/>
                  </a:cubicBezTo>
                  <a:cubicBezTo>
                    <a:pt x="-679" y="60168"/>
                    <a:pt x="-619" y="63745"/>
                    <a:pt x="1632" y="65900"/>
                  </a:cubicBezTo>
                  <a:cubicBezTo>
                    <a:pt x="2735" y="66960"/>
                    <a:pt x="4168" y="67483"/>
                    <a:pt x="5584" y="67483"/>
                  </a:cubicBezTo>
                </a:path>
              </a:pathLst>
            </a:custGeom>
            <a:grpFill/>
            <a:ln w="1250" cap="flat">
              <a:noFill/>
              <a:prstDash val="solid"/>
              <a:miter/>
            </a:ln>
          </p:spPr>
          <p:txBody>
            <a:bodyPr rtlCol="0" anchor="ctr"/>
            <a:lstStyle/>
            <a:p>
              <a:endParaRPr lang="en-LT"/>
            </a:p>
          </p:txBody>
        </p:sp>
        <p:sp>
          <p:nvSpPr>
            <p:cNvPr id="88" name="Freeform 87">
              <a:extLst>
                <a:ext uri="{FF2B5EF4-FFF2-40B4-BE49-F238E27FC236}">
                  <a16:creationId xmlns:a16="http://schemas.microsoft.com/office/drawing/2014/main" id="{973D510E-B984-6C48-A9AF-41DBDF267C95}"/>
                </a:ext>
              </a:extLst>
            </p:cNvPr>
            <p:cNvSpPr/>
            <p:nvPr/>
          </p:nvSpPr>
          <p:spPr>
            <a:xfrm>
              <a:off x="6405626" y="3324716"/>
              <a:ext cx="118720" cy="64683"/>
            </a:xfrm>
            <a:custGeom>
              <a:avLst/>
              <a:gdLst>
                <a:gd name="connsiteX0" fmla="*/ 31051 w 118720"/>
                <a:gd name="connsiteY0" fmla="*/ 11198 h 64683"/>
                <a:gd name="connsiteX1" fmla="*/ 102970 w 118720"/>
                <a:gd name="connsiteY1" fmla="*/ 30375 h 64683"/>
                <a:gd name="connsiteX2" fmla="*/ 107235 w 118720"/>
                <a:gd name="connsiteY2" fmla="*/ 39247 h 64683"/>
                <a:gd name="connsiteX3" fmla="*/ 100110 w 118720"/>
                <a:gd name="connsiteY3" fmla="*/ 48954 h 64683"/>
                <a:gd name="connsiteX4" fmla="*/ 87101 w 118720"/>
                <a:gd name="connsiteY4" fmla="*/ 53303 h 64683"/>
                <a:gd name="connsiteX5" fmla="*/ 52628 w 118720"/>
                <a:gd name="connsiteY5" fmla="*/ 36443 h 64683"/>
                <a:gd name="connsiteX6" fmla="*/ 38967 w 118720"/>
                <a:gd name="connsiteY6" fmla="*/ 25988 h 64683"/>
                <a:gd name="connsiteX7" fmla="*/ 20087 w 118720"/>
                <a:gd name="connsiteY7" fmla="*/ 11359 h 64683"/>
                <a:gd name="connsiteX8" fmla="*/ 31051 w 118720"/>
                <a:gd name="connsiteY8" fmla="*/ 11183 h 64683"/>
                <a:gd name="connsiteX9" fmla="*/ 32104 w 118720"/>
                <a:gd name="connsiteY9" fmla="*/ 34985 h 64683"/>
                <a:gd name="connsiteX10" fmla="*/ 45577 w 118720"/>
                <a:gd name="connsiteY10" fmla="*/ 45290 h 64683"/>
                <a:gd name="connsiteX11" fmla="*/ 87100 w 118720"/>
                <a:gd name="connsiteY11" fmla="*/ 64592 h 64683"/>
                <a:gd name="connsiteX12" fmla="*/ 106820 w 118720"/>
                <a:gd name="connsiteY12" fmla="*/ 58075 h 64683"/>
                <a:gd name="connsiteX13" fmla="*/ 118562 w 118720"/>
                <a:gd name="connsiteY13" fmla="*/ 40194 h 64683"/>
                <a:gd name="connsiteX14" fmla="*/ 111085 w 118720"/>
                <a:gd name="connsiteY14" fmla="*/ 22487 h 64683"/>
                <a:gd name="connsiteX15" fmla="*/ 31050 w 118720"/>
                <a:gd name="connsiteY15" fmla="*/ -92 h 64683"/>
                <a:gd name="connsiteX16" fmla="*/ 5320 w 118720"/>
                <a:gd name="connsiteY16" fmla="*/ 643 h 64683"/>
                <a:gd name="connsiteX17" fmla="*/ 252 w 118720"/>
                <a:gd name="connsiteY17" fmla="*/ 4331 h 64683"/>
                <a:gd name="connsiteX18" fmla="*/ 1696 w 118720"/>
                <a:gd name="connsiteY18" fmla="*/ 10412 h 64683"/>
                <a:gd name="connsiteX19" fmla="*/ 32104 w 118720"/>
                <a:gd name="connsiteY19" fmla="*/ 34985 h 64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720" h="64683">
                  <a:moveTo>
                    <a:pt x="31051" y="11198"/>
                  </a:moveTo>
                  <a:cubicBezTo>
                    <a:pt x="66741" y="11198"/>
                    <a:pt x="90262" y="17465"/>
                    <a:pt x="102970" y="30375"/>
                  </a:cubicBezTo>
                  <a:cubicBezTo>
                    <a:pt x="106032" y="33490"/>
                    <a:pt x="107461" y="36468"/>
                    <a:pt x="107235" y="39247"/>
                  </a:cubicBezTo>
                  <a:cubicBezTo>
                    <a:pt x="106880" y="43259"/>
                    <a:pt x="103183" y="46736"/>
                    <a:pt x="100110" y="48954"/>
                  </a:cubicBezTo>
                  <a:cubicBezTo>
                    <a:pt x="96083" y="51882"/>
                    <a:pt x="91818" y="53303"/>
                    <a:pt x="87101" y="53303"/>
                  </a:cubicBezTo>
                  <a:cubicBezTo>
                    <a:pt x="75622" y="53303"/>
                    <a:pt x="63241" y="44779"/>
                    <a:pt x="52628" y="36443"/>
                  </a:cubicBezTo>
                  <a:cubicBezTo>
                    <a:pt x="48149" y="32928"/>
                    <a:pt x="43570" y="29465"/>
                    <a:pt x="38967" y="25988"/>
                  </a:cubicBezTo>
                  <a:cubicBezTo>
                    <a:pt x="32669" y="21241"/>
                    <a:pt x="26234" y="16394"/>
                    <a:pt x="20087" y="11359"/>
                  </a:cubicBezTo>
                  <a:cubicBezTo>
                    <a:pt x="23625" y="11253"/>
                    <a:pt x="27300" y="11183"/>
                    <a:pt x="31051" y="11183"/>
                  </a:cubicBezTo>
                  <a:close/>
                  <a:moveTo>
                    <a:pt x="32104" y="34985"/>
                  </a:moveTo>
                  <a:cubicBezTo>
                    <a:pt x="36645" y="38401"/>
                    <a:pt x="41161" y="41826"/>
                    <a:pt x="45577" y="45290"/>
                  </a:cubicBezTo>
                  <a:cubicBezTo>
                    <a:pt x="58322" y="55309"/>
                    <a:pt x="72184" y="64592"/>
                    <a:pt x="87100" y="64592"/>
                  </a:cubicBezTo>
                  <a:cubicBezTo>
                    <a:pt x="94213" y="64592"/>
                    <a:pt x="100849" y="62388"/>
                    <a:pt x="106820" y="58075"/>
                  </a:cubicBezTo>
                  <a:cubicBezTo>
                    <a:pt x="115827" y="51545"/>
                    <a:pt x="118173" y="44742"/>
                    <a:pt x="118562" y="40194"/>
                  </a:cubicBezTo>
                  <a:cubicBezTo>
                    <a:pt x="118918" y="35932"/>
                    <a:pt x="117897" y="29415"/>
                    <a:pt x="111085" y="22487"/>
                  </a:cubicBezTo>
                  <a:cubicBezTo>
                    <a:pt x="91177" y="2251"/>
                    <a:pt x="55876" y="-92"/>
                    <a:pt x="31050" y="-92"/>
                  </a:cubicBezTo>
                  <a:cubicBezTo>
                    <a:pt x="21754" y="-92"/>
                    <a:pt x="12948" y="283"/>
                    <a:pt x="5320" y="643"/>
                  </a:cubicBezTo>
                  <a:cubicBezTo>
                    <a:pt x="3037" y="749"/>
                    <a:pt x="1043" y="2200"/>
                    <a:pt x="252" y="4331"/>
                  </a:cubicBezTo>
                  <a:cubicBezTo>
                    <a:pt x="-537" y="6461"/>
                    <a:pt x="39" y="8855"/>
                    <a:pt x="1696" y="10412"/>
                  </a:cubicBezTo>
                  <a:cubicBezTo>
                    <a:pt x="11205" y="19234"/>
                    <a:pt x="21830" y="27247"/>
                    <a:pt x="32104" y="34985"/>
                  </a:cubicBezTo>
                </a:path>
              </a:pathLst>
            </a:custGeom>
            <a:grpFill/>
            <a:ln w="1250" cap="flat">
              <a:noFill/>
              <a:prstDash val="solid"/>
              <a:miter/>
            </a:ln>
          </p:spPr>
          <p:txBody>
            <a:bodyPr rtlCol="0" anchor="ctr"/>
            <a:lstStyle/>
            <a:p>
              <a:endParaRPr lang="en-LT"/>
            </a:p>
          </p:txBody>
        </p:sp>
        <p:sp>
          <p:nvSpPr>
            <p:cNvPr id="89" name="Freeform 88">
              <a:extLst>
                <a:ext uri="{FF2B5EF4-FFF2-40B4-BE49-F238E27FC236}">
                  <a16:creationId xmlns:a16="http://schemas.microsoft.com/office/drawing/2014/main" id="{262E89FB-511B-884E-9382-F91FB3C95286}"/>
                </a:ext>
              </a:extLst>
            </p:cNvPr>
            <p:cNvSpPr/>
            <p:nvPr/>
          </p:nvSpPr>
          <p:spPr>
            <a:xfrm>
              <a:off x="6204379" y="3152558"/>
              <a:ext cx="67985" cy="26103"/>
            </a:xfrm>
            <a:custGeom>
              <a:avLst/>
              <a:gdLst>
                <a:gd name="connsiteX0" fmla="*/ 5576 w 67985"/>
                <a:gd name="connsiteY0" fmla="*/ 26002 h 26103"/>
                <a:gd name="connsiteX1" fmla="*/ 7031 w 67985"/>
                <a:gd name="connsiteY1" fmla="*/ 25825 h 26103"/>
                <a:gd name="connsiteX2" fmla="*/ 63658 w 67985"/>
                <a:gd name="connsiteY2" fmla="*/ 10996 h 26103"/>
                <a:gd name="connsiteX3" fmla="*/ 67697 w 67985"/>
                <a:gd name="connsiteY3" fmla="*/ 4106 h 26103"/>
                <a:gd name="connsiteX4" fmla="*/ 60760 w 67985"/>
                <a:gd name="connsiteY4" fmla="*/ 93 h 26103"/>
                <a:gd name="connsiteX5" fmla="*/ 4121 w 67985"/>
                <a:gd name="connsiteY5" fmla="*/ 14909 h 26103"/>
                <a:gd name="connsiteX6" fmla="*/ 93 w 67985"/>
                <a:gd name="connsiteY6" fmla="*/ 21812 h 26103"/>
                <a:gd name="connsiteX7" fmla="*/ 5576 w 67985"/>
                <a:gd name="connsiteY7" fmla="*/ 26012 h 26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85" h="26103">
                  <a:moveTo>
                    <a:pt x="5576" y="26002"/>
                  </a:moveTo>
                  <a:cubicBezTo>
                    <a:pt x="6053" y="26002"/>
                    <a:pt x="6544" y="25931"/>
                    <a:pt x="7031" y="25825"/>
                  </a:cubicBezTo>
                  <a:lnTo>
                    <a:pt x="63658" y="10996"/>
                  </a:lnTo>
                  <a:cubicBezTo>
                    <a:pt x="66695" y="10212"/>
                    <a:pt x="68500" y="7121"/>
                    <a:pt x="67697" y="4106"/>
                  </a:cubicBezTo>
                  <a:cubicBezTo>
                    <a:pt x="66919" y="1089"/>
                    <a:pt x="63846" y="-692"/>
                    <a:pt x="60760" y="93"/>
                  </a:cubicBezTo>
                  <a:lnTo>
                    <a:pt x="4121" y="14909"/>
                  </a:lnTo>
                  <a:cubicBezTo>
                    <a:pt x="1098" y="15708"/>
                    <a:pt x="-709" y="18797"/>
                    <a:pt x="93" y="21812"/>
                  </a:cubicBezTo>
                  <a:cubicBezTo>
                    <a:pt x="759" y="24341"/>
                    <a:pt x="3066" y="26012"/>
                    <a:pt x="5576" y="26012"/>
                  </a:cubicBezTo>
                </a:path>
              </a:pathLst>
            </a:custGeom>
            <a:grpFill/>
            <a:ln w="1250" cap="flat">
              <a:noFill/>
              <a:prstDash val="solid"/>
              <a:miter/>
            </a:ln>
          </p:spPr>
          <p:txBody>
            <a:bodyPr rtlCol="0" anchor="ctr"/>
            <a:lstStyle/>
            <a:p>
              <a:endParaRPr lang="en-LT"/>
            </a:p>
          </p:txBody>
        </p:sp>
        <p:sp>
          <p:nvSpPr>
            <p:cNvPr id="90" name="Freeform 89">
              <a:extLst>
                <a:ext uri="{FF2B5EF4-FFF2-40B4-BE49-F238E27FC236}">
                  <a16:creationId xmlns:a16="http://schemas.microsoft.com/office/drawing/2014/main" id="{5F4F70BA-0039-DF47-B651-D161A877F0E0}"/>
                </a:ext>
              </a:extLst>
            </p:cNvPr>
            <p:cNvSpPr/>
            <p:nvPr/>
          </p:nvSpPr>
          <p:spPr>
            <a:xfrm>
              <a:off x="6215395" y="3174516"/>
              <a:ext cx="65344" cy="31037"/>
            </a:xfrm>
            <a:custGeom>
              <a:avLst/>
              <a:gdLst>
                <a:gd name="connsiteX0" fmla="*/ 5035 w 65344"/>
                <a:gd name="connsiteY0" fmla="*/ 19694 h 31037"/>
                <a:gd name="connsiteX1" fmla="*/ -71 w 65344"/>
                <a:gd name="connsiteY1" fmla="*/ 25837 h 31037"/>
                <a:gd name="connsiteX2" fmla="*/ 5575 w 65344"/>
                <a:gd name="connsiteY2" fmla="*/ 30946 h 31037"/>
                <a:gd name="connsiteX3" fmla="*/ 6126 w 65344"/>
                <a:gd name="connsiteY3" fmla="*/ 30920 h 31037"/>
                <a:gd name="connsiteX4" fmla="*/ 62828 w 65344"/>
                <a:gd name="connsiteY4" fmla="*/ 10173 h 31037"/>
                <a:gd name="connsiteX5" fmla="*/ 64208 w 65344"/>
                <a:gd name="connsiteY5" fmla="*/ 2310 h 31037"/>
                <a:gd name="connsiteX6" fmla="*/ 56292 w 65344"/>
                <a:gd name="connsiteY6" fmla="*/ 929 h 31037"/>
                <a:gd name="connsiteX7" fmla="*/ 5034 w 65344"/>
                <a:gd name="connsiteY7" fmla="*/ 19695 h 3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4" h="31037">
                  <a:moveTo>
                    <a:pt x="5035" y="19694"/>
                  </a:moveTo>
                  <a:cubicBezTo>
                    <a:pt x="1924" y="19976"/>
                    <a:pt x="-372" y="22735"/>
                    <a:pt x="-71" y="25837"/>
                  </a:cubicBezTo>
                  <a:cubicBezTo>
                    <a:pt x="214" y="28751"/>
                    <a:pt x="2689" y="30946"/>
                    <a:pt x="5575" y="30946"/>
                  </a:cubicBezTo>
                  <a:cubicBezTo>
                    <a:pt x="5752" y="30946"/>
                    <a:pt x="5937" y="30946"/>
                    <a:pt x="6126" y="30920"/>
                  </a:cubicBezTo>
                  <a:cubicBezTo>
                    <a:pt x="26461" y="28988"/>
                    <a:pt x="46081" y="21824"/>
                    <a:pt x="62828" y="10173"/>
                  </a:cubicBezTo>
                  <a:cubicBezTo>
                    <a:pt x="65388" y="8379"/>
                    <a:pt x="66028" y="4865"/>
                    <a:pt x="64208" y="2310"/>
                  </a:cubicBezTo>
                  <a:cubicBezTo>
                    <a:pt x="62401" y="-243"/>
                    <a:pt x="58864" y="-854"/>
                    <a:pt x="56292" y="929"/>
                  </a:cubicBezTo>
                  <a:cubicBezTo>
                    <a:pt x="41163" y="11458"/>
                    <a:pt x="23437" y="17938"/>
                    <a:pt x="5034" y="19695"/>
                  </a:cubicBezTo>
                </a:path>
              </a:pathLst>
            </a:custGeom>
            <a:grpFill/>
            <a:ln w="1250" cap="flat">
              <a:noFill/>
              <a:prstDash val="solid"/>
              <a:miter/>
            </a:ln>
          </p:spPr>
          <p:txBody>
            <a:bodyPr rtlCol="0" anchor="ctr"/>
            <a:lstStyle/>
            <a:p>
              <a:endParaRPr lang="en-LT"/>
            </a:p>
          </p:txBody>
        </p:sp>
        <p:sp>
          <p:nvSpPr>
            <p:cNvPr id="91" name="Freeform 90">
              <a:extLst>
                <a:ext uri="{FF2B5EF4-FFF2-40B4-BE49-F238E27FC236}">
                  <a16:creationId xmlns:a16="http://schemas.microsoft.com/office/drawing/2014/main" id="{4ACB5DF3-84CD-C445-9E33-F05753423BA8}"/>
                </a:ext>
              </a:extLst>
            </p:cNvPr>
            <p:cNvSpPr/>
            <p:nvPr/>
          </p:nvSpPr>
          <p:spPr>
            <a:xfrm>
              <a:off x="6223929" y="3199835"/>
              <a:ext cx="88031" cy="34104"/>
            </a:xfrm>
            <a:custGeom>
              <a:avLst/>
              <a:gdLst>
                <a:gd name="connsiteX0" fmla="*/ -87 w 88031"/>
                <a:gd name="connsiteY0" fmla="*/ 28730 h 34104"/>
                <a:gd name="connsiteX1" fmla="*/ 5571 w 88031"/>
                <a:gd name="connsiteY1" fmla="*/ 34013 h 34104"/>
                <a:gd name="connsiteX2" fmla="*/ 5948 w 88031"/>
                <a:gd name="connsiteY2" fmla="*/ 34001 h 34104"/>
                <a:gd name="connsiteX3" fmla="*/ 85055 w 88031"/>
                <a:gd name="connsiteY3" fmla="*/ 10462 h 34104"/>
                <a:gd name="connsiteX4" fmla="*/ 87188 w 88031"/>
                <a:gd name="connsiteY4" fmla="*/ 2774 h 34104"/>
                <a:gd name="connsiteX5" fmla="*/ 79449 w 88031"/>
                <a:gd name="connsiteY5" fmla="*/ 655 h 34104"/>
                <a:gd name="connsiteX6" fmla="*/ 5221 w 88031"/>
                <a:gd name="connsiteY6" fmla="*/ 22735 h 34104"/>
                <a:gd name="connsiteX7" fmla="*/ -85 w 88031"/>
                <a:gd name="connsiteY7" fmla="*/ 28729 h 3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31" h="34104">
                  <a:moveTo>
                    <a:pt x="-87" y="28730"/>
                  </a:moveTo>
                  <a:cubicBezTo>
                    <a:pt x="126" y="31721"/>
                    <a:pt x="2612" y="34013"/>
                    <a:pt x="5571" y="34013"/>
                  </a:cubicBezTo>
                  <a:cubicBezTo>
                    <a:pt x="5713" y="34013"/>
                    <a:pt x="5820" y="34001"/>
                    <a:pt x="5948" y="34001"/>
                  </a:cubicBezTo>
                  <a:cubicBezTo>
                    <a:pt x="33609" y="32220"/>
                    <a:pt x="60969" y="24082"/>
                    <a:pt x="85055" y="10462"/>
                  </a:cubicBezTo>
                  <a:cubicBezTo>
                    <a:pt x="87789" y="8929"/>
                    <a:pt x="88743" y="5478"/>
                    <a:pt x="87188" y="2774"/>
                  </a:cubicBezTo>
                  <a:cubicBezTo>
                    <a:pt x="85634" y="58"/>
                    <a:pt x="82146" y="-902"/>
                    <a:pt x="79449" y="655"/>
                  </a:cubicBezTo>
                  <a:cubicBezTo>
                    <a:pt x="56843" y="13427"/>
                    <a:pt x="31176" y="21065"/>
                    <a:pt x="5221" y="22735"/>
                  </a:cubicBezTo>
                  <a:cubicBezTo>
                    <a:pt x="2099" y="22947"/>
                    <a:pt x="-286" y="25624"/>
                    <a:pt x="-85" y="28729"/>
                  </a:cubicBezTo>
                </a:path>
              </a:pathLst>
            </a:custGeom>
            <a:grpFill/>
            <a:ln w="1250" cap="flat">
              <a:noFill/>
              <a:prstDash val="solid"/>
              <a:miter/>
            </a:ln>
          </p:spPr>
          <p:txBody>
            <a:bodyPr rtlCol="0" anchor="ctr"/>
            <a:lstStyle/>
            <a:p>
              <a:endParaRPr lang="en-LT"/>
            </a:p>
          </p:txBody>
        </p:sp>
        <p:sp>
          <p:nvSpPr>
            <p:cNvPr id="92" name="Freeform 91">
              <a:extLst>
                <a:ext uri="{FF2B5EF4-FFF2-40B4-BE49-F238E27FC236}">
                  <a16:creationId xmlns:a16="http://schemas.microsoft.com/office/drawing/2014/main" id="{9C623BDE-B1B7-9E4B-B24B-09A835E2C590}"/>
                </a:ext>
              </a:extLst>
            </p:cNvPr>
            <p:cNvSpPr/>
            <p:nvPr/>
          </p:nvSpPr>
          <p:spPr>
            <a:xfrm>
              <a:off x="6240963" y="3245064"/>
              <a:ext cx="65348" cy="25397"/>
            </a:xfrm>
            <a:custGeom>
              <a:avLst/>
              <a:gdLst>
                <a:gd name="connsiteX0" fmla="*/ 64534 w 65348"/>
                <a:gd name="connsiteY0" fmla="*/ 2789 h 25397"/>
                <a:gd name="connsiteX1" fmla="*/ 56794 w 65348"/>
                <a:gd name="connsiteY1" fmla="*/ 621 h 25397"/>
                <a:gd name="connsiteX2" fmla="*/ 5548 w 65348"/>
                <a:gd name="connsiteY2" fmla="*/ 14016 h 25397"/>
                <a:gd name="connsiteX3" fmla="*/ -97 w 65348"/>
                <a:gd name="connsiteY3" fmla="*/ 19698 h 25397"/>
                <a:gd name="connsiteX4" fmla="*/ 5586 w 65348"/>
                <a:gd name="connsiteY4" fmla="*/ 25306 h 25397"/>
                <a:gd name="connsiteX5" fmla="*/ 5611 w 65348"/>
                <a:gd name="connsiteY5" fmla="*/ 25306 h 25397"/>
                <a:gd name="connsiteX6" fmla="*/ 62326 w 65348"/>
                <a:gd name="connsiteY6" fmla="*/ 10477 h 25397"/>
                <a:gd name="connsiteX7" fmla="*/ 64535 w 65348"/>
                <a:gd name="connsiteY7" fmla="*/ 2789 h 2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8" h="25397">
                  <a:moveTo>
                    <a:pt x="64534" y="2789"/>
                  </a:moveTo>
                  <a:cubicBezTo>
                    <a:pt x="63005" y="73"/>
                    <a:pt x="59529" y="-887"/>
                    <a:pt x="56794" y="621"/>
                  </a:cubicBezTo>
                  <a:cubicBezTo>
                    <a:pt x="41163" y="9281"/>
                    <a:pt x="23450" y="13904"/>
                    <a:pt x="5548" y="14016"/>
                  </a:cubicBezTo>
                  <a:cubicBezTo>
                    <a:pt x="2412" y="14028"/>
                    <a:pt x="-122" y="16584"/>
                    <a:pt x="-97" y="19698"/>
                  </a:cubicBezTo>
                  <a:cubicBezTo>
                    <a:pt x="-71" y="22800"/>
                    <a:pt x="2463" y="25306"/>
                    <a:pt x="5586" y="25306"/>
                  </a:cubicBezTo>
                  <a:cubicBezTo>
                    <a:pt x="5598" y="25306"/>
                    <a:pt x="5598" y="25306"/>
                    <a:pt x="5611" y="25306"/>
                  </a:cubicBezTo>
                  <a:cubicBezTo>
                    <a:pt x="25419" y="25164"/>
                    <a:pt x="45040" y="20047"/>
                    <a:pt x="62326" y="10477"/>
                  </a:cubicBezTo>
                  <a:cubicBezTo>
                    <a:pt x="65061" y="8958"/>
                    <a:pt x="66064" y="5518"/>
                    <a:pt x="64535" y="2789"/>
                  </a:cubicBezTo>
                </a:path>
              </a:pathLst>
            </a:custGeom>
            <a:grpFill/>
            <a:ln w="1250" cap="flat">
              <a:noFill/>
              <a:prstDash val="solid"/>
              <a:miter/>
            </a:ln>
          </p:spPr>
          <p:txBody>
            <a:bodyPr rtlCol="0" anchor="ctr"/>
            <a:lstStyle/>
            <a:p>
              <a:endParaRPr lang="en-LT"/>
            </a:p>
          </p:txBody>
        </p:sp>
        <p:sp>
          <p:nvSpPr>
            <p:cNvPr id="93" name="Freeform 92">
              <a:extLst>
                <a:ext uri="{FF2B5EF4-FFF2-40B4-BE49-F238E27FC236}">
                  <a16:creationId xmlns:a16="http://schemas.microsoft.com/office/drawing/2014/main" id="{7BDF60B3-7C5F-4B42-8D61-E8112339713F}"/>
                </a:ext>
              </a:extLst>
            </p:cNvPr>
            <p:cNvSpPr/>
            <p:nvPr/>
          </p:nvSpPr>
          <p:spPr>
            <a:xfrm>
              <a:off x="6269374" y="3270448"/>
              <a:ext cx="45447" cy="22615"/>
            </a:xfrm>
            <a:custGeom>
              <a:avLst/>
              <a:gdLst>
                <a:gd name="connsiteX0" fmla="*/ 36110 w 45447"/>
                <a:gd name="connsiteY0" fmla="*/ 1168 h 22615"/>
                <a:gd name="connsiteX1" fmla="*/ 5802 w 45447"/>
                <a:gd name="connsiteY1" fmla="*/ 11211 h 22615"/>
                <a:gd name="connsiteX2" fmla="*/ -94 w 45447"/>
                <a:gd name="connsiteY2" fmla="*/ 16632 h 22615"/>
                <a:gd name="connsiteX3" fmla="*/ 5363 w 45447"/>
                <a:gd name="connsiteY3" fmla="*/ 22488 h 22615"/>
                <a:gd name="connsiteX4" fmla="*/ 7407 w 45447"/>
                <a:gd name="connsiteY4" fmla="*/ 22524 h 22615"/>
                <a:gd name="connsiteX5" fmla="*/ 43248 w 45447"/>
                <a:gd name="connsiteY5" fmla="*/ 9950 h 22615"/>
                <a:gd name="connsiteX6" fmla="*/ 44087 w 45447"/>
                <a:gd name="connsiteY6" fmla="*/ 2001 h 22615"/>
                <a:gd name="connsiteX7" fmla="*/ 36109 w 45447"/>
                <a:gd name="connsiteY7" fmla="*/ 1167 h 2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47" h="22615">
                  <a:moveTo>
                    <a:pt x="36110" y="1168"/>
                  </a:moveTo>
                  <a:cubicBezTo>
                    <a:pt x="27680" y="7946"/>
                    <a:pt x="16641" y="11548"/>
                    <a:pt x="5802" y="11211"/>
                  </a:cubicBezTo>
                  <a:cubicBezTo>
                    <a:pt x="2765" y="10929"/>
                    <a:pt x="44" y="13517"/>
                    <a:pt x="-94" y="16632"/>
                  </a:cubicBezTo>
                  <a:cubicBezTo>
                    <a:pt x="-201" y="19747"/>
                    <a:pt x="2228" y="22376"/>
                    <a:pt x="5363" y="22488"/>
                  </a:cubicBezTo>
                  <a:cubicBezTo>
                    <a:pt x="6053" y="22513"/>
                    <a:pt x="6728" y="22524"/>
                    <a:pt x="7407" y="22524"/>
                  </a:cubicBezTo>
                  <a:cubicBezTo>
                    <a:pt x="20291" y="22524"/>
                    <a:pt x="33250" y="18000"/>
                    <a:pt x="43248" y="9950"/>
                  </a:cubicBezTo>
                  <a:cubicBezTo>
                    <a:pt x="45680" y="7983"/>
                    <a:pt x="46057" y="4430"/>
                    <a:pt x="44087" y="2001"/>
                  </a:cubicBezTo>
                  <a:cubicBezTo>
                    <a:pt x="42117" y="-430"/>
                    <a:pt x="38492" y="-790"/>
                    <a:pt x="36109" y="1167"/>
                  </a:cubicBezTo>
                </a:path>
              </a:pathLst>
            </a:custGeom>
            <a:grpFill/>
            <a:ln w="1250" cap="flat">
              <a:noFill/>
              <a:prstDash val="solid"/>
              <a:miter/>
            </a:ln>
          </p:spPr>
          <p:txBody>
            <a:bodyPr rtlCol="0" anchor="ctr"/>
            <a:lstStyle/>
            <a:p>
              <a:endParaRPr lang="en-LT"/>
            </a:p>
          </p:txBody>
        </p:sp>
        <p:sp>
          <p:nvSpPr>
            <p:cNvPr id="94" name="Freeform 93">
              <a:extLst>
                <a:ext uri="{FF2B5EF4-FFF2-40B4-BE49-F238E27FC236}">
                  <a16:creationId xmlns:a16="http://schemas.microsoft.com/office/drawing/2014/main" id="{98ABDD26-A86C-1A4C-9F71-04581EDB03AE}"/>
                </a:ext>
              </a:extLst>
            </p:cNvPr>
            <p:cNvSpPr/>
            <p:nvPr/>
          </p:nvSpPr>
          <p:spPr>
            <a:xfrm>
              <a:off x="5982469" y="2863849"/>
              <a:ext cx="64071" cy="123469"/>
            </a:xfrm>
            <a:custGeom>
              <a:avLst/>
              <a:gdLst>
                <a:gd name="connsiteX0" fmla="*/ 26086 w 64071"/>
                <a:gd name="connsiteY0" fmla="*/ 11368 h 123469"/>
                <a:gd name="connsiteX1" fmla="*/ 47523 w 64071"/>
                <a:gd name="connsiteY1" fmla="*/ 28654 h 123469"/>
                <a:gd name="connsiteX2" fmla="*/ 51248 w 64071"/>
                <a:gd name="connsiteY2" fmla="*/ 40130 h 123469"/>
                <a:gd name="connsiteX3" fmla="*/ 49108 w 64071"/>
                <a:gd name="connsiteY3" fmla="*/ 85096 h 123469"/>
                <a:gd name="connsiteX4" fmla="*/ 46789 w 64071"/>
                <a:gd name="connsiteY4" fmla="*/ 99902 h 123469"/>
                <a:gd name="connsiteX5" fmla="*/ 18389 w 64071"/>
                <a:gd name="connsiteY5" fmla="*/ 46330 h 123469"/>
                <a:gd name="connsiteX6" fmla="*/ 11775 w 64071"/>
                <a:gd name="connsiteY6" fmla="*/ 30409 h 123469"/>
                <a:gd name="connsiteX7" fmla="*/ 6211 w 64071"/>
                <a:gd name="connsiteY7" fmla="*/ 31554 h 123469"/>
                <a:gd name="connsiteX8" fmla="*/ 11620 w 64071"/>
                <a:gd name="connsiteY8" fmla="*/ 29601 h 123469"/>
                <a:gd name="connsiteX9" fmla="*/ 14586 w 64071"/>
                <a:gd name="connsiteY9" fmla="*/ 15629 h 123469"/>
                <a:gd name="connsiteX10" fmla="*/ 26085 w 64071"/>
                <a:gd name="connsiteY10" fmla="*/ 11366 h 123469"/>
                <a:gd name="connsiteX11" fmla="*/ 434 w 64071"/>
                <a:gd name="connsiteY11" fmla="*/ 31559 h 123469"/>
                <a:gd name="connsiteX12" fmla="*/ 647 w 64071"/>
                <a:gd name="connsiteY12" fmla="*/ 32698 h 123469"/>
                <a:gd name="connsiteX13" fmla="*/ 8238 w 64071"/>
                <a:gd name="connsiteY13" fmla="*/ 51408 h 123469"/>
                <a:gd name="connsiteX14" fmla="*/ 37383 w 64071"/>
                <a:gd name="connsiteY14" fmla="*/ 106277 h 123469"/>
                <a:gd name="connsiteX15" fmla="*/ 46366 w 64071"/>
                <a:gd name="connsiteY15" fmla="*/ 120794 h 123469"/>
                <a:gd name="connsiteX16" fmla="*/ 52762 w 64071"/>
                <a:gd name="connsiteY16" fmla="*/ 123143 h 123469"/>
                <a:gd name="connsiteX17" fmla="*/ 56834 w 64071"/>
                <a:gd name="connsiteY17" fmla="*/ 117724 h 123469"/>
                <a:gd name="connsiteX18" fmla="*/ 60315 w 64071"/>
                <a:gd name="connsiteY18" fmla="*/ 86977 h 123469"/>
                <a:gd name="connsiteX19" fmla="*/ 62381 w 64071"/>
                <a:gd name="connsiteY19" fmla="*/ 37840 h 123469"/>
                <a:gd name="connsiteX20" fmla="*/ 57899 w 64071"/>
                <a:gd name="connsiteY20" fmla="*/ 24026 h 123469"/>
                <a:gd name="connsiteX21" fmla="*/ 27787 w 64071"/>
                <a:gd name="connsiteY21" fmla="*/ 215 h 123469"/>
                <a:gd name="connsiteX22" fmla="*/ 6073 w 64071"/>
                <a:gd name="connsiteY22" fmla="*/ 8144 h 123469"/>
                <a:gd name="connsiteX23" fmla="*/ 437 w 64071"/>
                <a:gd name="connsiteY23" fmla="*/ 31560 h 12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071" h="123469">
                  <a:moveTo>
                    <a:pt x="26086" y="11368"/>
                  </a:moveTo>
                  <a:cubicBezTo>
                    <a:pt x="34820" y="12702"/>
                    <a:pt x="44225" y="21380"/>
                    <a:pt x="47523" y="28654"/>
                  </a:cubicBezTo>
                  <a:cubicBezTo>
                    <a:pt x="49187" y="32333"/>
                    <a:pt x="50403" y="36079"/>
                    <a:pt x="51248" y="40130"/>
                  </a:cubicBezTo>
                  <a:cubicBezTo>
                    <a:pt x="54257" y="54564"/>
                    <a:pt x="51753" y="69396"/>
                    <a:pt x="49108" y="85096"/>
                  </a:cubicBezTo>
                  <a:cubicBezTo>
                    <a:pt x="48283" y="89987"/>
                    <a:pt x="47454" y="94929"/>
                    <a:pt x="46789" y="99902"/>
                  </a:cubicBezTo>
                  <a:cubicBezTo>
                    <a:pt x="37860" y="84852"/>
                    <a:pt x="28606" y="67375"/>
                    <a:pt x="18389" y="46330"/>
                  </a:cubicBezTo>
                  <a:cubicBezTo>
                    <a:pt x="15824" y="41474"/>
                    <a:pt x="12925" y="35925"/>
                    <a:pt x="11775" y="30409"/>
                  </a:cubicBezTo>
                  <a:lnTo>
                    <a:pt x="6211" y="31554"/>
                  </a:lnTo>
                  <a:lnTo>
                    <a:pt x="11620" y="29601"/>
                  </a:lnTo>
                  <a:cubicBezTo>
                    <a:pt x="10646" y="24050"/>
                    <a:pt x="11727" y="18823"/>
                    <a:pt x="14586" y="15629"/>
                  </a:cubicBezTo>
                  <a:cubicBezTo>
                    <a:pt x="17736" y="12066"/>
                    <a:pt x="21510" y="10681"/>
                    <a:pt x="26085" y="11366"/>
                  </a:cubicBezTo>
                  <a:close/>
                  <a:moveTo>
                    <a:pt x="434" y="31559"/>
                  </a:moveTo>
                  <a:cubicBezTo>
                    <a:pt x="448" y="31629"/>
                    <a:pt x="647" y="32650"/>
                    <a:pt x="647" y="32698"/>
                  </a:cubicBezTo>
                  <a:cubicBezTo>
                    <a:pt x="2119" y="39763"/>
                    <a:pt x="5411" y="46022"/>
                    <a:pt x="8238" y="51408"/>
                  </a:cubicBezTo>
                  <a:cubicBezTo>
                    <a:pt x="18652" y="72846"/>
                    <a:pt x="28188" y="90811"/>
                    <a:pt x="37383" y="106277"/>
                  </a:cubicBezTo>
                  <a:cubicBezTo>
                    <a:pt x="40320" y="111208"/>
                    <a:pt x="43315" y="116052"/>
                    <a:pt x="46366" y="120794"/>
                  </a:cubicBezTo>
                  <a:cubicBezTo>
                    <a:pt x="47743" y="122902"/>
                    <a:pt x="50336" y="123859"/>
                    <a:pt x="52762" y="123143"/>
                  </a:cubicBezTo>
                  <a:cubicBezTo>
                    <a:pt x="55173" y="122431"/>
                    <a:pt x="56840" y="120215"/>
                    <a:pt x="56834" y="117724"/>
                  </a:cubicBezTo>
                  <a:cubicBezTo>
                    <a:pt x="56817" y="107751"/>
                    <a:pt x="58515" y="97654"/>
                    <a:pt x="60315" y="86977"/>
                  </a:cubicBezTo>
                  <a:cubicBezTo>
                    <a:pt x="63017" y="70935"/>
                    <a:pt x="65820" y="54337"/>
                    <a:pt x="62381" y="37840"/>
                  </a:cubicBezTo>
                  <a:cubicBezTo>
                    <a:pt x="61382" y="33045"/>
                    <a:pt x="59860" y="28395"/>
                    <a:pt x="57899" y="24026"/>
                  </a:cubicBezTo>
                  <a:cubicBezTo>
                    <a:pt x="53337" y="14008"/>
                    <a:pt x="41251" y="2242"/>
                    <a:pt x="27787" y="215"/>
                  </a:cubicBezTo>
                  <a:cubicBezTo>
                    <a:pt x="19346" y="-1065"/>
                    <a:pt x="11834" y="1678"/>
                    <a:pt x="6073" y="8144"/>
                  </a:cubicBezTo>
                  <a:cubicBezTo>
                    <a:pt x="882" y="13971"/>
                    <a:pt x="-1168" y="22512"/>
                    <a:pt x="437" y="31560"/>
                  </a:cubicBezTo>
                </a:path>
              </a:pathLst>
            </a:custGeom>
            <a:grpFill/>
            <a:ln w="1250" cap="flat">
              <a:noFill/>
              <a:prstDash val="solid"/>
              <a:miter/>
            </a:ln>
          </p:spPr>
          <p:txBody>
            <a:bodyPr rtlCol="0" anchor="ctr"/>
            <a:lstStyle/>
            <a:p>
              <a:endParaRPr lang="en-LT"/>
            </a:p>
          </p:txBody>
        </p:sp>
        <p:sp>
          <p:nvSpPr>
            <p:cNvPr id="95" name="Freeform 94">
              <a:extLst>
                <a:ext uri="{FF2B5EF4-FFF2-40B4-BE49-F238E27FC236}">
                  <a16:creationId xmlns:a16="http://schemas.microsoft.com/office/drawing/2014/main" id="{F044B3F1-2B0F-E241-B4C5-01C1416D9D92}"/>
                </a:ext>
              </a:extLst>
            </p:cNvPr>
            <p:cNvSpPr/>
            <p:nvPr/>
          </p:nvSpPr>
          <p:spPr>
            <a:xfrm>
              <a:off x="6269488" y="2922538"/>
              <a:ext cx="91459" cy="100502"/>
            </a:xfrm>
            <a:custGeom>
              <a:avLst/>
              <a:gdLst>
                <a:gd name="connsiteX0" fmla="*/ 19193 w 91459"/>
                <a:gd name="connsiteY0" fmla="*/ 72828 h 100502"/>
                <a:gd name="connsiteX1" fmla="*/ 62616 w 91459"/>
                <a:gd name="connsiteY1" fmla="*/ 12738 h 100502"/>
                <a:gd name="connsiteX2" fmla="*/ 72478 w 91459"/>
                <a:gd name="connsiteY2" fmla="*/ 11902 h 100502"/>
                <a:gd name="connsiteX3" fmla="*/ 79111 w 91459"/>
                <a:gd name="connsiteY3" fmla="*/ 21948 h 100502"/>
                <a:gd name="connsiteX4" fmla="*/ 78620 w 91459"/>
                <a:gd name="connsiteY4" fmla="*/ 35573 h 100502"/>
                <a:gd name="connsiteX5" fmla="*/ 50583 w 91459"/>
                <a:gd name="connsiteY5" fmla="*/ 61672 h 100502"/>
                <a:gd name="connsiteX6" fmla="*/ 35917 w 91459"/>
                <a:gd name="connsiteY6" fmla="*/ 70685 h 100502"/>
                <a:gd name="connsiteX7" fmla="*/ 15479 w 91459"/>
                <a:gd name="connsiteY7" fmla="*/ 83077 h 100502"/>
                <a:gd name="connsiteX8" fmla="*/ 19178 w 91459"/>
                <a:gd name="connsiteY8" fmla="*/ 72823 h 100502"/>
                <a:gd name="connsiteX9" fmla="*/ 41975 w 91459"/>
                <a:gd name="connsiteY9" fmla="*/ 80236 h 100502"/>
                <a:gd name="connsiteX10" fmla="*/ 56433 w 91459"/>
                <a:gd name="connsiteY10" fmla="*/ 71346 h 100502"/>
                <a:gd name="connsiteX11" fmla="*/ 89257 w 91459"/>
                <a:gd name="connsiteY11" fmla="*/ 39554 h 100502"/>
                <a:gd name="connsiteX12" fmla="*/ 90071 w 91459"/>
                <a:gd name="connsiteY12" fmla="*/ 18926 h 100502"/>
                <a:gd name="connsiteX13" fmla="*/ 77365 w 91459"/>
                <a:gd name="connsiteY13" fmla="*/ 1707 h 100502"/>
                <a:gd name="connsiteX14" fmla="*/ 58047 w 91459"/>
                <a:gd name="connsiteY14" fmla="*/ 2414 h 100502"/>
                <a:gd name="connsiteX15" fmla="*/ 8558 w 91459"/>
                <a:gd name="connsiteY15" fmla="*/ 68849 h 100502"/>
                <a:gd name="connsiteX16" fmla="*/ 179 w 91459"/>
                <a:gd name="connsiteY16" fmla="*/ 93024 h 100502"/>
                <a:gd name="connsiteX17" fmla="*/ 1868 w 91459"/>
                <a:gd name="connsiteY17" fmla="*/ 99035 h 100502"/>
                <a:gd name="connsiteX18" fmla="*/ 8106 w 91459"/>
                <a:gd name="connsiteY18" fmla="*/ 99837 h 100502"/>
                <a:gd name="connsiteX19" fmla="*/ 41977 w 91459"/>
                <a:gd name="connsiteY19" fmla="*/ 80235 h 10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459" h="100502">
                  <a:moveTo>
                    <a:pt x="19193" y="72828"/>
                  </a:moveTo>
                  <a:cubicBezTo>
                    <a:pt x="31776" y="39653"/>
                    <a:pt x="45974" y="19999"/>
                    <a:pt x="62616" y="12738"/>
                  </a:cubicBezTo>
                  <a:cubicBezTo>
                    <a:pt x="66631" y="10991"/>
                    <a:pt x="69940" y="10712"/>
                    <a:pt x="72478" y="11902"/>
                  </a:cubicBezTo>
                  <a:cubicBezTo>
                    <a:pt x="76133" y="13647"/>
                    <a:pt x="78105" y="18309"/>
                    <a:pt x="79111" y="21948"/>
                  </a:cubicBezTo>
                  <a:cubicBezTo>
                    <a:pt x="80448" y="26723"/>
                    <a:pt x="80284" y="31188"/>
                    <a:pt x="78620" y="35573"/>
                  </a:cubicBezTo>
                  <a:cubicBezTo>
                    <a:pt x="74573" y="46242"/>
                    <a:pt x="62178" y="54746"/>
                    <a:pt x="50583" y="61672"/>
                  </a:cubicBezTo>
                  <a:cubicBezTo>
                    <a:pt x="45693" y="64596"/>
                    <a:pt x="40816" y="67631"/>
                    <a:pt x="35917" y="70685"/>
                  </a:cubicBezTo>
                  <a:cubicBezTo>
                    <a:pt x="29224" y="74865"/>
                    <a:pt x="22389" y="79137"/>
                    <a:pt x="15479" y="83077"/>
                  </a:cubicBezTo>
                  <a:cubicBezTo>
                    <a:pt x="16627" y="79750"/>
                    <a:pt x="17854" y="76309"/>
                    <a:pt x="19178" y="72823"/>
                  </a:cubicBezTo>
                  <a:close/>
                  <a:moveTo>
                    <a:pt x="41975" y="80236"/>
                  </a:moveTo>
                  <a:cubicBezTo>
                    <a:pt x="46794" y="77219"/>
                    <a:pt x="51613" y="74229"/>
                    <a:pt x="56433" y="71346"/>
                  </a:cubicBezTo>
                  <a:cubicBezTo>
                    <a:pt x="70365" y="63030"/>
                    <a:pt x="83998" y="53418"/>
                    <a:pt x="89257" y="39554"/>
                  </a:cubicBezTo>
                  <a:cubicBezTo>
                    <a:pt x="91764" y="32942"/>
                    <a:pt x="92027" y="25997"/>
                    <a:pt x="90071" y="18926"/>
                  </a:cubicBezTo>
                  <a:cubicBezTo>
                    <a:pt x="87095" y="8252"/>
                    <a:pt x="81512" y="3672"/>
                    <a:pt x="77365" y="1707"/>
                  </a:cubicBezTo>
                  <a:cubicBezTo>
                    <a:pt x="73476" y="-126"/>
                    <a:pt x="66976" y="-1475"/>
                    <a:pt x="58047" y="2414"/>
                  </a:cubicBezTo>
                  <a:cubicBezTo>
                    <a:pt x="31964" y="13785"/>
                    <a:pt x="17311" y="45772"/>
                    <a:pt x="8558" y="68849"/>
                  </a:cubicBezTo>
                  <a:cubicBezTo>
                    <a:pt x="5280" y="77489"/>
                    <a:pt x="2529" y="85807"/>
                    <a:pt x="179" y="93024"/>
                  </a:cubicBezTo>
                  <a:cubicBezTo>
                    <a:pt x="-525" y="95183"/>
                    <a:pt x="144" y="97549"/>
                    <a:pt x="1868" y="99035"/>
                  </a:cubicBezTo>
                  <a:cubicBezTo>
                    <a:pt x="3597" y="100520"/>
                    <a:pt x="6055" y="100828"/>
                    <a:pt x="8106" y="99837"/>
                  </a:cubicBezTo>
                  <a:cubicBezTo>
                    <a:pt x="19770" y="94108"/>
                    <a:pt x="31065" y="87057"/>
                    <a:pt x="41977" y="80235"/>
                  </a:cubicBezTo>
                </a:path>
              </a:pathLst>
            </a:custGeom>
            <a:grpFill/>
            <a:ln w="1250" cap="flat">
              <a:noFill/>
              <a:prstDash val="solid"/>
              <a:miter/>
            </a:ln>
          </p:spPr>
          <p:txBody>
            <a:bodyPr rtlCol="0" anchor="ctr"/>
            <a:lstStyle/>
            <a:p>
              <a:endParaRPr lang="en-LT"/>
            </a:p>
          </p:txBody>
        </p:sp>
      </p:grpSp>
      <p:sp>
        <p:nvSpPr>
          <p:cNvPr id="96" name="TextBox 95">
            <a:extLst>
              <a:ext uri="{FF2B5EF4-FFF2-40B4-BE49-F238E27FC236}">
                <a16:creationId xmlns:a16="http://schemas.microsoft.com/office/drawing/2014/main" id="{E50E211D-7AD6-E54C-9F56-DE302AE674D3}"/>
              </a:ext>
            </a:extLst>
          </p:cNvPr>
          <p:cNvSpPr txBox="1"/>
          <p:nvPr/>
        </p:nvSpPr>
        <p:spPr>
          <a:xfrm>
            <a:off x="4404015" y="583080"/>
            <a:ext cx="4027064" cy="584775"/>
          </a:xfrm>
          <a:prstGeom prst="rect">
            <a:avLst/>
          </a:prstGeom>
          <a:noFill/>
        </p:spPr>
        <p:txBody>
          <a:bodyPr wrap="none" rtlCol="0">
            <a:spAutoFit/>
          </a:bodyPr>
          <a:lstStyle/>
          <a:p>
            <a:pPr algn="ctr"/>
            <a:r>
              <a:rPr lang="en-LT" sz="3200" b="1" spc="300" dirty="0">
                <a:solidFill>
                  <a:schemeClr val="bg1"/>
                </a:solidFill>
                <a:latin typeface="Montserrat" pitchFamily="2" charset="77"/>
              </a:rPr>
              <a:t>BUSINESS IDEA</a:t>
            </a:r>
          </a:p>
        </p:txBody>
      </p:sp>
      <p:grpSp>
        <p:nvGrpSpPr>
          <p:cNvPr id="97" name="Group 96">
            <a:extLst>
              <a:ext uri="{FF2B5EF4-FFF2-40B4-BE49-F238E27FC236}">
                <a16:creationId xmlns:a16="http://schemas.microsoft.com/office/drawing/2014/main" id="{68F330AB-BCA1-704C-A57F-05DFD496042D}"/>
              </a:ext>
            </a:extLst>
          </p:cNvPr>
          <p:cNvGrpSpPr/>
          <p:nvPr/>
        </p:nvGrpSpPr>
        <p:grpSpPr>
          <a:xfrm>
            <a:off x="2650967" y="1452566"/>
            <a:ext cx="1252266" cy="2028117"/>
            <a:chOff x="2620956" y="1452566"/>
            <a:chExt cx="1252266" cy="2028117"/>
          </a:xfrm>
        </p:grpSpPr>
        <p:grpSp>
          <p:nvGrpSpPr>
            <p:cNvPr id="98" name="Graphic 4">
              <a:extLst>
                <a:ext uri="{FF2B5EF4-FFF2-40B4-BE49-F238E27FC236}">
                  <a16:creationId xmlns:a16="http://schemas.microsoft.com/office/drawing/2014/main" id="{676ED51B-71D1-1440-830A-A825D9D9B4E6}"/>
                </a:ext>
              </a:extLst>
            </p:cNvPr>
            <p:cNvGrpSpPr/>
            <p:nvPr/>
          </p:nvGrpSpPr>
          <p:grpSpPr>
            <a:xfrm>
              <a:off x="2791854" y="1452566"/>
              <a:ext cx="910469" cy="1143028"/>
              <a:chOff x="5651500" y="2863849"/>
              <a:chExt cx="887354" cy="1114011"/>
            </a:xfrm>
            <a:solidFill>
              <a:schemeClr val="bg1"/>
            </a:solidFill>
          </p:grpSpPr>
          <p:sp>
            <p:nvSpPr>
              <p:cNvPr id="101" name="Freeform 100">
                <a:extLst>
                  <a:ext uri="{FF2B5EF4-FFF2-40B4-BE49-F238E27FC236}">
                    <a16:creationId xmlns:a16="http://schemas.microsoft.com/office/drawing/2014/main" id="{99A141ED-BF03-D042-9022-2489CEAD800E}"/>
                  </a:ext>
                </a:extLst>
              </p:cNvPr>
              <p:cNvSpPr/>
              <p:nvPr/>
            </p:nvSpPr>
            <p:spPr>
              <a:xfrm>
                <a:off x="5818376" y="3028308"/>
                <a:ext cx="555527" cy="949552"/>
              </a:xfrm>
              <a:custGeom>
                <a:avLst/>
                <a:gdLst>
                  <a:gd name="connsiteX0" fmla="*/ 152752 w 555527"/>
                  <a:gd name="connsiteY0" fmla="*/ 394768 h 949552"/>
                  <a:gd name="connsiteX1" fmla="*/ 134073 w 555527"/>
                  <a:gd name="connsiteY1" fmla="*/ 390120 h 949552"/>
                  <a:gd name="connsiteX2" fmla="*/ 119257 w 555527"/>
                  <a:gd name="connsiteY2" fmla="*/ 362955 h 949552"/>
                  <a:gd name="connsiteX3" fmla="*/ 123008 w 555527"/>
                  <a:gd name="connsiteY3" fmla="*/ 353111 h 949552"/>
                  <a:gd name="connsiteX4" fmla="*/ 124061 w 555527"/>
                  <a:gd name="connsiteY4" fmla="*/ 352935 h 949552"/>
                  <a:gd name="connsiteX5" fmla="*/ 133081 w 555527"/>
                  <a:gd name="connsiteY5" fmla="*/ 358019 h 949552"/>
                  <a:gd name="connsiteX6" fmla="*/ 147746 w 555527"/>
                  <a:gd name="connsiteY6" fmla="*/ 382616 h 949552"/>
                  <a:gd name="connsiteX7" fmla="*/ 152751 w 555527"/>
                  <a:gd name="connsiteY7" fmla="*/ 394778 h 949552"/>
                  <a:gd name="connsiteX8" fmla="*/ 385106 w 555527"/>
                  <a:gd name="connsiteY8" fmla="*/ 380488 h 949552"/>
                  <a:gd name="connsiteX9" fmla="*/ 405128 w 555527"/>
                  <a:gd name="connsiteY9" fmla="*/ 352177 h 949552"/>
                  <a:gd name="connsiteX10" fmla="*/ 426291 w 555527"/>
                  <a:gd name="connsiteY10" fmla="*/ 346420 h 949552"/>
                  <a:gd name="connsiteX11" fmla="*/ 433190 w 555527"/>
                  <a:gd name="connsiteY11" fmla="*/ 351479 h 949552"/>
                  <a:gd name="connsiteX12" fmla="*/ 419015 w 555527"/>
                  <a:gd name="connsiteY12" fmla="*/ 373971 h 949552"/>
                  <a:gd name="connsiteX13" fmla="*/ 385106 w 555527"/>
                  <a:gd name="connsiteY13" fmla="*/ 380488 h 949552"/>
                  <a:gd name="connsiteX14" fmla="*/ 139693 w 555527"/>
                  <a:gd name="connsiteY14" fmla="*/ 51424 h 949552"/>
                  <a:gd name="connsiteX15" fmla="*/ 498185 w 555527"/>
                  <a:gd name="connsiteY15" fmla="*/ 104344 h 949552"/>
                  <a:gd name="connsiteX16" fmla="*/ 502375 w 555527"/>
                  <a:gd name="connsiteY16" fmla="*/ 409696 h 949552"/>
                  <a:gd name="connsiteX17" fmla="*/ 457653 w 555527"/>
                  <a:gd name="connsiteY17" fmla="*/ 470093 h 949552"/>
                  <a:gd name="connsiteX18" fmla="*/ 441482 w 555527"/>
                  <a:gd name="connsiteY18" fmla="*/ 489183 h 949552"/>
                  <a:gd name="connsiteX19" fmla="*/ 399784 w 555527"/>
                  <a:gd name="connsiteY19" fmla="*/ 587536 h 949552"/>
                  <a:gd name="connsiteX20" fmla="*/ 392595 w 555527"/>
                  <a:gd name="connsiteY20" fmla="*/ 625566 h 949552"/>
                  <a:gd name="connsiteX21" fmla="*/ 331377 w 555527"/>
                  <a:gd name="connsiteY21" fmla="*/ 772753 h 949552"/>
                  <a:gd name="connsiteX22" fmla="*/ 330172 w 555527"/>
                  <a:gd name="connsiteY22" fmla="*/ 774409 h 949552"/>
                  <a:gd name="connsiteX23" fmla="*/ 304856 w 555527"/>
                  <a:gd name="connsiteY23" fmla="*/ 780453 h 949552"/>
                  <a:gd name="connsiteX24" fmla="*/ 374981 w 555527"/>
                  <a:gd name="connsiteY24" fmla="*/ 411689 h 949552"/>
                  <a:gd name="connsiteX25" fmla="*/ 380990 w 555527"/>
                  <a:gd name="connsiteY25" fmla="*/ 391415 h 949552"/>
                  <a:gd name="connsiteX26" fmla="*/ 424094 w 555527"/>
                  <a:gd name="connsiteY26" fmla="*/ 384076 h 949552"/>
                  <a:gd name="connsiteX27" fmla="*/ 443413 w 555527"/>
                  <a:gd name="connsiteY27" fmla="*/ 346556 h 949552"/>
                  <a:gd name="connsiteX28" fmla="*/ 428761 w 555527"/>
                  <a:gd name="connsiteY28" fmla="*/ 335391 h 949552"/>
                  <a:gd name="connsiteX29" fmla="*/ 398014 w 555527"/>
                  <a:gd name="connsiteY29" fmla="*/ 343391 h 949552"/>
                  <a:gd name="connsiteX30" fmla="*/ 373526 w 555527"/>
                  <a:gd name="connsiteY30" fmla="*/ 378780 h 949552"/>
                  <a:gd name="connsiteX31" fmla="*/ 346856 w 555527"/>
                  <a:gd name="connsiteY31" fmla="*/ 365833 h 949552"/>
                  <a:gd name="connsiteX32" fmla="*/ 333320 w 555527"/>
                  <a:gd name="connsiteY32" fmla="*/ 350382 h 949552"/>
                  <a:gd name="connsiteX33" fmla="*/ 357670 w 555527"/>
                  <a:gd name="connsiteY33" fmla="*/ 305722 h 949552"/>
                  <a:gd name="connsiteX34" fmla="*/ 353154 w 555527"/>
                  <a:gd name="connsiteY34" fmla="*/ 278832 h 949552"/>
                  <a:gd name="connsiteX35" fmla="*/ 340810 w 555527"/>
                  <a:gd name="connsiteY35" fmla="*/ 271057 h 949552"/>
                  <a:gd name="connsiteX36" fmla="*/ 314102 w 555527"/>
                  <a:gd name="connsiteY36" fmla="*/ 293984 h 949552"/>
                  <a:gd name="connsiteX37" fmla="*/ 319120 w 555527"/>
                  <a:gd name="connsiteY37" fmla="*/ 347890 h 949552"/>
                  <a:gd name="connsiteX38" fmla="*/ 279930 w 555527"/>
                  <a:gd name="connsiteY38" fmla="*/ 362157 h 949552"/>
                  <a:gd name="connsiteX39" fmla="*/ 279574 w 555527"/>
                  <a:gd name="connsiteY39" fmla="*/ 362157 h 949552"/>
                  <a:gd name="connsiteX40" fmla="*/ 238804 w 555527"/>
                  <a:gd name="connsiteY40" fmla="*/ 344737 h 949552"/>
                  <a:gd name="connsiteX41" fmla="*/ 249090 w 555527"/>
                  <a:gd name="connsiteY41" fmla="*/ 318843 h 949552"/>
                  <a:gd name="connsiteX42" fmla="*/ 245051 w 555527"/>
                  <a:gd name="connsiteY42" fmla="*/ 287430 h 949552"/>
                  <a:gd name="connsiteX43" fmla="*/ 225745 w 555527"/>
                  <a:gd name="connsiteY43" fmla="*/ 281723 h 949552"/>
                  <a:gd name="connsiteX44" fmla="*/ 209072 w 555527"/>
                  <a:gd name="connsiteY44" fmla="*/ 292900 h 949552"/>
                  <a:gd name="connsiteX45" fmla="*/ 214065 w 555527"/>
                  <a:gd name="connsiteY45" fmla="*/ 327616 h 949552"/>
                  <a:gd name="connsiteX46" fmla="*/ 224954 w 555527"/>
                  <a:gd name="connsiteY46" fmla="*/ 346444 h 949552"/>
                  <a:gd name="connsiteX47" fmla="*/ 183908 w 555527"/>
                  <a:gd name="connsiteY47" fmla="*/ 387752 h 949552"/>
                  <a:gd name="connsiteX48" fmla="*/ 164702 w 555527"/>
                  <a:gd name="connsiteY48" fmla="*/ 394069 h 949552"/>
                  <a:gd name="connsiteX49" fmla="*/ 158242 w 555527"/>
                  <a:gd name="connsiteY49" fmla="*/ 378281 h 949552"/>
                  <a:gd name="connsiteX50" fmla="*/ 140767 w 555527"/>
                  <a:gd name="connsiteY50" fmla="*/ 349696 h 949552"/>
                  <a:gd name="connsiteX51" fmla="*/ 118613 w 555527"/>
                  <a:gd name="connsiteY51" fmla="*/ 342706 h 949552"/>
                  <a:gd name="connsiteX52" fmla="*/ 107887 w 555527"/>
                  <a:gd name="connsiteY52" fmla="*/ 362618 h 949552"/>
                  <a:gd name="connsiteX53" fmla="*/ 129063 w 555527"/>
                  <a:gd name="connsiteY53" fmla="*/ 400237 h 949552"/>
                  <a:gd name="connsiteX54" fmla="*/ 157288 w 555527"/>
                  <a:gd name="connsiteY54" fmla="*/ 406081 h 949552"/>
                  <a:gd name="connsiteX55" fmla="*/ 252491 w 555527"/>
                  <a:gd name="connsiteY55" fmla="*/ 779768 h 949552"/>
                  <a:gd name="connsiteX56" fmla="*/ 221957 w 555527"/>
                  <a:gd name="connsiteY56" fmla="*/ 775120 h 949552"/>
                  <a:gd name="connsiteX57" fmla="*/ 220751 w 555527"/>
                  <a:gd name="connsiteY57" fmla="*/ 772803 h 949552"/>
                  <a:gd name="connsiteX58" fmla="*/ 162632 w 555527"/>
                  <a:gd name="connsiteY58" fmla="*/ 632008 h 949552"/>
                  <a:gd name="connsiteX59" fmla="*/ 147929 w 555527"/>
                  <a:gd name="connsiteY59" fmla="*/ 567275 h 949552"/>
                  <a:gd name="connsiteX60" fmla="*/ 86974 w 555527"/>
                  <a:gd name="connsiteY60" fmla="*/ 467676 h 949552"/>
                  <a:gd name="connsiteX61" fmla="*/ 35064 w 555527"/>
                  <a:gd name="connsiteY61" fmla="*/ 391466 h 949552"/>
                  <a:gd name="connsiteX62" fmla="*/ 139687 w 555527"/>
                  <a:gd name="connsiteY62" fmla="*/ 51424 h 949552"/>
                  <a:gd name="connsiteX63" fmla="*/ 325055 w 555527"/>
                  <a:gd name="connsiteY63" fmla="*/ 297026 h 949552"/>
                  <a:gd name="connsiteX64" fmla="*/ 338051 w 555527"/>
                  <a:gd name="connsiteY64" fmla="*/ 282135 h 949552"/>
                  <a:gd name="connsiteX65" fmla="*/ 339068 w 555527"/>
                  <a:gd name="connsiteY65" fmla="*/ 282241 h 949552"/>
                  <a:gd name="connsiteX66" fmla="*/ 343885 w 555527"/>
                  <a:gd name="connsiteY66" fmla="*/ 285367 h 949552"/>
                  <a:gd name="connsiteX67" fmla="*/ 346506 w 555527"/>
                  <a:gd name="connsiteY67" fmla="*/ 303647 h 949552"/>
                  <a:gd name="connsiteX68" fmla="*/ 327915 w 555527"/>
                  <a:gd name="connsiteY68" fmla="*/ 339858 h 949552"/>
                  <a:gd name="connsiteX69" fmla="*/ 325056 w 555527"/>
                  <a:gd name="connsiteY69" fmla="*/ 297042 h 949552"/>
                  <a:gd name="connsiteX70" fmla="*/ 230831 w 555527"/>
                  <a:gd name="connsiteY70" fmla="*/ 335255 h 949552"/>
                  <a:gd name="connsiteX71" fmla="*/ 224683 w 555527"/>
                  <a:gd name="connsiteY71" fmla="*/ 323580 h 949552"/>
                  <a:gd name="connsiteX72" fmla="*/ 219239 w 555527"/>
                  <a:gd name="connsiteY72" fmla="*/ 297960 h 949552"/>
                  <a:gd name="connsiteX73" fmla="*/ 227469 w 555527"/>
                  <a:gd name="connsiteY73" fmla="*/ 292876 h 949552"/>
                  <a:gd name="connsiteX74" fmla="*/ 229688 w 555527"/>
                  <a:gd name="connsiteY74" fmla="*/ 292699 h 949552"/>
                  <a:gd name="connsiteX75" fmla="*/ 236876 w 555527"/>
                  <a:gd name="connsiteY75" fmla="*/ 295278 h 949552"/>
                  <a:gd name="connsiteX76" fmla="*/ 238181 w 555527"/>
                  <a:gd name="connsiteY76" fmla="*/ 315726 h 949552"/>
                  <a:gd name="connsiteX77" fmla="*/ 230829 w 555527"/>
                  <a:gd name="connsiteY77" fmla="*/ 335252 h 949552"/>
                  <a:gd name="connsiteX78" fmla="*/ 233078 w 555527"/>
                  <a:gd name="connsiteY78" fmla="*/ 355030 h 949552"/>
                  <a:gd name="connsiteX79" fmla="*/ 280033 w 555527"/>
                  <a:gd name="connsiteY79" fmla="*/ 373435 h 949552"/>
                  <a:gd name="connsiteX80" fmla="*/ 324642 w 555527"/>
                  <a:gd name="connsiteY80" fmla="*/ 357797 h 949552"/>
                  <a:gd name="connsiteX81" fmla="*/ 339621 w 555527"/>
                  <a:gd name="connsiteY81" fmla="*/ 374544 h 949552"/>
                  <a:gd name="connsiteX82" fmla="*/ 369640 w 555527"/>
                  <a:gd name="connsiteY82" fmla="*/ 389397 h 949552"/>
                  <a:gd name="connsiteX83" fmla="*/ 364020 w 555527"/>
                  <a:gd name="connsiteY83" fmla="*/ 408749 h 949552"/>
                  <a:gd name="connsiteX84" fmla="*/ 293456 w 555527"/>
                  <a:gd name="connsiteY84" fmla="*/ 781301 h 949552"/>
                  <a:gd name="connsiteX85" fmla="*/ 286368 w 555527"/>
                  <a:gd name="connsiteY85" fmla="*/ 781823 h 949552"/>
                  <a:gd name="connsiteX86" fmla="*/ 264152 w 555527"/>
                  <a:gd name="connsiteY86" fmla="*/ 780926 h 949552"/>
                  <a:gd name="connsiteX87" fmla="*/ 168974 w 555527"/>
                  <a:gd name="connsiteY87" fmla="*/ 404761 h 949552"/>
                  <a:gd name="connsiteX88" fmla="*/ 189071 w 555527"/>
                  <a:gd name="connsiteY88" fmla="*/ 397808 h 949552"/>
                  <a:gd name="connsiteX89" fmla="*/ 233078 w 555527"/>
                  <a:gd name="connsiteY89" fmla="*/ 355030 h 949552"/>
                  <a:gd name="connsiteX90" fmla="*/ 356932 w 555527"/>
                  <a:gd name="connsiteY90" fmla="*/ 775893 h 949552"/>
                  <a:gd name="connsiteX91" fmla="*/ 291587 w 555527"/>
                  <a:gd name="connsiteY91" fmla="*/ 799033 h 949552"/>
                  <a:gd name="connsiteX92" fmla="*/ 286193 w 555527"/>
                  <a:gd name="connsiteY92" fmla="*/ 804964 h 949552"/>
                  <a:gd name="connsiteX93" fmla="*/ 291863 w 555527"/>
                  <a:gd name="connsiteY93" fmla="*/ 810310 h 949552"/>
                  <a:gd name="connsiteX94" fmla="*/ 292147 w 555527"/>
                  <a:gd name="connsiteY94" fmla="*/ 810310 h 949552"/>
                  <a:gd name="connsiteX95" fmla="*/ 353291 w 555527"/>
                  <a:gd name="connsiteY95" fmla="*/ 791731 h 949552"/>
                  <a:gd name="connsiteX96" fmla="*/ 346818 w 555527"/>
                  <a:gd name="connsiteY96" fmla="*/ 799593 h 949552"/>
                  <a:gd name="connsiteX97" fmla="*/ 310663 w 555527"/>
                  <a:gd name="connsiteY97" fmla="*/ 812316 h 949552"/>
                  <a:gd name="connsiteX98" fmla="*/ 240036 w 555527"/>
                  <a:gd name="connsiteY98" fmla="*/ 812976 h 949552"/>
                  <a:gd name="connsiteX99" fmla="*/ 209703 w 555527"/>
                  <a:gd name="connsiteY99" fmla="*/ 801974 h 949552"/>
                  <a:gd name="connsiteX100" fmla="*/ 204510 w 555527"/>
                  <a:gd name="connsiteY100" fmla="*/ 786983 h 949552"/>
                  <a:gd name="connsiteX101" fmla="*/ 205552 w 555527"/>
                  <a:gd name="connsiteY101" fmla="*/ 783033 h 949552"/>
                  <a:gd name="connsiteX102" fmla="*/ 212275 w 555527"/>
                  <a:gd name="connsiteY102" fmla="*/ 784902 h 949552"/>
                  <a:gd name="connsiteX103" fmla="*/ 283329 w 555527"/>
                  <a:gd name="connsiteY103" fmla="*/ 793126 h 949552"/>
                  <a:gd name="connsiteX104" fmla="*/ 286540 w 555527"/>
                  <a:gd name="connsiteY104" fmla="*/ 793100 h 949552"/>
                  <a:gd name="connsiteX105" fmla="*/ 356703 w 555527"/>
                  <a:gd name="connsiteY105" fmla="*/ 774559 h 949552"/>
                  <a:gd name="connsiteX106" fmla="*/ 356916 w 555527"/>
                  <a:gd name="connsiteY106" fmla="*/ 775891 h 949552"/>
                  <a:gd name="connsiteX107" fmla="*/ 359290 w 555527"/>
                  <a:gd name="connsiteY107" fmla="*/ 802908 h 949552"/>
                  <a:gd name="connsiteX108" fmla="*/ 359667 w 555527"/>
                  <a:gd name="connsiteY108" fmla="*/ 810908 h 949552"/>
                  <a:gd name="connsiteX109" fmla="*/ 356442 w 555527"/>
                  <a:gd name="connsiteY109" fmla="*/ 812116 h 949552"/>
                  <a:gd name="connsiteX110" fmla="*/ 284096 w 555527"/>
                  <a:gd name="connsiteY110" fmla="*/ 832975 h 949552"/>
                  <a:gd name="connsiteX111" fmla="*/ 277698 w 555527"/>
                  <a:gd name="connsiteY111" fmla="*/ 837810 h 949552"/>
                  <a:gd name="connsiteX112" fmla="*/ 282566 w 555527"/>
                  <a:gd name="connsiteY112" fmla="*/ 844165 h 949552"/>
                  <a:gd name="connsiteX113" fmla="*/ 296089 w 555527"/>
                  <a:gd name="connsiteY113" fmla="*/ 845062 h 949552"/>
                  <a:gd name="connsiteX114" fmla="*/ 352729 w 555527"/>
                  <a:gd name="connsiteY114" fmla="*/ 828639 h 949552"/>
                  <a:gd name="connsiteX115" fmla="*/ 347573 w 555527"/>
                  <a:gd name="connsiteY115" fmla="*/ 834445 h 949552"/>
                  <a:gd name="connsiteX116" fmla="*/ 306689 w 555527"/>
                  <a:gd name="connsiteY116" fmla="*/ 849336 h 949552"/>
                  <a:gd name="connsiteX117" fmla="*/ 249723 w 555527"/>
                  <a:gd name="connsiteY117" fmla="*/ 846793 h 949552"/>
                  <a:gd name="connsiteX118" fmla="*/ 218826 w 555527"/>
                  <a:gd name="connsiteY118" fmla="*/ 836974 h 949552"/>
                  <a:gd name="connsiteX119" fmla="*/ 210772 w 555527"/>
                  <a:gd name="connsiteY119" fmla="*/ 816613 h 949552"/>
                  <a:gd name="connsiteX120" fmla="*/ 238734 w 555527"/>
                  <a:gd name="connsiteY120" fmla="*/ 824177 h 949552"/>
                  <a:gd name="connsiteX121" fmla="*/ 272730 w 555527"/>
                  <a:gd name="connsiteY121" fmla="*/ 826119 h 949552"/>
                  <a:gd name="connsiteX122" fmla="*/ 312172 w 555527"/>
                  <a:gd name="connsiteY122" fmla="*/ 823502 h 949552"/>
                  <a:gd name="connsiteX123" fmla="*/ 354146 w 555527"/>
                  <a:gd name="connsiteY123" fmla="*/ 808238 h 949552"/>
                  <a:gd name="connsiteX124" fmla="*/ 359290 w 555527"/>
                  <a:gd name="connsiteY124" fmla="*/ 802904 h 949552"/>
                  <a:gd name="connsiteX125" fmla="*/ 345717 w 555527"/>
                  <a:gd name="connsiteY125" fmla="*/ 866047 h 949552"/>
                  <a:gd name="connsiteX126" fmla="*/ 285590 w 555527"/>
                  <a:gd name="connsiteY126" fmla="*/ 875367 h 949552"/>
                  <a:gd name="connsiteX127" fmla="*/ 279129 w 555527"/>
                  <a:gd name="connsiteY127" fmla="*/ 880115 h 949552"/>
                  <a:gd name="connsiteX128" fmla="*/ 283909 w 555527"/>
                  <a:gd name="connsiteY128" fmla="*/ 886532 h 949552"/>
                  <a:gd name="connsiteX129" fmla="*/ 300543 w 555527"/>
                  <a:gd name="connsiteY129" fmla="*/ 887740 h 949552"/>
                  <a:gd name="connsiteX130" fmla="*/ 335769 w 555527"/>
                  <a:gd name="connsiteY130" fmla="*/ 882008 h 949552"/>
                  <a:gd name="connsiteX131" fmla="*/ 311081 w 555527"/>
                  <a:gd name="connsiteY131" fmla="*/ 895341 h 949552"/>
                  <a:gd name="connsiteX132" fmla="*/ 269884 w 555527"/>
                  <a:gd name="connsiteY132" fmla="*/ 900862 h 949552"/>
                  <a:gd name="connsiteX133" fmla="*/ 229389 w 555527"/>
                  <a:gd name="connsiteY133" fmla="*/ 886133 h 949552"/>
                  <a:gd name="connsiteX134" fmla="*/ 223355 w 555527"/>
                  <a:gd name="connsiteY134" fmla="*/ 852152 h 949552"/>
                  <a:gd name="connsiteX135" fmla="*/ 248231 w 555527"/>
                  <a:gd name="connsiteY135" fmla="*/ 857984 h 949552"/>
                  <a:gd name="connsiteX136" fmla="*/ 290808 w 555527"/>
                  <a:gd name="connsiteY136" fmla="*/ 861325 h 949552"/>
                  <a:gd name="connsiteX137" fmla="*/ 307756 w 555527"/>
                  <a:gd name="connsiteY137" fmla="*/ 860577 h 949552"/>
                  <a:gd name="connsiteX138" fmla="*/ 345127 w 555527"/>
                  <a:gd name="connsiteY138" fmla="*/ 849885 h 949552"/>
                  <a:gd name="connsiteX139" fmla="*/ 345717 w 555527"/>
                  <a:gd name="connsiteY139" fmla="*/ 866047 h 949552"/>
                  <a:gd name="connsiteX140" fmla="*/ 298636 w 555527"/>
                  <a:gd name="connsiteY140" fmla="*/ 935204 h 949552"/>
                  <a:gd name="connsiteX141" fmla="*/ 258468 w 555527"/>
                  <a:gd name="connsiteY141" fmla="*/ 929273 h 949552"/>
                  <a:gd name="connsiteX142" fmla="*/ 249059 w 555527"/>
                  <a:gd name="connsiteY142" fmla="*/ 908899 h 949552"/>
                  <a:gd name="connsiteX143" fmla="*/ 269394 w 555527"/>
                  <a:gd name="connsiteY143" fmla="*/ 912138 h 949552"/>
                  <a:gd name="connsiteX144" fmla="*/ 275027 w 555527"/>
                  <a:gd name="connsiteY144" fmla="*/ 912244 h 949552"/>
                  <a:gd name="connsiteX145" fmla="*/ 314581 w 555527"/>
                  <a:gd name="connsiteY145" fmla="*/ 906076 h 949552"/>
                  <a:gd name="connsiteX146" fmla="*/ 321782 w 555527"/>
                  <a:gd name="connsiteY146" fmla="*/ 903321 h 949552"/>
                  <a:gd name="connsiteX147" fmla="*/ 298636 w 555527"/>
                  <a:gd name="connsiteY147" fmla="*/ 935196 h 949552"/>
                  <a:gd name="connsiteX148" fmla="*/ 24683 w 555527"/>
                  <a:gd name="connsiteY148" fmla="*/ 396064 h 949552"/>
                  <a:gd name="connsiteX149" fmla="*/ 78149 w 555527"/>
                  <a:gd name="connsiteY149" fmla="*/ 474791 h 949552"/>
                  <a:gd name="connsiteX150" fmla="*/ 137009 w 555527"/>
                  <a:gd name="connsiteY150" fmla="*/ 570415 h 949552"/>
                  <a:gd name="connsiteX151" fmla="*/ 151499 w 555527"/>
                  <a:gd name="connsiteY151" fmla="*/ 634139 h 949552"/>
                  <a:gd name="connsiteX152" fmla="*/ 200047 w 555527"/>
                  <a:gd name="connsiteY152" fmla="*/ 765426 h 949552"/>
                  <a:gd name="connsiteX153" fmla="*/ 198653 w 555527"/>
                  <a:gd name="connsiteY153" fmla="*/ 767644 h 949552"/>
                  <a:gd name="connsiteX154" fmla="*/ 197899 w 555527"/>
                  <a:gd name="connsiteY154" fmla="*/ 774049 h 949552"/>
                  <a:gd name="connsiteX155" fmla="*/ 193207 w 555527"/>
                  <a:gd name="connsiteY155" fmla="*/ 785775 h 949552"/>
                  <a:gd name="connsiteX156" fmla="*/ 201436 w 555527"/>
                  <a:gd name="connsiteY156" fmla="*/ 809662 h 949552"/>
                  <a:gd name="connsiteX157" fmla="*/ 211811 w 555527"/>
                  <a:gd name="connsiteY157" fmla="*/ 845873 h 949552"/>
                  <a:gd name="connsiteX158" fmla="*/ 213379 w 555527"/>
                  <a:gd name="connsiteY158" fmla="*/ 846833 h 949552"/>
                  <a:gd name="connsiteX159" fmla="*/ 221307 w 555527"/>
                  <a:gd name="connsiteY159" fmla="*/ 894085 h 949552"/>
                  <a:gd name="connsiteX160" fmla="*/ 238143 w 555527"/>
                  <a:gd name="connsiteY160" fmla="*/ 905113 h 949552"/>
                  <a:gd name="connsiteX161" fmla="*/ 251139 w 555527"/>
                  <a:gd name="connsiteY161" fmla="*/ 937897 h 949552"/>
                  <a:gd name="connsiteX162" fmla="*/ 283718 w 555527"/>
                  <a:gd name="connsiteY162" fmla="*/ 949460 h 949552"/>
                  <a:gd name="connsiteX163" fmla="*/ 303124 w 555527"/>
                  <a:gd name="connsiteY163" fmla="*/ 945573 h 949552"/>
                  <a:gd name="connsiteX164" fmla="*/ 333282 w 555527"/>
                  <a:gd name="connsiteY164" fmla="*/ 902820 h 949552"/>
                  <a:gd name="connsiteX165" fmla="*/ 331675 w 555527"/>
                  <a:gd name="connsiteY165" fmla="*/ 898596 h 949552"/>
                  <a:gd name="connsiteX166" fmla="*/ 349978 w 555527"/>
                  <a:gd name="connsiteY166" fmla="*/ 883294 h 949552"/>
                  <a:gd name="connsiteX167" fmla="*/ 358107 w 555527"/>
                  <a:gd name="connsiteY167" fmla="*/ 862297 h 949552"/>
                  <a:gd name="connsiteX168" fmla="*/ 354732 w 555527"/>
                  <a:gd name="connsiteY168" fmla="*/ 843170 h 949552"/>
                  <a:gd name="connsiteX169" fmla="*/ 355120 w 555527"/>
                  <a:gd name="connsiteY169" fmla="*/ 842888 h 949552"/>
                  <a:gd name="connsiteX170" fmla="*/ 367978 w 555527"/>
                  <a:gd name="connsiteY170" fmla="*/ 793406 h 949552"/>
                  <a:gd name="connsiteX171" fmla="*/ 366008 w 555527"/>
                  <a:gd name="connsiteY171" fmla="*/ 791213 h 949552"/>
                  <a:gd name="connsiteX172" fmla="*/ 364579 w 555527"/>
                  <a:gd name="connsiteY172" fmla="*/ 763712 h 949552"/>
                  <a:gd name="connsiteX173" fmla="*/ 356813 w 555527"/>
                  <a:gd name="connsiteY173" fmla="*/ 761730 h 949552"/>
                  <a:gd name="connsiteX174" fmla="*/ 403781 w 555527"/>
                  <a:gd name="connsiteY174" fmla="*/ 627502 h 949552"/>
                  <a:gd name="connsiteX175" fmla="*/ 410881 w 555527"/>
                  <a:gd name="connsiteY175" fmla="*/ 589871 h 949552"/>
                  <a:gd name="connsiteX176" fmla="*/ 450285 w 555527"/>
                  <a:gd name="connsiteY176" fmla="*/ 496328 h 949552"/>
                  <a:gd name="connsiteX177" fmla="*/ 466279 w 555527"/>
                  <a:gd name="connsiteY177" fmla="*/ 477413 h 949552"/>
                  <a:gd name="connsiteX178" fmla="*/ 512381 w 555527"/>
                  <a:gd name="connsiteY178" fmla="*/ 415034 h 949552"/>
                  <a:gd name="connsiteX179" fmla="*/ 507189 w 555527"/>
                  <a:gd name="connsiteY179" fmla="*/ 97472 h 949552"/>
                  <a:gd name="connsiteX180" fmla="*/ 133781 w 555527"/>
                  <a:gd name="connsiteY180" fmla="*/ 41773 h 949552"/>
                  <a:gd name="connsiteX181" fmla="*/ 24679 w 555527"/>
                  <a:gd name="connsiteY181" fmla="*/ 396057 h 949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55527" h="949552">
                    <a:moveTo>
                      <a:pt x="152752" y="394768"/>
                    </a:moveTo>
                    <a:cubicBezTo>
                      <a:pt x="146116" y="394450"/>
                      <a:pt x="139756" y="392899"/>
                      <a:pt x="134073" y="390120"/>
                    </a:cubicBezTo>
                    <a:cubicBezTo>
                      <a:pt x="123485" y="384936"/>
                      <a:pt x="118969" y="372401"/>
                      <a:pt x="119257" y="362955"/>
                    </a:cubicBezTo>
                    <a:cubicBezTo>
                      <a:pt x="119435" y="357199"/>
                      <a:pt x="121316" y="353822"/>
                      <a:pt x="123008" y="353111"/>
                    </a:cubicBezTo>
                    <a:cubicBezTo>
                      <a:pt x="123293" y="352970"/>
                      <a:pt x="123648" y="352935"/>
                      <a:pt x="124061" y="352935"/>
                    </a:cubicBezTo>
                    <a:cubicBezTo>
                      <a:pt x="125917" y="352935"/>
                      <a:pt x="128978" y="354256"/>
                      <a:pt x="133081" y="358019"/>
                    </a:cubicBezTo>
                    <a:cubicBezTo>
                      <a:pt x="139667" y="364038"/>
                      <a:pt x="143618" y="372710"/>
                      <a:pt x="147746" y="382616"/>
                    </a:cubicBezTo>
                    <a:cubicBezTo>
                      <a:pt x="149438" y="386654"/>
                      <a:pt x="151095" y="390716"/>
                      <a:pt x="152751" y="394778"/>
                    </a:cubicBezTo>
                    <a:close/>
                    <a:moveTo>
                      <a:pt x="385106" y="380488"/>
                    </a:moveTo>
                    <a:cubicBezTo>
                      <a:pt x="389911" y="369149"/>
                      <a:pt x="396083" y="359429"/>
                      <a:pt x="405128" y="352177"/>
                    </a:cubicBezTo>
                    <a:cubicBezTo>
                      <a:pt x="411074" y="347429"/>
                      <a:pt x="419955" y="345012"/>
                      <a:pt x="426291" y="346420"/>
                    </a:cubicBezTo>
                    <a:cubicBezTo>
                      <a:pt x="429616" y="347155"/>
                      <a:pt x="431886" y="348825"/>
                      <a:pt x="433190" y="351479"/>
                    </a:cubicBezTo>
                    <a:cubicBezTo>
                      <a:pt x="437155" y="359603"/>
                      <a:pt x="427508" y="369759"/>
                      <a:pt x="419015" y="373971"/>
                    </a:cubicBezTo>
                    <a:cubicBezTo>
                      <a:pt x="408615" y="379142"/>
                      <a:pt x="396685" y="381248"/>
                      <a:pt x="385106" y="380488"/>
                    </a:cubicBezTo>
                    <a:close/>
                    <a:moveTo>
                      <a:pt x="139693" y="51424"/>
                    </a:moveTo>
                    <a:cubicBezTo>
                      <a:pt x="244354" y="-11740"/>
                      <a:pt x="413357" y="-5547"/>
                      <a:pt x="498185" y="104344"/>
                    </a:cubicBezTo>
                    <a:cubicBezTo>
                      <a:pt x="567143" y="193700"/>
                      <a:pt x="549982" y="322084"/>
                      <a:pt x="502375" y="409696"/>
                    </a:cubicBezTo>
                    <a:cubicBezTo>
                      <a:pt x="490031" y="432424"/>
                      <a:pt x="474300" y="450717"/>
                      <a:pt x="457653" y="470093"/>
                    </a:cubicBezTo>
                    <a:cubicBezTo>
                      <a:pt x="452271" y="476348"/>
                      <a:pt x="446864" y="482654"/>
                      <a:pt x="441482" y="489183"/>
                    </a:cubicBezTo>
                    <a:cubicBezTo>
                      <a:pt x="416807" y="519188"/>
                      <a:pt x="406558" y="555736"/>
                      <a:pt x="399784" y="587536"/>
                    </a:cubicBezTo>
                    <a:cubicBezTo>
                      <a:pt x="397113" y="600009"/>
                      <a:pt x="394853" y="612756"/>
                      <a:pt x="392595" y="625566"/>
                    </a:cubicBezTo>
                    <a:cubicBezTo>
                      <a:pt x="383137" y="679110"/>
                      <a:pt x="373352" y="734461"/>
                      <a:pt x="331377" y="772753"/>
                    </a:cubicBezTo>
                    <a:cubicBezTo>
                      <a:pt x="330851" y="773226"/>
                      <a:pt x="330474" y="773813"/>
                      <a:pt x="330172" y="774409"/>
                    </a:cubicBezTo>
                    <a:cubicBezTo>
                      <a:pt x="322268" y="777101"/>
                      <a:pt x="313914" y="779281"/>
                      <a:pt x="304856" y="780453"/>
                    </a:cubicBezTo>
                    <a:cubicBezTo>
                      <a:pt x="309272" y="654736"/>
                      <a:pt x="342641" y="531188"/>
                      <a:pt x="374981" y="411689"/>
                    </a:cubicBezTo>
                    <a:cubicBezTo>
                      <a:pt x="376902" y="404623"/>
                      <a:pt x="378820" y="397820"/>
                      <a:pt x="380990" y="391415"/>
                    </a:cubicBezTo>
                    <a:cubicBezTo>
                      <a:pt x="395693" y="392948"/>
                      <a:pt x="410885" y="390631"/>
                      <a:pt x="424094" y="384076"/>
                    </a:cubicBezTo>
                    <a:cubicBezTo>
                      <a:pt x="438998" y="376687"/>
                      <a:pt x="450288" y="360625"/>
                      <a:pt x="443413" y="346556"/>
                    </a:cubicBezTo>
                    <a:cubicBezTo>
                      <a:pt x="440579" y="340762"/>
                      <a:pt x="435510" y="336899"/>
                      <a:pt x="428761" y="335391"/>
                    </a:cubicBezTo>
                    <a:cubicBezTo>
                      <a:pt x="419001" y="333247"/>
                      <a:pt x="406644" y="336462"/>
                      <a:pt x="398014" y="343391"/>
                    </a:cubicBezTo>
                    <a:cubicBezTo>
                      <a:pt x="386359" y="352712"/>
                      <a:pt x="378858" y="365609"/>
                      <a:pt x="373526" y="378780"/>
                    </a:cubicBezTo>
                    <a:cubicBezTo>
                      <a:pt x="363767" y="376487"/>
                      <a:pt x="354533" y="372138"/>
                      <a:pt x="346856" y="365833"/>
                    </a:cubicBezTo>
                    <a:cubicBezTo>
                      <a:pt x="341524" y="361472"/>
                      <a:pt x="336971" y="356213"/>
                      <a:pt x="333320" y="350382"/>
                    </a:cubicBezTo>
                    <a:cubicBezTo>
                      <a:pt x="345489" y="338532"/>
                      <a:pt x="354408" y="322968"/>
                      <a:pt x="357670" y="305722"/>
                    </a:cubicBezTo>
                    <a:cubicBezTo>
                      <a:pt x="359149" y="297872"/>
                      <a:pt x="358747" y="286682"/>
                      <a:pt x="353154" y="278832"/>
                    </a:cubicBezTo>
                    <a:cubicBezTo>
                      <a:pt x="350092" y="274520"/>
                      <a:pt x="345828" y="271842"/>
                      <a:pt x="340810" y="271057"/>
                    </a:cubicBezTo>
                    <a:cubicBezTo>
                      <a:pt x="327399" y="269050"/>
                      <a:pt x="317614" y="281499"/>
                      <a:pt x="314102" y="293984"/>
                    </a:cubicBezTo>
                    <a:cubicBezTo>
                      <a:pt x="309134" y="311691"/>
                      <a:pt x="311292" y="331167"/>
                      <a:pt x="319120" y="347890"/>
                    </a:cubicBezTo>
                    <a:cubicBezTo>
                      <a:pt x="307754" y="356712"/>
                      <a:pt x="294055" y="362045"/>
                      <a:pt x="279930" y="362157"/>
                    </a:cubicBezTo>
                    <a:cubicBezTo>
                      <a:pt x="279823" y="362157"/>
                      <a:pt x="279681" y="362157"/>
                      <a:pt x="279574" y="362157"/>
                    </a:cubicBezTo>
                    <a:cubicBezTo>
                      <a:pt x="264658" y="362157"/>
                      <a:pt x="249805" y="355466"/>
                      <a:pt x="238804" y="344737"/>
                    </a:cubicBezTo>
                    <a:cubicBezTo>
                      <a:pt x="243295" y="335903"/>
                      <a:pt x="246719" y="327030"/>
                      <a:pt x="249090" y="318843"/>
                    </a:cubicBezTo>
                    <a:cubicBezTo>
                      <a:pt x="253117" y="304888"/>
                      <a:pt x="251761" y="294321"/>
                      <a:pt x="245051" y="287430"/>
                    </a:cubicBezTo>
                    <a:cubicBezTo>
                      <a:pt x="240459" y="282720"/>
                      <a:pt x="233246" y="280564"/>
                      <a:pt x="225745" y="281723"/>
                    </a:cubicBezTo>
                    <a:cubicBezTo>
                      <a:pt x="218268" y="282857"/>
                      <a:pt x="212045" y="287031"/>
                      <a:pt x="209072" y="292900"/>
                    </a:cubicBezTo>
                    <a:cubicBezTo>
                      <a:pt x="204883" y="301212"/>
                      <a:pt x="209250" y="315118"/>
                      <a:pt x="214065" y="327616"/>
                    </a:cubicBezTo>
                    <a:cubicBezTo>
                      <a:pt x="216725" y="334482"/>
                      <a:pt x="220438" y="340812"/>
                      <a:pt x="224954" y="346444"/>
                    </a:cubicBezTo>
                    <a:cubicBezTo>
                      <a:pt x="214203" y="364824"/>
                      <a:pt x="199601" y="379814"/>
                      <a:pt x="183908" y="387752"/>
                    </a:cubicBezTo>
                    <a:cubicBezTo>
                      <a:pt x="177648" y="390917"/>
                      <a:pt x="171150" y="393023"/>
                      <a:pt x="164702" y="394069"/>
                    </a:cubicBezTo>
                    <a:cubicBezTo>
                      <a:pt x="162568" y="388798"/>
                      <a:pt x="160425" y="383528"/>
                      <a:pt x="158242" y="378281"/>
                    </a:cubicBezTo>
                    <a:cubicBezTo>
                      <a:pt x="153601" y="367129"/>
                      <a:pt x="149059" y="357285"/>
                      <a:pt x="140767" y="349696"/>
                    </a:cubicBezTo>
                    <a:cubicBezTo>
                      <a:pt x="130669" y="340463"/>
                      <a:pt x="123129" y="340812"/>
                      <a:pt x="118613" y="342706"/>
                    </a:cubicBezTo>
                    <a:cubicBezTo>
                      <a:pt x="112190" y="345383"/>
                      <a:pt x="108188" y="352836"/>
                      <a:pt x="107887" y="362618"/>
                    </a:cubicBezTo>
                    <a:cubicBezTo>
                      <a:pt x="107499" y="375989"/>
                      <a:pt x="113883" y="392811"/>
                      <a:pt x="129063" y="400237"/>
                    </a:cubicBezTo>
                    <a:cubicBezTo>
                      <a:pt x="137581" y="404424"/>
                      <a:pt x="147391" y="406430"/>
                      <a:pt x="157288" y="406081"/>
                    </a:cubicBezTo>
                    <a:cubicBezTo>
                      <a:pt x="203340" y="522378"/>
                      <a:pt x="235292" y="647958"/>
                      <a:pt x="252491" y="779768"/>
                    </a:cubicBezTo>
                    <a:cubicBezTo>
                      <a:pt x="242242" y="778521"/>
                      <a:pt x="232043" y="776864"/>
                      <a:pt x="221957" y="775120"/>
                    </a:cubicBezTo>
                    <a:cubicBezTo>
                      <a:pt x="221743" y="774286"/>
                      <a:pt x="221381" y="773474"/>
                      <a:pt x="220751" y="772803"/>
                    </a:cubicBezTo>
                    <a:cubicBezTo>
                      <a:pt x="181486" y="729477"/>
                      <a:pt x="172341" y="682138"/>
                      <a:pt x="162632" y="632008"/>
                    </a:cubicBezTo>
                    <a:cubicBezTo>
                      <a:pt x="158592" y="611087"/>
                      <a:pt x="154415" y="589455"/>
                      <a:pt x="147929" y="567275"/>
                    </a:cubicBezTo>
                    <a:cubicBezTo>
                      <a:pt x="136601" y="528472"/>
                      <a:pt x="111361" y="497569"/>
                      <a:pt x="86974" y="467676"/>
                    </a:cubicBezTo>
                    <a:cubicBezTo>
                      <a:pt x="67630" y="444000"/>
                      <a:pt x="47646" y="419490"/>
                      <a:pt x="35064" y="391466"/>
                    </a:cubicBezTo>
                    <a:cubicBezTo>
                      <a:pt x="-20635" y="267257"/>
                      <a:pt x="24338" y="121067"/>
                      <a:pt x="139687" y="51424"/>
                    </a:cubicBezTo>
                    <a:close/>
                    <a:moveTo>
                      <a:pt x="325055" y="297026"/>
                    </a:moveTo>
                    <a:cubicBezTo>
                      <a:pt x="327149" y="289574"/>
                      <a:pt x="332318" y="282135"/>
                      <a:pt x="338051" y="282135"/>
                    </a:cubicBezTo>
                    <a:cubicBezTo>
                      <a:pt x="338407" y="282135"/>
                      <a:pt x="338730" y="282160"/>
                      <a:pt x="339068" y="282241"/>
                    </a:cubicBezTo>
                    <a:cubicBezTo>
                      <a:pt x="341049" y="282523"/>
                      <a:pt x="342581" y="283537"/>
                      <a:pt x="343885" y="285367"/>
                    </a:cubicBezTo>
                    <a:cubicBezTo>
                      <a:pt x="346708" y="289342"/>
                      <a:pt x="347799" y="296868"/>
                      <a:pt x="346506" y="303647"/>
                    </a:cubicBezTo>
                    <a:cubicBezTo>
                      <a:pt x="343896" y="317416"/>
                      <a:pt x="337173" y="329952"/>
                      <a:pt x="327915" y="339858"/>
                    </a:cubicBezTo>
                    <a:cubicBezTo>
                      <a:pt x="322407" y="326325"/>
                      <a:pt x="321115" y="311036"/>
                      <a:pt x="325056" y="297042"/>
                    </a:cubicBezTo>
                    <a:close/>
                    <a:moveTo>
                      <a:pt x="230831" y="335255"/>
                    </a:moveTo>
                    <a:cubicBezTo>
                      <a:pt x="228359" y="331617"/>
                      <a:pt x="226290" y="327704"/>
                      <a:pt x="224683" y="323580"/>
                    </a:cubicBezTo>
                    <a:cubicBezTo>
                      <a:pt x="217495" y="304950"/>
                      <a:pt x="218486" y="299455"/>
                      <a:pt x="219239" y="297960"/>
                    </a:cubicBezTo>
                    <a:cubicBezTo>
                      <a:pt x="220544" y="295406"/>
                      <a:pt x="223680" y="293461"/>
                      <a:pt x="227469" y="292876"/>
                    </a:cubicBezTo>
                    <a:cubicBezTo>
                      <a:pt x="228223" y="292770"/>
                      <a:pt x="228962" y="292699"/>
                      <a:pt x="229688" y="292699"/>
                    </a:cubicBezTo>
                    <a:cubicBezTo>
                      <a:pt x="232621" y="292699"/>
                      <a:pt x="235257" y="293621"/>
                      <a:pt x="236876" y="295278"/>
                    </a:cubicBezTo>
                    <a:cubicBezTo>
                      <a:pt x="241467" y="299988"/>
                      <a:pt x="240111" y="308997"/>
                      <a:pt x="238181" y="315726"/>
                    </a:cubicBezTo>
                    <a:cubicBezTo>
                      <a:pt x="236225" y="322430"/>
                      <a:pt x="233752" y="328972"/>
                      <a:pt x="230829" y="335252"/>
                    </a:cubicBezTo>
                    <a:close/>
                    <a:moveTo>
                      <a:pt x="233078" y="355030"/>
                    </a:moveTo>
                    <a:cubicBezTo>
                      <a:pt x="245962" y="366631"/>
                      <a:pt x="262483" y="373772"/>
                      <a:pt x="280033" y="373435"/>
                    </a:cubicBezTo>
                    <a:cubicBezTo>
                      <a:pt x="296040" y="373294"/>
                      <a:pt x="311621" y="367491"/>
                      <a:pt x="324642" y="357797"/>
                    </a:cubicBezTo>
                    <a:cubicBezTo>
                      <a:pt x="328757" y="364089"/>
                      <a:pt x="333800" y="369771"/>
                      <a:pt x="339621" y="374544"/>
                    </a:cubicBezTo>
                    <a:cubicBezTo>
                      <a:pt x="348314" y="381659"/>
                      <a:pt x="358676" y="386656"/>
                      <a:pt x="369640" y="389397"/>
                    </a:cubicBezTo>
                    <a:cubicBezTo>
                      <a:pt x="367421" y="396176"/>
                      <a:pt x="365626" y="402793"/>
                      <a:pt x="364020" y="408749"/>
                    </a:cubicBezTo>
                    <a:cubicBezTo>
                      <a:pt x="331404" y="529269"/>
                      <a:pt x="297734" y="653852"/>
                      <a:pt x="293456" y="781301"/>
                    </a:cubicBezTo>
                    <a:cubicBezTo>
                      <a:pt x="291073" y="781442"/>
                      <a:pt x="288802" y="781788"/>
                      <a:pt x="286368" y="781823"/>
                    </a:cubicBezTo>
                    <a:cubicBezTo>
                      <a:pt x="278967" y="781965"/>
                      <a:pt x="271553" y="781541"/>
                      <a:pt x="264152" y="780926"/>
                    </a:cubicBezTo>
                    <a:cubicBezTo>
                      <a:pt x="247053" y="648294"/>
                      <a:pt x="215101" y="521917"/>
                      <a:pt x="168974" y="404761"/>
                    </a:cubicBezTo>
                    <a:cubicBezTo>
                      <a:pt x="175761" y="403426"/>
                      <a:pt x="182535" y="401109"/>
                      <a:pt x="189071" y="397808"/>
                    </a:cubicBezTo>
                    <a:cubicBezTo>
                      <a:pt x="207926" y="388275"/>
                      <a:pt x="222578" y="372213"/>
                      <a:pt x="233078" y="355030"/>
                    </a:cubicBezTo>
                    <a:close/>
                    <a:moveTo>
                      <a:pt x="356932" y="775893"/>
                    </a:moveTo>
                    <a:cubicBezTo>
                      <a:pt x="338078" y="789612"/>
                      <a:pt x="314933" y="797837"/>
                      <a:pt x="291587" y="799033"/>
                    </a:cubicBezTo>
                    <a:cubicBezTo>
                      <a:pt x="288440" y="799209"/>
                      <a:pt x="286030" y="801848"/>
                      <a:pt x="286193" y="804964"/>
                    </a:cubicBezTo>
                    <a:cubicBezTo>
                      <a:pt x="286371" y="807980"/>
                      <a:pt x="288863" y="810310"/>
                      <a:pt x="291863" y="810310"/>
                    </a:cubicBezTo>
                    <a:cubicBezTo>
                      <a:pt x="291969" y="810310"/>
                      <a:pt x="292076" y="810310"/>
                      <a:pt x="292147" y="810310"/>
                    </a:cubicBezTo>
                    <a:cubicBezTo>
                      <a:pt x="313574" y="809215"/>
                      <a:pt x="334812" y="802659"/>
                      <a:pt x="353291" y="791731"/>
                    </a:cubicBezTo>
                    <a:cubicBezTo>
                      <a:pt x="351534" y="794747"/>
                      <a:pt x="349339" y="797488"/>
                      <a:pt x="346818" y="799593"/>
                    </a:cubicBezTo>
                    <a:cubicBezTo>
                      <a:pt x="336920" y="807868"/>
                      <a:pt x="322982" y="810671"/>
                      <a:pt x="310663" y="812316"/>
                    </a:cubicBezTo>
                    <a:cubicBezTo>
                      <a:pt x="287280" y="815442"/>
                      <a:pt x="263507" y="815668"/>
                      <a:pt x="240036" y="812976"/>
                    </a:cubicBezTo>
                    <a:cubicBezTo>
                      <a:pt x="229223" y="811719"/>
                      <a:pt x="217142" y="809451"/>
                      <a:pt x="209703" y="801974"/>
                    </a:cubicBezTo>
                    <a:cubicBezTo>
                      <a:pt x="206027" y="798285"/>
                      <a:pt x="203932" y="792267"/>
                      <a:pt x="204510" y="786983"/>
                    </a:cubicBezTo>
                    <a:cubicBezTo>
                      <a:pt x="204652" y="785786"/>
                      <a:pt x="204947" y="784390"/>
                      <a:pt x="205552" y="783033"/>
                    </a:cubicBezTo>
                    <a:cubicBezTo>
                      <a:pt x="207998" y="784079"/>
                      <a:pt x="210469" y="784580"/>
                      <a:pt x="212275" y="784902"/>
                    </a:cubicBezTo>
                    <a:cubicBezTo>
                      <a:pt x="235383" y="788952"/>
                      <a:pt x="259218" y="793126"/>
                      <a:pt x="283329" y="793126"/>
                    </a:cubicBezTo>
                    <a:cubicBezTo>
                      <a:pt x="284396" y="793126"/>
                      <a:pt x="285473" y="793126"/>
                      <a:pt x="286540" y="793100"/>
                    </a:cubicBezTo>
                    <a:cubicBezTo>
                      <a:pt x="313700" y="792677"/>
                      <a:pt x="337773" y="786160"/>
                      <a:pt x="356703" y="774559"/>
                    </a:cubicBezTo>
                    <a:cubicBezTo>
                      <a:pt x="356810" y="774993"/>
                      <a:pt x="356881" y="775442"/>
                      <a:pt x="356916" y="775891"/>
                    </a:cubicBezTo>
                    <a:close/>
                    <a:moveTo>
                      <a:pt x="359290" y="802908"/>
                    </a:moveTo>
                    <a:cubicBezTo>
                      <a:pt x="359880" y="805536"/>
                      <a:pt x="359916" y="808229"/>
                      <a:pt x="359667" y="810908"/>
                    </a:cubicBezTo>
                    <a:cubicBezTo>
                      <a:pt x="358536" y="810978"/>
                      <a:pt x="357395" y="811317"/>
                      <a:pt x="356442" y="812116"/>
                    </a:cubicBezTo>
                    <a:cubicBezTo>
                      <a:pt x="336696" y="828626"/>
                      <a:pt x="309600" y="836414"/>
                      <a:pt x="284096" y="832975"/>
                    </a:cubicBezTo>
                    <a:cubicBezTo>
                      <a:pt x="281024" y="832590"/>
                      <a:pt x="278125" y="834720"/>
                      <a:pt x="277698" y="837810"/>
                    </a:cubicBezTo>
                    <a:cubicBezTo>
                      <a:pt x="277286" y="840900"/>
                      <a:pt x="279465" y="843741"/>
                      <a:pt x="282566" y="844165"/>
                    </a:cubicBezTo>
                    <a:cubicBezTo>
                      <a:pt x="287044" y="844762"/>
                      <a:pt x="291573" y="845062"/>
                      <a:pt x="296089" y="845062"/>
                    </a:cubicBezTo>
                    <a:cubicBezTo>
                      <a:pt x="315997" y="845062"/>
                      <a:pt x="335906" y="839230"/>
                      <a:pt x="352729" y="828639"/>
                    </a:cubicBezTo>
                    <a:cubicBezTo>
                      <a:pt x="351161" y="830793"/>
                      <a:pt x="349443" y="832801"/>
                      <a:pt x="347573" y="834445"/>
                    </a:cubicBezTo>
                    <a:cubicBezTo>
                      <a:pt x="338265" y="842657"/>
                      <a:pt x="324503" y="847679"/>
                      <a:pt x="306689" y="849336"/>
                    </a:cubicBezTo>
                    <a:cubicBezTo>
                      <a:pt x="287270" y="851141"/>
                      <a:pt x="267850" y="849159"/>
                      <a:pt x="249723" y="846793"/>
                    </a:cubicBezTo>
                    <a:cubicBezTo>
                      <a:pt x="238120" y="845249"/>
                      <a:pt x="227030" y="843352"/>
                      <a:pt x="218826" y="836974"/>
                    </a:cubicBezTo>
                    <a:cubicBezTo>
                      <a:pt x="212817" y="832313"/>
                      <a:pt x="208790" y="823566"/>
                      <a:pt x="210772" y="816613"/>
                    </a:cubicBezTo>
                    <a:cubicBezTo>
                      <a:pt x="219403" y="821285"/>
                      <a:pt x="229476" y="823117"/>
                      <a:pt x="238734" y="824177"/>
                    </a:cubicBezTo>
                    <a:cubicBezTo>
                      <a:pt x="250025" y="825473"/>
                      <a:pt x="261377" y="826119"/>
                      <a:pt x="272730" y="826119"/>
                    </a:cubicBezTo>
                    <a:cubicBezTo>
                      <a:pt x="285915" y="826119"/>
                      <a:pt x="299099" y="825247"/>
                      <a:pt x="312172" y="823502"/>
                    </a:cubicBezTo>
                    <a:cubicBezTo>
                      <a:pt x="326121" y="821644"/>
                      <a:pt x="342016" y="818368"/>
                      <a:pt x="354146" y="808238"/>
                    </a:cubicBezTo>
                    <a:cubicBezTo>
                      <a:pt x="356002" y="806680"/>
                      <a:pt x="357695" y="804847"/>
                      <a:pt x="359290" y="802904"/>
                    </a:cubicBezTo>
                    <a:close/>
                    <a:moveTo>
                      <a:pt x="345717" y="866047"/>
                    </a:moveTo>
                    <a:cubicBezTo>
                      <a:pt x="327150" y="875043"/>
                      <a:pt x="306000" y="878383"/>
                      <a:pt x="285590" y="875367"/>
                    </a:cubicBezTo>
                    <a:cubicBezTo>
                      <a:pt x="282517" y="874943"/>
                      <a:pt x="279593" y="877013"/>
                      <a:pt x="279129" y="880115"/>
                    </a:cubicBezTo>
                    <a:cubicBezTo>
                      <a:pt x="278663" y="883191"/>
                      <a:pt x="280811" y="886059"/>
                      <a:pt x="283909" y="886532"/>
                    </a:cubicBezTo>
                    <a:cubicBezTo>
                      <a:pt x="289428" y="887341"/>
                      <a:pt x="294998" y="887740"/>
                      <a:pt x="300543" y="887740"/>
                    </a:cubicBezTo>
                    <a:cubicBezTo>
                      <a:pt x="312511" y="887740"/>
                      <a:pt x="324390" y="885660"/>
                      <a:pt x="335769" y="882008"/>
                    </a:cubicBezTo>
                    <a:cubicBezTo>
                      <a:pt x="329735" y="887503"/>
                      <a:pt x="321505" y="892002"/>
                      <a:pt x="311081" y="895341"/>
                    </a:cubicBezTo>
                    <a:cubicBezTo>
                      <a:pt x="297745" y="899603"/>
                      <a:pt x="283946" y="901447"/>
                      <a:pt x="269884" y="900862"/>
                    </a:cubicBezTo>
                    <a:cubicBezTo>
                      <a:pt x="257590" y="900325"/>
                      <a:pt x="240566" y="897347"/>
                      <a:pt x="229389" y="886133"/>
                    </a:cubicBezTo>
                    <a:cubicBezTo>
                      <a:pt x="220947" y="877684"/>
                      <a:pt x="217007" y="862619"/>
                      <a:pt x="223355" y="852152"/>
                    </a:cubicBezTo>
                    <a:cubicBezTo>
                      <a:pt x="231271" y="855317"/>
                      <a:pt x="239839" y="856875"/>
                      <a:pt x="248231" y="857984"/>
                    </a:cubicBezTo>
                    <a:cubicBezTo>
                      <a:pt x="261817" y="859768"/>
                      <a:pt x="276156" y="861325"/>
                      <a:pt x="290808" y="861325"/>
                    </a:cubicBezTo>
                    <a:cubicBezTo>
                      <a:pt x="296416" y="861325"/>
                      <a:pt x="302086" y="861113"/>
                      <a:pt x="307756" y="860577"/>
                    </a:cubicBezTo>
                    <a:cubicBezTo>
                      <a:pt x="322622" y="859192"/>
                      <a:pt x="335091" y="855567"/>
                      <a:pt x="345127" y="849885"/>
                    </a:cubicBezTo>
                    <a:cubicBezTo>
                      <a:pt x="347133" y="854733"/>
                      <a:pt x="347271" y="860390"/>
                      <a:pt x="345717" y="866047"/>
                    </a:cubicBezTo>
                    <a:close/>
                    <a:moveTo>
                      <a:pt x="298636" y="935204"/>
                    </a:moveTo>
                    <a:cubicBezTo>
                      <a:pt x="285502" y="940799"/>
                      <a:pt x="269394" y="938432"/>
                      <a:pt x="258468" y="929273"/>
                    </a:cubicBezTo>
                    <a:cubicBezTo>
                      <a:pt x="252647" y="924400"/>
                      <a:pt x="248093" y="916201"/>
                      <a:pt x="249059" y="908899"/>
                    </a:cubicBezTo>
                    <a:cubicBezTo>
                      <a:pt x="255344" y="910581"/>
                      <a:pt x="262006" y="911813"/>
                      <a:pt x="269394" y="912138"/>
                    </a:cubicBezTo>
                    <a:cubicBezTo>
                      <a:pt x="271265" y="912209"/>
                      <a:pt x="273158" y="912244"/>
                      <a:pt x="275027" y="912244"/>
                    </a:cubicBezTo>
                    <a:cubicBezTo>
                      <a:pt x="288450" y="912244"/>
                      <a:pt x="301722" y="910174"/>
                      <a:pt x="314581" y="906076"/>
                    </a:cubicBezTo>
                    <a:cubicBezTo>
                      <a:pt x="317141" y="905267"/>
                      <a:pt x="319423" y="904268"/>
                      <a:pt x="321782" y="903321"/>
                    </a:cubicBezTo>
                    <a:cubicBezTo>
                      <a:pt x="320526" y="917028"/>
                      <a:pt x="311395" y="929750"/>
                      <a:pt x="298636" y="935196"/>
                    </a:cubicBezTo>
                    <a:close/>
                    <a:moveTo>
                      <a:pt x="24683" y="396064"/>
                    </a:moveTo>
                    <a:cubicBezTo>
                      <a:pt x="37881" y="425446"/>
                      <a:pt x="58353" y="450530"/>
                      <a:pt x="78149" y="474791"/>
                    </a:cubicBezTo>
                    <a:cubicBezTo>
                      <a:pt x="102938" y="505145"/>
                      <a:pt x="126334" y="533805"/>
                      <a:pt x="137009" y="570415"/>
                    </a:cubicBezTo>
                    <a:cubicBezTo>
                      <a:pt x="143344" y="592097"/>
                      <a:pt x="147484" y="613467"/>
                      <a:pt x="151499" y="634139"/>
                    </a:cubicBezTo>
                    <a:cubicBezTo>
                      <a:pt x="160405" y="680269"/>
                      <a:pt x="168948" y="724093"/>
                      <a:pt x="200047" y="765426"/>
                    </a:cubicBezTo>
                    <a:cubicBezTo>
                      <a:pt x="199506" y="766086"/>
                      <a:pt x="199044" y="766821"/>
                      <a:pt x="198653" y="767644"/>
                    </a:cubicBezTo>
                    <a:cubicBezTo>
                      <a:pt x="197750" y="769661"/>
                      <a:pt x="197547" y="771906"/>
                      <a:pt x="197899" y="774049"/>
                    </a:cubicBezTo>
                    <a:cubicBezTo>
                      <a:pt x="195389" y="777302"/>
                      <a:pt x="193696" y="781251"/>
                      <a:pt x="193207" y="785775"/>
                    </a:cubicBezTo>
                    <a:cubicBezTo>
                      <a:pt x="192279" y="794410"/>
                      <a:pt x="195451" y="803519"/>
                      <a:pt x="201436" y="809662"/>
                    </a:cubicBezTo>
                    <a:cubicBezTo>
                      <a:pt x="195164" y="822222"/>
                      <a:pt x="201411" y="837786"/>
                      <a:pt x="211811" y="845873"/>
                    </a:cubicBezTo>
                    <a:cubicBezTo>
                      <a:pt x="212313" y="846258"/>
                      <a:pt x="212878" y="846470"/>
                      <a:pt x="213379" y="846833"/>
                    </a:cubicBezTo>
                    <a:cubicBezTo>
                      <a:pt x="204385" y="862198"/>
                      <a:pt x="209880" y="882634"/>
                      <a:pt x="221307" y="894085"/>
                    </a:cubicBezTo>
                    <a:cubicBezTo>
                      <a:pt x="225887" y="898670"/>
                      <a:pt x="231670" y="902222"/>
                      <a:pt x="238143" y="905113"/>
                    </a:cubicBezTo>
                    <a:cubicBezTo>
                      <a:pt x="235369" y="917200"/>
                      <a:pt x="242019" y="930259"/>
                      <a:pt x="251139" y="937897"/>
                    </a:cubicBezTo>
                    <a:cubicBezTo>
                      <a:pt x="260159" y="945461"/>
                      <a:pt x="271951" y="949460"/>
                      <a:pt x="283718" y="949460"/>
                    </a:cubicBezTo>
                    <a:cubicBezTo>
                      <a:pt x="290367" y="949460"/>
                      <a:pt x="297003" y="948189"/>
                      <a:pt x="303124" y="945573"/>
                    </a:cubicBezTo>
                    <a:cubicBezTo>
                      <a:pt x="320098" y="938321"/>
                      <a:pt x="332216" y="921137"/>
                      <a:pt x="333282" y="902820"/>
                    </a:cubicBezTo>
                    <a:cubicBezTo>
                      <a:pt x="333389" y="901174"/>
                      <a:pt x="332731" y="899694"/>
                      <a:pt x="331675" y="898596"/>
                    </a:cubicBezTo>
                    <a:cubicBezTo>
                      <a:pt x="333481" y="900478"/>
                      <a:pt x="348623" y="885263"/>
                      <a:pt x="349978" y="883294"/>
                    </a:cubicBezTo>
                    <a:cubicBezTo>
                      <a:pt x="353929" y="877487"/>
                      <a:pt x="356965" y="869238"/>
                      <a:pt x="358107" y="862297"/>
                    </a:cubicBezTo>
                    <a:cubicBezTo>
                      <a:pt x="358462" y="860252"/>
                      <a:pt x="355386" y="842609"/>
                      <a:pt x="354732" y="843170"/>
                    </a:cubicBezTo>
                    <a:cubicBezTo>
                      <a:pt x="354874" y="843064"/>
                      <a:pt x="354981" y="842994"/>
                      <a:pt x="355120" y="842888"/>
                    </a:cubicBezTo>
                    <a:cubicBezTo>
                      <a:pt x="367778" y="831698"/>
                      <a:pt x="376271" y="811112"/>
                      <a:pt x="367978" y="793406"/>
                    </a:cubicBezTo>
                    <a:cubicBezTo>
                      <a:pt x="367527" y="792445"/>
                      <a:pt x="366822" y="791760"/>
                      <a:pt x="366008" y="791213"/>
                    </a:cubicBezTo>
                    <a:cubicBezTo>
                      <a:pt x="369394" y="782291"/>
                      <a:pt x="369696" y="772285"/>
                      <a:pt x="364579" y="763712"/>
                    </a:cubicBezTo>
                    <a:cubicBezTo>
                      <a:pt x="363000" y="761020"/>
                      <a:pt x="359498" y="760147"/>
                      <a:pt x="356813" y="761730"/>
                    </a:cubicBezTo>
                    <a:cubicBezTo>
                      <a:pt x="386795" y="723127"/>
                      <a:pt x="395464" y="674654"/>
                      <a:pt x="403781" y="627502"/>
                    </a:cubicBezTo>
                    <a:cubicBezTo>
                      <a:pt x="406039" y="614830"/>
                      <a:pt x="408247" y="602220"/>
                      <a:pt x="410881" y="589871"/>
                    </a:cubicBezTo>
                    <a:cubicBezTo>
                      <a:pt x="417379" y="559404"/>
                      <a:pt x="427139" y="524452"/>
                      <a:pt x="450285" y="496328"/>
                    </a:cubicBezTo>
                    <a:cubicBezTo>
                      <a:pt x="455604" y="489848"/>
                      <a:pt x="460973" y="483606"/>
                      <a:pt x="466279" y="477413"/>
                    </a:cubicBezTo>
                    <a:cubicBezTo>
                      <a:pt x="483340" y="457575"/>
                      <a:pt x="499460" y="438834"/>
                      <a:pt x="512381" y="415034"/>
                    </a:cubicBezTo>
                    <a:cubicBezTo>
                      <a:pt x="561720" y="324246"/>
                      <a:pt x="579258" y="190841"/>
                      <a:pt x="507189" y="97472"/>
                    </a:cubicBezTo>
                    <a:cubicBezTo>
                      <a:pt x="418673" y="-17242"/>
                      <a:pt x="242644" y="-23958"/>
                      <a:pt x="133781" y="41773"/>
                    </a:cubicBezTo>
                    <a:cubicBezTo>
                      <a:pt x="13564" y="114357"/>
                      <a:pt x="-33341" y="266665"/>
                      <a:pt x="24679" y="396057"/>
                    </a:cubicBezTo>
                  </a:path>
                </a:pathLst>
              </a:custGeom>
              <a:grpFill/>
              <a:ln w="1250" cap="flat">
                <a:noFill/>
                <a:prstDash val="solid"/>
                <a:miter/>
              </a:ln>
            </p:spPr>
            <p:txBody>
              <a:bodyPr rtlCol="0" anchor="ctr"/>
              <a:lstStyle/>
              <a:p>
                <a:endParaRPr lang="en-LT"/>
              </a:p>
            </p:txBody>
          </p:sp>
          <p:sp>
            <p:nvSpPr>
              <p:cNvPr id="102" name="Freeform 101">
                <a:extLst>
                  <a:ext uri="{FF2B5EF4-FFF2-40B4-BE49-F238E27FC236}">
                    <a16:creationId xmlns:a16="http://schemas.microsoft.com/office/drawing/2014/main" id="{8ED0A446-080A-AA4C-BFE3-9198BE7A64FB}"/>
                  </a:ext>
                </a:extLst>
              </p:cNvPr>
              <p:cNvSpPr/>
              <p:nvPr/>
            </p:nvSpPr>
            <p:spPr>
              <a:xfrm>
                <a:off x="5859545" y="3128279"/>
                <a:ext cx="142589" cy="204679"/>
              </a:xfrm>
              <a:custGeom>
                <a:avLst/>
                <a:gdLst>
                  <a:gd name="connsiteX0" fmla="*/ 69207 w 142589"/>
                  <a:gd name="connsiteY0" fmla="*/ 32523 h 204679"/>
                  <a:gd name="connsiteX1" fmla="*/ 97684 w 142589"/>
                  <a:gd name="connsiteY1" fmla="*/ 11352 h 204679"/>
                  <a:gd name="connsiteX2" fmla="*/ 127753 w 142589"/>
                  <a:gd name="connsiteY2" fmla="*/ 23626 h 204679"/>
                  <a:gd name="connsiteX3" fmla="*/ 33065 w 142589"/>
                  <a:gd name="connsiteY3" fmla="*/ 192233 h 204679"/>
                  <a:gd name="connsiteX4" fmla="*/ 11501 w 142589"/>
                  <a:gd name="connsiteY4" fmla="*/ 187959 h 204679"/>
                  <a:gd name="connsiteX5" fmla="*/ 69207 w 142589"/>
                  <a:gd name="connsiteY5" fmla="*/ 32523 h 204679"/>
                  <a:gd name="connsiteX6" fmla="*/ 4488 w 142589"/>
                  <a:gd name="connsiteY6" fmla="*/ 198077 h 204679"/>
                  <a:gd name="connsiteX7" fmla="*/ 36816 w 142589"/>
                  <a:gd name="connsiteY7" fmla="*/ 204482 h 204679"/>
                  <a:gd name="connsiteX8" fmla="*/ 37933 w 142589"/>
                  <a:gd name="connsiteY8" fmla="*/ 204588 h 204679"/>
                  <a:gd name="connsiteX9" fmla="*/ 41268 w 142589"/>
                  <a:gd name="connsiteY9" fmla="*/ 203503 h 204679"/>
                  <a:gd name="connsiteX10" fmla="*/ 43576 w 142589"/>
                  <a:gd name="connsiteY10" fmla="*/ 199591 h 204679"/>
                  <a:gd name="connsiteX11" fmla="*/ 140309 w 142589"/>
                  <a:gd name="connsiteY11" fmla="*/ 28067 h 204679"/>
                  <a:gd name="connsiteX12" fmla="*/ 142492 w 142589"/>
                  <a:gd name="connsiteY12" fmla="*/ 23706 h 204679"/>
                  <a:gd name="connsiteX13" fmla="*/ 140433 w 142589"/>
                  <a:gd name="connsiteY13" fmla="*/ 19282 h 204679"/>
                  <a:gd name="connsiteX14" fmla="*/ 96401 w 142589"/>
                  <a:gd name="connsiteY14" fmla="*/ 130 h 204679"/>
                  <a:gd name="connsiteX15" fmla="*/ 60185 w 142589"/>
                  <a:gd name="connsiteY15" fmla="*/ 25675 h 204679"/>
                  <a:gd name="connsiteX16" fmla="*/ -93 w 142589"/>
                  <a:gd name="connsiteY16" fmla="*/ 192312 h 204679"/>
                  <a:gd name="connsiteX17" fmla="*/ 4486 w 142589"/>
                  <a:gd name="connsiteY17" fmla="*/ 198070 h 20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589" h="204679">
                    <a:moveTo>
                      <a:pt x="69207" y="32523"/>
                    </a:moveTo>
                    <a:cubicBezTo>
                      <a:pt x="76244" y="23364"/>
                      <a:pt x="85804" y="12686"/>
                      <a:pt x="97684" y="11352"/>
                    </a:cubicBezTo>
                    <a:cubicBezTo>
                      <a:pt x="108221" y="10131"/>
                      <a:pt x="118232" y="16262"/>
                      <a:pt x="127753" y="23626"/>
                    </a:cubicBezTo>
                    <a:cubicBezTo>
                      <a:pt x="76445" y="65868"/>
                      <a:pt x="42298" y="126664"/>
                      <a:pt x="33065" y="192233"/>
                    </a:cubicBezTo>
                    <a:lnTo>
                      <a:pt x="11501" y="187959"/>
                    </a:lnTo>
                    <a:cubicBezTo>
                      <a:pt x="14687" y="132060"/>
                      <a:pt x="35098" y="77046"/>
                      <a:pt x="69207" y="32523"/>
                    </a:cubicBezTo>
                    <a:close/>
                    <a:moveTo>
                      <a:pt x="4488" y="198077"/>
                    </a:moveTo>
                    <a:lnTo>
                      <a:pt x="36816" y="204482"/>
                    </a:lnTo>
                    <a:cubicBezTo>
                      <a:pt x="37193" y="204552"/>
                      <a:pt x="37570" y="204588"/>
                      <a:pt x="37933" y="204588"/>
                    </a:cubicBezTo>
                    <a:cubicBezTo>
                      <a:pt x="39124" y="204588"/>
                      <a:pt x="40305" y="204213"/>
                      <a:pt x="41268" y="203503"/>
                    </a:cubicBezTo>
                    <a:cubicBezTo>
                      <a:pt x="42548" y="202581"/>
                      <a:pt x="43388" y="201161"/>
                      <a:pt x="43576" y="199591"/>
                    </a:cubicBezTo>
                    <a:cubicBezTo>
                      <a:pt x="51404" y="132364"/>
                      <a:pt x="86680" y="69836"/>
                      <a:pt x="140309" y="28067"/>
                    </a:cubicBezTo>
                    <a:cubicBezTo>
                      <a:pt x="141664" y="27022"/>
                      <a:pt x="142467" y="25414"/>
                      <a:pt x="142492" y="23706"/>
                    </a:cubicBezTo>
                    <a:cubicBezTo>
                      <a:pt x="142504" y="21999"/>
                      <a:pt x="141753" y="20366"/>
                      <a:pt x="140433" y="19282"/>
                    </a:cubicBezTo>
                    <a:cubicBezTo>
                      <a:pt x="127525" y="8653"/>
                      <a:pt x="113261" y="-1752"/>
                      <a:pt x="96401" y="130"/>
                    </a:cubicBezTo>
                    <a:cubicBezTo>
                      <a:pt x="80256" y="1950"/>
                      <a:pt x="68564" y="14734"/>
                      <a:pt x="60185" y="25675"/>
                    </a:cubicBezTo>
                    <a:cubicBezTo>
                      <a:pt x="23667" y="73312"/>
                      <a:pt x="2253" y="132488"/>
                      <a:pt x="-93" y="192312"/>
                    </a:cubicBezTo>
                    <a:cubicBezTo>
                      <a:pt x="-200" y="195078"/>
                      <a:pt x="1738" y="197521"/>
                      <a:pt x="4486" y="198070"/>
                    </a:cubicBezTo>
                  </a:path>
                </a:pathLst>
              </a:custGeom>
              <a:grpFill/>
              <a:ln w="1250" cap="flat">
                <a:noFill/>
                <a:prstDash val="solid"/>
                <a:miter/>
              </a:ln>
            </p:spPr>
            <p:txBody>
              <a:bodyPr rtlCol="0" anchor="ctr"/>
              <a:lstStyle/>
              <a:p>
                <a:endParaRPr lang="en-LT"/>
              </a:p>
            </p:txBody>
          </p:sp>
          <p:sp>
            <p:nvSpPr>
              <p:cNvPr id="103" name="Freeform 102">
                <a:extLst>
                  <a:ext uri="{FF2B5EF4-FFF2-40B4-BE49-F238E27FC236}">
                    <a16:creationId xmlns:a16="http://schemas.microsoft.com/office/drawing/2014/main" id="{AD36A277-738B-9945-ABCB-E02EF0ECB1E8}"/>
                  </a:ext>
                </a:extLst>
              </p:cNvPr>
              <p:cNvSpPr/>
              <p:nvPr/>
            </p:nvSpPr>
            <p:spPr>
              <a:xfrm>
                <a:off x="5651500" y="3281988"/>
                <a:ext cx="127873" cy="59002"/>
              </a:xfrm>
              <a:custGeom>
                <a:avLst/>
                <a:gdLst>
                  <a:gd name="connsiteX0" fmla="*/ 12156 w 127873"/>
                  <a:gd name="connsiteY0" fmla="*/ 29839 h 59002"/>
                  <a:gd name="connsiteX1" fmla="*/ 33545 w 127873"/>
                  <a:gd name="connsiteY1" fmla="*/ 12493 h 59002"/>
                  <a:gd name="connsiteX2" fmla="*/ 45613 w 127873"/>
                  <a:gd name="connsiteY2" fmla="*/ 11197 h 59002"/>
                  <a:gd name="connsiteX3" fmla="*/ 89507 w 127873"/>
                  <a:gd name="connsiteY3" fmla="*/ 22399 h 59002"/>
                  <a:gd name="connsiteX4" fmla="*/ 103632 w 127873"/>
                  <a:gd name="connsiteY4" fmla="*/ 27658 h 59002"/>
                  <a:gd name="connsiteX5" fmla="*/ 45061 w 127873"/>
                  <a:gd name="connsiteY5" fmla="*/ 44418 h 59002"/>
                  <a:gd name="connsiteX6" fmla="*/ 28025 w 127873"/>
                  <a:gd name="connsiteY6" fmla="*/ 47621 h 59002"/>
                  <a:gd name="connsiteX7" fmla="*/ 28025 w 127873"/>
                  <a:gd name="connsiteY7" fmla="*/ 53266 h 59002"/>
                  <a:gd name="connsiteX8" fmla="*/ 27197 w 127873"/>
                  <a:gd name="connsiteY8" fmla="*/ 47609 h 59002"/>
                  <a:gd name="connsiteX9" fmla="*/ 14025 w 127873"/>
                  <a:gd name="connsiteY9" fmla="*/ 41889 h 59002"/>
                  <a:gd name="connsiteX10" fmla="*/ 12156 w 127873"/>
                  <a:gd name="connsiteY10" fmla="*/ 29840 h 59002"/>
                  <a:gd name="connsiteX11" fmla="*/ 26858 w 127873"/>
                  <a:gd name="connsiteY11" fmla="*/ 58885 h 59002"/>
                  <a:gd name="connsiteX12" fmla="*/ 28025 w 127873"/>
                  <a:gd name="connsiteY12" fmla="*/ 58910 h 59002"/>
                  <a:gd name="connsiteX13" fmla="*/ 48009 w 127873"/>
                  <a:gd name="connsiteY13" fmla="*/ 55321 h 59002"/>
                  <a:gd name="connsiteX14" fmla="*/ 108011 w 127873"/>
                  <a:gd name="connsiteY14" fmla="*/ 38101 h 59002"/>
                  <a:gd name="connsiteX15" fmla="*/ 124143 w 127873"/>
                  <a:gd name="connsiteY15" fmla="*/ 32306 h 59002"/>
                  <a:gd name="connsiteX16" fmla="*/ 127756 w 127873"/>
                  <a:gd name="connsiteY16" fmla="*/ 26562 h 59002"/>
                  <a:gd name="connsiteX17" fmla="*/ 123240 w 127873"/>
                  <a:gd name="connsiteY17" fmla="*/ 21503 h 59002"/>
                  <a:gd name="connsiteX18" fmla="*/ 93634 w 127873"/>
                  <a:gd name="connsiteY18" fmla="*/ 11883 h 59002"/>
                  <a:gd name="connsiteX19" fmla="*/ 45613 w 127873"/>
                  <a:gd name="connsiteY19" fmla="*/ -92 h 59002"/>
                  <a:gd name="connsiteX20" fmla="*/ 31086 w 127873"/>
                  <a:gd name="connsiteY20" fmla="*/ 1466 h 59002"/>
                  <a:gd name="connsiteX21" fmla="*/ 1505 w 127873"/>
                  <a:gd name="connsiteY21" fmla="*/ 25926 h 59002"/>
                  <a:gd name="connsiteX22" fmla="*/ 4917 w 127873"/>
                  <a:gd name="connsiteY22" fmla="*/ 48655 h 59002"/>
                  <a:gd name="connsiteX23" fmla="*/ 26858 w 127873"/>
                  <a:gd name="connsiteY23" fmla="*/ 58885 h 59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873" h="59002">
                    <a:moveTo>
                      <a:pt x="12156" y="29839"/>
                    </a:moveTo>
                    <a:cubicBezTo>
                      <a:pt x="15242" y="21614"/>
                      <a:pt x="25704" y="14226"/>
                      <a:pt x="33545" y="12493"/>
                    </a:cubicBezTo>
                    <a:cubicBezTo>
                      <a:pt x="37509" y="11621"/>
                      <a:pt x="41448" y="11197"/>
                      <a:pt x="45613" y="11197"/>
                    </a:cubicBezTo>
                    <a:cubicBezTo>
                      <a:pt x="60453" y="11197"/>
                      <a:pt x="74566" y="16642"/>
                      <a:pt x="89507" y="22399"/>
                    </a:cubicBezTo>
                    <a:cubicBezTo>
                      <a:pt x="94161" y="24194"/>
                      <a:pt x="98865" y="26000"/>
                      <a:pt x="103632" y="27658"/>
                    </a:cubicBezTo>
                    <a:cubicBezTo>
                      <a:pt x="86985" y="33290"/>
                      <a:pt x="67880" y="38748"/>
                      <a:pt x="45061" y="44418"/>
                    </a:cubicBezTo>
                    <a:cubicBezTo>
                      <a:pt x="39754" y="45926"/>
                      <a:pt x="33695" y="47621"/>
                      <a:pt x="28025" y="47621"/>
                    </a:cubicBezTo>
                    <a:lnTo>
                      <a:pt x="28025" y="53266"/>
                    </a:lnTo>
                    <a:lnTo>
                      <a:pt x="27197" y="47609"/>
                    </a:lnTo>
                    <a:cubicBezTo>
                      <a:pt x="21527" y="47432"/>
                      <a:pt x="16597" y="45302"/>
                      <a:pt x="14025" y="41889"/>
                    </a:cubicBezTo>
                    <a:cubicBezTo>
                      <a:pt x="11152" y="38101"/>
                      <a:pt x="10550" y="34151"/>
                      <a:pt x="12156" y="29840"/>
                    </a:cubicBezTo>
                    <a:close/>
                    <a:moveTo>
                      <a:pt x="26858" y="58885"/>
                    </a:moveTo>
                    <a:cubicBezTo>
                      <a:pt x="26922" y="58885"/>
                      <a:pt x="27975" y="58910"/>
                      <a:pt x="28025" y="58910"/>
                    </a:cubicBezTo>
                    <a:cubicBezTo>
                      <a:pt x="35288" y="58910"/>
                      <a:pt x="42125" y="56978"/>
                      <a:pt x="48009" y="55321"/>
                    </a:cubicBezTo>
                    <a:cubicBezTo>
                      <a:pt x="71254" y="49540"/>
                      <a:pt x="90899" y="43907"/>
                      <a:pt x="108011" y="38101"/>
                    </a:cubicBezTo>
                    <a:cubicBezTo>
                      <a:pt x="113468" y="36243"/>
                      <a:pt x="118849" y="34312"/>
                      <a:pt x="124143" y="32306"/>
                    </a:cubicBezTo>
                    <a:cubicBezTo>
                      <a:pt x="126501" y="31395"/>
                      <a:pt x="127969" y="29067"/>
                      <a:pt x="127756" y="26562"/>
                    </a:cubicBezTo>
                    <a:cubicBezTo>
                      <a:pt x="127542" y="24072"/>
                      <a:pt x="125697" y="22001"/>
                      <a:pt x="123240" y="21503"/>
                    </a:cubicBezTo>
                    <a:cubicBezTo>
                      <a:pt x="113405" y="19496"/>
                      <a:pt x="103796" y="15796"/>
                      <a:pt x="93634" y="11883"/>
                    </a:cubicBezTo>
                    <a:cubicBezTo>
                      <a:pt x="78367" y="6002"/>
                      <a:pt x="62573" y="-92"/>
                      <a:pt x="45613" y="-92"/>
                    </a:cubicBezTo>
                    <a:cubicBezTo>
                      <a:pt x="40683" y="-92"/>
                      <a:pt x="35790" y="445"/>
                      <a:pt x="31086" y="1466"/>
                    </a:cubicBezTo>
                    <a:cubicBezTo>
                      <a:pt x="20285" y="3871"/>
                      <a:pt x="6235" y="13241"/>
                      <a:pt x="1505" y="25926"/>
                    </a:cubicBezTo>
                    <a:cubicBezTo>
                      <a:pt x="-1468" y="33876"/>
                      <a:pt x="-289" y="41739"/>
                      <a:pt x="4917" y="48655"/>
                    </a:cubicBezTo>
                    <a:cubicBezTo>
                      <a:pt x="9609" y="54885"/>
                      <a:pt x="17613" y="58611"/>
                      <a:pt x="26858" y="58885"/>
                    </a:cubicBezTo>
                  </a:path>
                </a:pathLst>
              </a:custGeom>
              <a:grpFill/>
              <a:ln w="1250" cap="flat">
                <a:noFill/>
                <a:prstDash val="solid"/>
                <a:miter/>
              </a:ln>
            </p:spPr>
            <p:txBody>
              <a:bodyPr rtlCol="0" anchor="ctr"/>
              <a:lstStyle/>
              <a:p>
                <a:endParaRPr lang="en-LT"/>
              </a:p>
            </p:txBody>
          </p:sp>
          <p:sp>
            <p:nvSpPr>
              <p:cNvPr id="104" name="Freeform 103">
                <a:extLst>
                  <a:ext uri="{FF2B5EF4-FFF2-40B4-BE49-F238E27FC236}">
                    <a16:creationId xmlns:a16="http://schemas.microsoft.com/office/drawing/2014/main" id="{BADD944C-28C2-0B42-9E6D-6AA8B580E0F3}"/>
                  </a:ext>
                </a:extLst>
              </p:cNvPr>
              <p:cNvSpPr/>
              <p:nvPr/>
            </p:nvSpPr>
            <p:spPr>
              <a:xfrm>
                <a:off x="5764013" y="3003228"/>
                <a:ext cx="109098" cy="87325"/>
              </a:xfrm>
              <a:custGeom>
                <a:avLst/>
                <a:gdLst>
                  <a:gd name="connsiteX0" fmla="*/ 11742 w 109098"/>
                  <a:gd name="connsiteY0" fmla="*/ 17827 h 87325"/>
                  <a:gd name="connsiteX1" fmla="*/ 23848 w 109098"/>
                  <a:gd name="connsiteY1" fmla="*/ 11186 h 87325"/>
                  <a:gd name="connsiteX2" fmla="*/ 29342 w 109098"/>
                  <a:gd name="connsiteY2" fmla="*/ 12083 h 87325"/>
                  <a:gd name="connsiteX3" fmla="*/ 49477 w 109098"/>
                  <a:gd name="connsiteY3" fmla="*/ 28631 h 87325"/>
                  <a:gd name="connsiteX4" fmla="*/ 75369 w 109098"/>
                  <a:gd name="connsiteY4" fmla="*/ 58250 h 87325"/>
                  <a:gd name="connsiteX5" fmla="*/ 38575 w 109098"/>
                  <a:gd name="connsiteY5" fmla="*/ 41403 h 87325"/>
                  <a:gd name="connsiteX6" fmla="*/ 35013 w 109098"/>
                  <a:gd name="connsiteY6" fmla="*/ 40219 h 87325"/>
                  <a:gd name="connsiteX7" fmla="*/ 18027 w 109098"/>
                  <a:gd name="connsiteY7" fmla="*/ 32556 h 87325"/>
                  <a:gd name="connsiteX8" fmla="*/ 11742 w 109098"/>
                  <a:gd name="connsiteY8" fmla="*/ 17827 h 87325"/>
                  <a:gd name="connsiteX9" fmla="*/ 11102 w 109098"/>
                  <a:gd name="connsiteY9" fmla="*/ 41503 h 87325"/>
                  <a:gd name="connsiteX10" fmla="*/ 31412 w 109098"/>
                  <a:gd name="connsiteY10" fmla="*/ 50923 h 87325"/>
                  <a:gd name="connsiteX11" fmla="*/ 34851 w 109098"/>
                  <a:gd name="connsiteY11" fmla="*/ 52082 h 87325"/>
                  <a:gd name="connsiteX12" fmla="*/ 100309 w 109098"/>
                  <a:gd name="connsiteY12" fmla="*/ 86374 h 87325"/>
                  <a:gd name="connsiteX13" fmla="*/ 103321 w 109098"/>
                  <a:gd name="connsiteY13" fmla="*/ 87234 h 87325"/>
                  <a:gd name="connsiteX14" fmla="*/ 107636 w 109098"/>
                  <a:gd name="connsiteY14" fmla="*/ 85265 h 87325"/>
                  <a:gd name="connsiteX15" fmla="*/ 107611 w 109098"/>
                  <a:gd name="connsiteY15" fmla="*/ 77888 h 87325"/>
                  <a:gd name="connsiteX16" fmla="*/ 58047 w 109098"/>
                  <a:gd name="connsiteY16" fmla="*/ 21229 h 87325"/>
                  <a:gd name="connsiteX17" fmla="*/ 33070 w 109098"/>
                  <a:gd name="connsiteY17" fmla="*/ 1416 h 87325"/>
                  <a:gd name="connsiteX18" fmla="*/ 23850 w 109098"/>
                  <a:gd name="connsiteY18" fmla="*/ -92 h 87325"/>
                  <a:gd name="connsiteX19" fmla="*/ 1043 w 109098"/>
                  <a:gd name="connsiteY19" fmla="*/ 14051 h 87325"/>
                  <a:gd name="connsiteX20" fmla="*/ 11104 w 109098"/>
                  <a:gd name="connsiteY20" fmla="*/ 41502 h 8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098" h="87325">
                    <a:moveTo>
                      <a:pt x="11742" y="17827"/>
                    </a:moveTo>
                    <a:cubicBezTo>
                      <a:pt x="13399" y="13241"/>
                      <a:pt x="19005" y="11186"/>
                      <a:pt x="23848" y="11186"/>
                    </a:cubicBezTo>
                    <a:cubicBezTo>
                      <a:pt x="25754" y="11186"/>
                      <a:pt x="27661" y="11496"/>
                      <a:pt x="29342" y="12083"/>
                    </a:cubicBezTo>
                    <a:cubicBezTo>
                      <a:pt x="37434" y="14874"/>
                      <a:pt x="43832" y="22176"/>
                      <a:pt x="49477" y="28631"/>
                    </a:cubicBezTo>
                    <a:lnTo>
                      <a:pt x="75369" y="58250"/>
                    </a:lnTo>
                    <a:cubicBezTo>
                      <a:pt x="63615" y="51720"/>
                      <a:pt x="51434" y="45839"/>
                      <a:pt x="38575" y="41403"/>
                    </a:cubicBezTo>
                    <a:lnTo>
                      <a:pt x="35013" y="40219"/>
                    </a:lnTo>
                    <a:cubicBezTo>
                      <a:pt x="28715" y="38126"/>
                      <a:pt x="22731" y="36132"/>
                      <a:pt x="18027" y="32556"/>
                    </a:cubicBezTo>
                    <a:cubicBezTo>
                      <a:pt x="13523" y="29104"/>
                      <a:pt x="9910" y="22961"/>
                      <a:pt x="11742" y="17827"/>
                    </a:cubicBezTo>
                    <a:close/>
                    <a:moveTo>
                      <a:pt x="11102" y="41503"/>
                    </a:moveTo>
                    <a:cubicBezTo>
                      <a:pt x="17312" y="46250"/>
                      <a:pt x="24487" y="48618"/>
                      <a:pt x="31412" y="50923"/>
                    </a:cubicBezTo>
                    <a:lnTo>
                      <a:pt x="34851" y="52082"/>
                    </a:lnTo>
                    <a:cubicBezTo>
                      <a:pt x="58096" y="60069"/>
                      <a:pt x="79548" y="73439"/>
                      <a:pt x="100309" y="86374"/>
                    </a:cubicBezTo>
                    <a:cubicBezTo>
                      <a:pt x="101238" y="86960"/>
                      <a:pt x="102279" y="87234"/>
                      <a:pt x="103321" y="87234"/>
                    </a:cubicBezTo>
                    <a:cubicBezTo>
                      <a:pt x="104939" y="87234"/>
                      <a:pt x="106533" y="86548"/>
                      <a:pt x="107636" y="85265"/>
                    </a:cubicBezTo>
                    <a:cubicBezTo>
                      <a:pt x="109468" y="83134"/>
                      <a:pt x="109454" y="80006"/>
                      <a:pt x="107611" y="77888"/>
                    </a:cubicBezTo>
                    <a:lnTo>
                      <a:pt x="58047" y="21229"/>
                    </a:lnTo>
                    <a:cubicBezTo>
                      <a:pt x="51799" y="14089"/>
                      <a:pt x="44022" y="5192"/>
                      <a:pt x="33070" y="1416"/>
                    </a:cubicBezTo>
                    <a:cubicBezTo>
                      <a:pt x="30161" y="407"/>
                      <a:pt x="27061" y="-92"/>
                      <a:pt x="23850" y="-92"/>
                    </a:cubicBezTo>
                    <a:cubicBezTo>
                      <a:pt x="13061" y="-92"/>
                      <a:pt x="4130" y="5453"/>
                      <a:pt x="1043" y="14051"/>
                    </a:cubicBezTo>
                    <a:cubicBezTo>
                      <a:pt x="-2770" y="24718"/>
                      <a:pt x="3589" y="35758"/>
                      <a:pt x="11104" y="41502"/>
                    </a:cubicBezTo>
                  </a:path>
                </a:pathLst>
              </a:custGeom>
              <a:grpFill/>
              <a:ln w="1250" cap="flat">
                <a:noFill/>
                <a:prstDash val="solid"/>
                <a:miter/>
              </a:ln>
            </p:spPr>
            <p:txBody>
              <a:bodyPr rtlCol="0" anchor="ctr"/>
              <a:lstStyle/>
              <a:p>
                <a:endParaRPr lang="en-LT"/>
              </a:p>
            </p:txBody>
          </p:sp>
          <p:sp>
            <p:nvSpPr>
              <p:cNvPr id="105" name="Freeform 104">
                <a:extLst>
                  <a:ext uri="{FF2B5EF4-FFF2-40B4-BE49-F238E27FC236}">
                    <a16:creationId xmlns:a16="http://schemas.microsoft.com/office/drawing/2014/main" id="{BF13545D-5715-4449-B14F-F0879D81F953}"/>
                  </a:ext>
                </a:extLst>
              </p:cNvPr>
              <p:cNvSpPr/>
              <p:nvPr/>
            </p:nvSpPr>
            <p:spPr>
              <a:xfrm>
                <a:off x="6405855" y="3140991"/>
                <a:ext cx="132999" cy="67590"/>
              </a:xfrm>
              <a:custGeom>
                <a:avLst/>
                <a:gdLst>
                  <a:gd name="connsiteX0" fmla="*/ 88554 w 132999"/>
                  <a:gd name="connsiteY0" fmla="*/ 11214 h 67590"/>
                  <a:gd name="connsiteX1" fmla="*/ 109804 w 132999"/>
                  <a:gd name="connsiteY1" fmla="*/ 15849 h 67590"/>
                  <a:gd name="connsiteX2" fmla="*/ 120304 w 132999"/>
                  <a:gd name="connsiteY2" fmla="*/ 25107 h 67590"/>
                  <a:gd name="connsiteX3" fmla="*/ 119703 w 132999"/>
                  <a:gd name="connsiteY3" fmla="*/ 35711 h 67590"/>
                  <a:gd name="connsiteX4" fmla="*/ 107710 w 132999"/>
                  <a:gd name="connsiteY4" fmla="*/ 40310 h 67590"/>
                  <a:gd name="connsiteX5" fmla="*/ 48524 w 132999"/>
                  <a:gd name="connsiteY5" fmla="*/ 50826 h 67590"/>
                  <a:gd name="connsiteX6" fmla="*/ 31062 w 132999"/>
                  <a:gd name="connsiteY6" fmla="*/ 52921 h 67590"/>
                  <a:gd name="connsiteX7" fmla="*/ 20750 w 132999"/>
                  <a:gd name="connsiteY7" fmla="*/ 54094 h 67590"/>
                  <a:gd name="connsiteX8" fmla="*/ 88555 w 132999"/>
                  <a:gd name="connsiteY8" fmla="*/ 11216 h 67590"/>
                  <a:gd name="connsiteX9" fmla="*/ 5595 w 132999"/>
                  <a:gd name="connsiteY9" fmla="*/ 67499 h 67590"/>
                  <a:gd name="connsiteX10" fmla="*/ 7526 w 132999"/>
                  <a:gd name="connsiteY10" fmla="*/ 67146 h 67590"/>
                  <a:gd name="connsiteX11" fmla="*/ 32352 w 132999"/>
                  <a:gd name="connsiteY11" fmla="*/ 64105 h 67590"/>
                  <a:gd name="connsiteX12" fmla="*/ 50529 w 132999"/>
                  <a:gd name="connsiteY12" fmla="*/ 61925 h 67590"/>
                  <a:gd name="connsiteX13" fmla="*/ 109715 w 132999"/>
                  <a:gd name="connsiteY13" fmla="*/ 51408 h 67590"/>
                  <a:gd name="connsiteX14" fmla="*/ 128269 w 132999"/>
                  <a:gd name="connsiteY14" fmla="*/ 43109 h 67590"/>
                  <a:gd name="connsiteX15" fmla="*/ 130488 w 132999"/>
                  <a:gd name="connsiteY15" fmla="*/ 20082 h 67590"/>
                  <a:gd name="connsiteX16" fmla="*/ 114581 w 132999"/>
                  <a:gd name="connsiteY16" fmla="*/ 5590 h 67590"/>
                  <a:gd name="connsiteX17" fmla="*/ 88551 w 132999"/>
                  <a:gd name="connsiteY17" fmla="*/ -92 h 67590"/>
                  <a:gd name="connsiteX18" fmla="*/ 9920 w 132999"/>
                  <a:gd name="connsiteY18" fmla="*/ 49041 h 67590"/>
                  <a:gd name="connsiteX19" fmla="*/ 1490 w 132999"/>
                  <a:gd name="connsiteY19" fmla="*/ 57926 h 67590"/>
                  <a:gd name="connsiteX20" fmla="*/ 1632 w 132999"/>
                  <a:gd name="connsiteY20" fmla="*/ 65900 h 67590"/>
                  <a:gd name="connsiteX21" fmla="*/ 5584 w 132999"/>
                  <a:gd name="connsiteY21" fmla="*/ 67483 h 67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999" h="67590">
                    <a:moveTo>
                      <a:pt x="88554" y="11214"/>
                    </a:moveTo>
                    <a:cubicBezTo>
                      <a:pt x="95566" y="11214"/>
                      <a:pt x="102792" y="12797"/>
                      <a:pt x="109804" y="15849"/>
                    </a:cubicBezTo>
                    <a:cubicBezTo>
                      <a:pt x="113342" y="17569"/>
                      <a:pt x="118033" y="20572"/>
                      <a:pt x="120304" y="25107"/>
                    </a:cubicBezTo>
                    <a:cubicBezTo>
                      <a:pt x="122150" y="28771"/>
                      <a:pt x="121883" y="33232"/>
                      <a:pt x="119703" y="35711"/>
                    </a:cubicBezTo>
                    <a:cubicBezTo>
                      <a:pt x="117332" y="38417"/>
                      <a:pt x="112879" y="39400"/>
                      <a:pt x="107710" y="40310"/>
                    </a:cubicBezTo>
                    <a:lnTo>
                      <a:pt x="48524" y="50826"/>
                    </a:lnTo>
                    <a:cubicBezTo>
                      <a:pt x="46643" y="51180"/>
                      <a:pt x="39229" y="51985"/>
                      <a:pt x="31062" y="52921"/>
                    </a:cubicBezTo>
                    <a:cubicBezTo>
                      <a:pt x="27085" y="53370"/>
                      <a:pt x="23660" y="53755"/>
                      <a:pt x="20750" y="54094"/>
                    </a:cubicBezTo>
                    <a:cubicBezTo>
                      <a:pt x="40194" y="33446"/>
                      <a:pt x="62173" y="11216"/>
                      <a:pt x="88555" y="11216"/>
                    </a:cubicBezTo>
                    <a:close/>
                    <a:moveTo>
                      <a:pt x="5595" y="67499"/>
                    </a:moveTo>
                    <a:cubicBezTo>
                      <a:pt x="6246" y="67499"/>
                      <a:pt x="6886" y="67393"/>
                      <a:pt x="7526" y="67146"/>
                    </a:cubicBezTo>
                    <a:cubicBezTo>
                      <a:pt x="10186" y="66623"/>
                      <a:pt x="23470" y="65115"/>
                      <a:pt x="32352" y="64105"/>
                    </a:cubicBezTo>
                    <a:cubicBezTo>
                      <a:pt x="40844" y="63144"/>
                      <a:pt x="48585" y="62261"/>
                      <a:pt x="50529" y="61925"/>
                    </a:cubicBezTo>
                    <a:lnTo>
                      <a:pt x="109715" y="51408"/>
                    </a:lnTo>
                    <a:cubicBezTo>
                      <a:pt x="115022" y="50472"/>
                      <a:pt x="123076" y="49042"/>
                      <a:pt x="128269" y="43109"/>
                    </a:cubicBezTo>
                    <a:cubicBezTo>
                      <a:pt x="133500" y="37153"/>
                      <a:pt x="134391" y="27895"/>
                      <a:pt x="130488" y="20082"/>
                    </a:cubicBezTo>
                    <a:cubicBezTo>
                      <a:pt x="127554" y="14238"/>
                      <a:pt x="122146" y="9266"/>
                      <a:pt x="114581" y="5590"/>
                    </a:cubicBezTo>
                    <a:cubicBezTo>
                      <a:pt x="105900" y="1827"/>
                      <a:pt x="97144" y="-92"/>
                      <a:pt x="88551" y="-92"/>
                    </a:cubicBezTo>
                    <a:cubicBezTo>
                      <a:pt x="56085" y="-92"/>
                      <a:pt x="31560" y="26013"/>
                      <a:pt x="9920" y="49041"/>
                    </a:cubicBezTo>
                    <a:cubicBezTo>
                      <a:pt x="7061" y="52093"/>
                      <a:pt x="4237" y="55072"/>
                      <a:pt x="1490" y="57926"/>
                    </a:cubicBezTo>
                    <a:cubicBezTo>
                      <a:pt x="-679" y="60168"/>
                      <a:pt x="-619" y="63745"/>
                      <a:pt x="1632" y="65900"/>
                    </a:cubicBezTo>
                    <a:cubicBezTo>
                      <a:pt x="2735" y="66960"/>
                      <a:pt x="4168" y="67483"/>
                      <a:pt x="5584" y="67483"/>
                    </a:cubicBezTo>
                  </a:path>
                </a:pathLst>
              </a:custGeom>
              <a:grpFill/>
              <a:ln w="1250" cap="flat">
                <a:noFill/>
                <a:prstDash val="solid"/>
                <a:miter/>
              </a:ln>
            </p:spPr>
            <p:txBody>
              <a:bodyPr rtlCol="0" anchor="ctr"/>
              <a:lstStyle/>
              <a:p>
                <a:endParaRPr lang="en-LT"/>
              </a:p>
            </p:txBody>
          </p:sp>
          <p:sp>
            <p:nvSpPr>
              <p:cNvPr id="106" name="Freeform 105">
                <a:extLst>
                  <a:ext uri="{FF2B5EF4-FFF2-40B4-BE49-F238E27FC236}">
                    <a16:creationId xmlns:a16="http://schemas.microsoft.com/office/drawing/2014/main" id="{0180EE1A-8DC2-3A4F-97BE-C92F557DE7A9}"/>
                  </a:ext>
                </a:extLst>
              </p:cNvPr>
              <p:cNvSpPr/>
              <p:nvPr/>
            </p:nvSpPr>
            <p:spPr>
              <a:xfrm>
                <a:off x="6405626" y="3324716"/>
                <a:ext cx="118720" cy="64683"/>
              </a:xfrm>
              <a:custGeom>
                <a:avLst/>
                <a:gdLst>
                  <a:gd name="connsiteX0" fmla="*/ 31051 w 118720"/>
                  <a:gd name="connsiteY0" fmla="*/ 11198 h 64683"/>
                  <a:gd name="connsiteX1" fmla="*/ 102970 w 118720"/>
                  <a:gd name="connsiteY1" fmla="*/ 30375 h 64683"/>
                  <a:gd name="connsiteX2" fmla="*/ 107235 w 118720"/>
                  <a:gd name="connsiteY2" fmla="*/ 39247 h 64683"/>
                  <a:gd name="connsiteX3" fmla="*/ 100110 w 118720"/>
                  <a:gd name="connsiteY3" fmla="*/ 48954 h 64683"/>
                  <a:gd name="connsiteX4" fmla="*/ 87101 w 118720"/>
                  <a:gd name="connsiteY4" fmla="*/ 53303 h 64683"/>
                  <a:gd name="connsiteX5" fmla="*/ 52628 w 118720"/>
                  <a:gd name="connsiteY5" fmla="*/ 36443 h 64683"/>
                  <a:gd name="connsiteX6" fmla="*/ 38967 w 118720"/>
                  <a:gd name="connsiteY6" fmla="*/ 25988 h 64683"/>
                  <a:gd name="connsiteX7" fmla="*/ 20087 w 118720"/>
                  <a:gd name="connsiteY7" fmla="*/ 11359 h 64683"/>
                  <a:gd name="connsiteX8" fmla="*/ 31051 w 118720"/>
                  <a:gd name="connsiteY8" fmla="*/ 11183 h 64683"/>
                  <a:gd name="connsiteX9" fmla="*/ 32104 w 118720"/>
                  <a:gd name="connsiteY9" fmla="*/ 34985 h 64683"/>
                  <a:gd name="connsiteX10" fmla="*/ 45577 w 118720"/>
                  <a:gd name="connsiteY10" fmla="*/ 45290 h 64683"/>
                  <a:gd name="connsiteX11" fmla="*/ 87100 w 118720"/>
                  <a:gd name="connsiteY11" fmla="*/ 64592 h 64683"/>
                  <a:gd name="connsiteX12" fmla="*/ 106820 w 118720"/>
                  <a:gd name="connsiteY12" fmla="*/ 58075 h 64683"/>
                  <a:gd name="connsiteX13" fmla="*/ 118562 w 118720"/>
                  <a:gd name="connsiteY13" fmla="*/ 40194 h 64683"/>
                  <a:gd name="connsiteX14" fmla="*/ 111085 w 118720"/>
                  <a:gd name="connsiteY14" fmla="*/ 22487 h 64683"/>
                  <a:gd name="connsiteX15" fmla="*/ 31050 w 118720"/>
                  <a:gd name="connsiteY15" fmla="*/ -92 h 64683"/>
                  <a:gd name="connsiteX16" fmla="*/ 5320 w 118720"/>
                  <a:gd name="connsiteY16" fmla="*/ 643 h 64683"/>
                  <a:gd name="connsiteX17" fmla="*/ 252 w 118720"/>
                  <a:gd name="connsiteY17" fmla="*/ 4331 h 64683"/>
                  <a:gd name="connsiteX18" fmla="*/ 1696 w 118720"/>
                  <a:gd name="connsiteY18" fmla="*/ 10412 h 64683"/>
                  <a:gd name="connsiteX19" fmla="*/ 32104 w 118720"/>
                  <a:gd name="connsiteY19" fmla="*/ 34985 h 64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720" h="64683">
                    <a:moveTo>
                      <a:pt x="31051" y="11198"/>
                    </a:moveTo>
                    <a:cubicBezTo>
                      <a:pt x="66741" y="11198"/>
                      <a:pt x="90262" y="17465"/>
                      <a:pt x="102970" y="30375"/>
                    </a:cubicBezTo>
                    <a:cubicBezTo>
                      <a:pt x="106032" y="33490"/>
                      <a:pt x="107461" y="36468"/>
                      <a:pt x="107235" y="39247"/>
                    </a:cubicBezTo>
                    <a:cubicBezTo>
                      <a:pt x="106880" y="43259"/>
                      <a:pt x="103183" y="46736"/>
                      <a:pt x="100110" y="48954"/>
                    </a:cubicBezTo>
                    <a:cubicBezTo>
                      <a:pt x="96083" y="51882"/>
                      <a:pt x="91818" y="53303"/>
                      <a:pt x="87101" y="53303"/>
                    </a:cubicBezTo>
                    <a:cubicBezTo>
                      <a:pt x="75622" y="53303"/>
                      <a:pt x="63241" y="44779"/>
                      <a:pt x="52628" y="36443"/>
                    </a:cubicBezTo>
                    <a:cubicBezTo>
                      <a:pt x="48149" y="32928"/>
                      <a:pt x="43570" y="29465"/>
                      <a:pt x="38967" y="25988"/>
                    </a:cubicBezTo>
                    <a:cubicBezTo>
                      <a:pt x="32669" y="21241"/>
                      <a:pt x="26234" y="16394"/>
                      <a:pt x="20087" y="11359"/>
                    </a:cubicBezTo>
                    <a:cubicBezTo>
                      <a:pt x="23625" y="11253"/>
                      <a:pt x="27300" y="11183"/>
                      <a:pt x="31051" y="11183"/>
                    </a:cubicBezTo>
                    <a:close/>
                    <a:moveTo>
                      <a:pt x="32104" y="34985"/>
                    </a:moveTo>
                    <a:cubicBezTo>
                      <a:pt x="36645" y="38401"/>
                      <a:pt x="41161" y="41826"/>
                      <a:pt x="45577" y="45290"/>
                    </a:cubicBezTo>
                    <a:cubicBezTo>
                      <a:pt x="58322" y="55309"/>
                      <a:pt x="72184" y="64592"/>
                      <a:pt x="87100" y="64592"/>
                    </a:cubicBezTo>
                    <a:cubicBezTo>
                      <a:pt x="94213" y="64592"/>
                      <a:pt x="100849" y="62388"/>
                      <a:pt x="106820" y="58075"/>
                    </a:cubicBezTo>
                    <a:cubicBezTo>
                      <a:pt x="115827" y="51545"/>
                      <a:pt x="118173" y="44742"/>
                      <a:pt x="118562" y="40194"/>
                    </a:cubicBezTo>
                    <a:cubicBezTo>
                      <a:pt x="118918" y="35932"/>
                      <a:pt x="117897" y="29415"/>
                      <a:pt x="111085" y="22487"/>
                    </a:cubicBezTo>
                    <a:cubicBezTo>
                      <a:pt x="91177" y="2251"/>
                      <a:pt x="55876" y="-92"/>
                      <a:pt x="31050" y="-92"/>
                    </a:cubicBezTo>
                    <a:cubicBezTo>
                      <a:pt x="21754" y="-92"/>
                      <a:pt x="12948" y="283"/>
                      <a:pt x="5320" y="643"/>
                    </a:cubicBezTo>
                    <a:cubicBezTo>
                      <a:pt x="3037" y="749"/>
                      <a:pt x="1043" y="2200"/>
                      <a:pt x="252" y="4331"/>
                    </a:cubicBezTo>
                    <a:cubicBezTo>
                      <a:pt x="-537" y="6461"/>
                      <a:pt x="39" y="8855"/>
                      <a:pt x="1696" y="10412"/>
                    </a:cubicBezTo>
                    <a:cubicBezTo>
                      <a:pt x="11205" y="19234"/>
                      <a:pt x="21830" y="27247"/>
                      <a:pt x="32104" y="34985"/>
                    </a:cubicBezTo>
                  </a:path>
                </a:pathLst>
              </a:custGeom>
              <a:grpFill/>
              <a:ln w="1250" cap="flat">
                <a:noFill/>
                <a:prstDash val="solid"/>
                <a:miter/>
              </a:ln>
            </p:spPr>
            <p:txBody>
              <a:bodyPr rtlCol="0" anchor="ctr"/>
              <a:lstStyle/>
              <a:p>
                <a:endParaRPr lang="en-LT"/>
              </a:p>
            </p:txBody>
          </p:sp>
          <p:sp>
            <p:nvSpPr>
              <p:cNvPr id="107" name="Freeform 106">
                <a:extLst>
                  <a:ext uri="{FF2B5EF4-FFF2-40B4-BE49-F238E27FC236}">
                    <a16:creationId xmlns:a16="http://schemas.microsoft.com/office/drawing/2014/main" id="{AFE438EC-0493-C74D-BD8F-413F0BE5A4FA}"/>
                  </a:ext>
                </a:extLst>
              </p:cNvPr>
              <p:cNvSpPr/>
              <p:nvPr/>
            </p:nvSpPr>
            <p:spPr>
              <a:xfrm>
                <a:off x="6204379" y="3152558"/>
                <a:ext cx="67985" cy="26103"/>
              </a:xfrm>
              <a:custGeom>
                <a:avLst/>
                <a:gdLst>
                  <a:gd name="connsiteX0" fmla="*/ 5576 w 67985"/>
                  <a:gd name="connsiteY0" fmla="*/ 26002 h 26103"/>
                  <a:gd name="connsiteX1" fmla="*/ 7031 w 67985"/>
                  <a:gd name="connsiteY1" fmla="*/ 25825 h 26103"/>
                  <a:gd name="connsiteX2" fmla="*/ 63658 w 67985"/>
                  <a:gd name="connsiteY2" fmla="*/ 10996 h 26103"/>
                  <a:gd name="connsiteX3" fmla="*/ 67697 w 67985"/>
                  <a:gd name="connsiteY3" fmla="*/ 4106 h 26103"/>
                  <a:gd name="connsiteX4" fmla="*/ 60760 w 67985"/>
                  <a:gd name="connsiteY4" fmla="*/ 93 h 26103"/>
                  <a:gd name="connsiteX5" fmla="*/ 4121 w 67985"/>
                  <a:gd name="connsiteY5" fmla="*/ 14909 h 26103"/>
                  <a:gd name="connsiteX6" fmla="*/ 93 w 67985"/>
                  <a:gd name="connsiteY6" fmla="*/ 21812 h 26103"/>
                  <a:gd name="connsiteX7" fmla="*/ 5576 w 67985"/>
                  <a:gd name="connsiteY7" fmla="*/ 26012 h 26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85" h="26103">
                    <a:moveTo>
                      <a:pt x="5576" y="26002"/>
                    </a:moveTo>
                    <a:cubicBezTo>
                      <a:pt x="6053" y="26002"/>
                      <a:pt x="6544" y="25931"/>
                      <a:pt x="7031" y="25825"/>
                    </a:cubicBezTo>
                    <a:lnTo>
                      <a:pt x="63658" y="10996"/>
                    </a:lnTo>
                    <a:cubicBezTo>
                      <a:pt x="66695" y="10212"/>
                      <a:pt x="68500" y="7121"/>
                      <a:pt x="67697" y="4106"/>
                    </a:cubicBezTo>
                    <a:cubicBezTo>
                      <a:pt x="66919" y="1089"/>
                      <a:pt x="63846" y="-692"/>
                      <a:pt x="60760" y="93"/>
                    </a:cubicBezTo>
                    <a:lnTo>
                      <a:pt x="4121" y="14909"/>
                    </a:lnTo>
                    <a:cubicBezTo>
                      <a:pt x="1098" y="15708"/>
                      <a:pt x="-709" y="18797"/>
                      <a:pt x="93" y="21812"/>
                    </a:cubicBezTo>
                    <a:cubicBezTo>
                      <a:pt x="759" y="24341"/>
                      <a:pt x="3066" y="26012"/>
                      <a:pt x="5576" y="26012"/>
                    </a:cubicBezTo>
                  </a:path>
                </a:pathLst>
              </a:custGeom>
              <a:grpFill/>
              <a:ln w="1250" cap="flat">
                <a:noFill/>
                <a:prstDash val="solid"/>
                <a:miter/>
              </a:ln>
            </p:spPr>
            <p:txBody>
              <a:bodyPr rtlCol="0" anchor="ctr"/>
              <a:lstStyle/>
              <a:p>
                <a:endParaRPr lang="en-LT"/>
              </a:p>
            </p:txBody>
          </p:sp>
          <p:sp>
            <p:nvSpPr>
              <p:cNvPr id="108" name="Freeform 107">
                <a:extLst>
                  <a:ext uri="{FF2B5EF4-FFF2-40B4-BE49-F238E27FC236}">
                    <a16:creationId xmlns:a16="http://schemas.microsoft.com/office/drawing/2014/main" id="{AD36D2FD-D66F-154F-9D69-36219AE04EB8}"/>
                  </a:ext>
                </a:extLst>
              </p:cNvPr>
              <p:cNvSpPr/>
              <p:nvPr/>
            </p:nvSpPr>
            <p:spPr>
              <a:xfrm>
                <a:off x="6215395" y="3174516"/>
                <a:ext cx="65344" cy="31037"/>
              </a:xfrm>
              <a:custGeom>
                <a:avLst/>
                <a:gdLst>
                  <a:gd name="connsiteX0" fmla="*/ 5035 w 65344"/>
                  <a:gd name="connsiteY0" fmla="*/ 19694 h 31037"/>
                  <a:gd name="connsiteX1" fmla="*/ -71 w 65344"/>
                  <a:gd name="connsiteY1" fmla="*/ 25837 h 31037"/>
                  <a:gd name="connsiteX2" fmla="*/ 5575 w 65344"/>
                  <a:gd name="connsiteY2" fmla="*/ 30946 h 31037"/>
                  <a:gd name="connsiteX3" fmla="*/ 6126 w 65344"/>
                  <a:gd name="connsiteY3" fmla="*/ 30920 h 31037"/>
                  <a:gd name="connsiteX4" fmla="*/ 62828 w 65344"/>
                  <a:gd name="connsiteY4" fmla="*/ 10173 h 31037"/>
                  <a:gd name="connsiteX5" fmla="*/ 64208 w 65344"/>
                  <a:gd name="connsiteY5" fmla="*/ 2310 h 31037"/>
                  <a:gd name="connsiteX6" fmla="*/ 56292 w 65344"/>
                  <a:gd name="connsiteY6" fmla="*/ 929 h 31037"/>
                  <a:gd name="connsiteX7" fmla="*/ 5034 w 65344"/>
                  <a:gd name="connsiteY7" fmla="*/ 19695 h 3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4" h="31037">
                    <a:moveTo>
                      <a:pt x="5035" y="19694"/>
                    </a:moveTo>
                    <a:cubicBezTo>
                      <a:pt x="1924" y="19976"/>
                      <a:pt x="-372" y="22735"/>
                      <a:pt x="-71" y="25837"/>
                    </a:cubicBezTo>
                    <a:cubicBezTo>
                      <a:pt x="214" y="28751"/>
                      <a:pt x="2689" y="30946"/>
                      <a:pt x="5575" y="30946"/>
                    </a:cubicBezTo>
                    <a:cubicBezTo>
                      <a:pt x="5752" y="30946"/>
                      <a:pt x="5937" y="30946"/>
                      <a:pt x="6126" y="30920"/>
                    </a:cubicBezTo>
                    <a:cubicBezTo>
                      <a:pt x="26461" y="28988"/>
                      <a:pt x="46081" y="21824"/>
                      <a:pt x="62828" y="10173"/>
                    </a:cubicBezTo>
                    <a:cubicBezTo>
                      <a:pt x="65388" y="8379"/>
                      <a:pt x="66028" y="4865"/>
                      <a:pt x="64208" y="2310"/>
                    </a:cubicBezTo>
                    <a:cubicBezTo>
                      <a:pt x="62401" y="-243"/>
                      <a:pt x="58864" y="-854"/>
                      <a:pt x="56292" y="929"/>
                    </a:cubicBezTo>
                    <a:cubicBezTo>
                      <a:pt x="41163" y="11458"/>
                      <a:pt x="23437" y="17938"/>
                      <a:pt x="5034" y="19695"/>
                    </a:cubicBezTo>
                  </a:path>
                </a:pathLst>
              </a:custGeom>
              <a:grpFill/>
              <a:ln w="1250" cap="flat">
                <a:noFill/>
                <a:prstDash val="solid"/>
                <a:miter/>
              </a:ln>
            </p:spPr>
            <p:txBody>
              <a:bodyPr rtlCol="0" anchor="ctr"/>
              <a:lstStyle/>
              <a:p>
                <a:endParaRPr lang="en-LT"/>
              </a:p>
            </p:txBody>
          </p:sp>
          <p:sp>
            <p:nvSpPr>
              <p:cNvPr id="109" name="Freeform 108">
                <a:extLst>
                  <a:ext uri="{FF2B5EF4-FFF2-40B4-BE49-F238E27FC236}">
                    <a16:creationId xmlns:a16="http://schemas.microsoft.com/office/drawing/2014/main" id="{D2CE3A8E-24A5-444A-A93D-1D3349CF754A}"/>
                  </a:ext>
                </a:extLst>
              </p:cNvPr>
              <p:cNvSpPr/>
              <p:nvPr/>
            </p:nvSpPr>
            <p:spPr>
              <a:xfrm>
                <a:off x="6223929" y="3199835"/>
                <a:ext cx="88031" cy="34104"/>
              </a:xfrm>
              <a:custGeom>
                <a:avLst/>
                <a:gdLst>
                  <a:gd name="connsiteX0" fmla="*/ -87 w 88031"/>
                  <a:gd name="connsiteY0" fmla="*/ 28730 h 34104"/>
                  <a:gd name="connsiteX1" fmla="*/ 5571 w 88031"/>
                  <a:gd name="connsiteY1" fmla="*/ 34013 h 34104"/>
                  <a:gd name="connsiteX2" fmla="*/ 5948 w 88031"/>
                  <a:gd name="connsiteY2" fmla="*/ 34001 h 34104"/>
                  <a:gd name="connsiteX3" fmla="*/ 85055 w 88031"/>
                  <a:gd name="connsiteY3" fmla="*/ 10462 h 34104"/>
                  <a:gd name="connsiteX4" fmla="*/ 87188 w 88031"/>
                  <a:gd name="connsiteY4" fmla="*/ 2774 h 34104"/>
                  <a:gd name="connsiteX5" fmla="*/ 79449 w 88031"/>
                  <a:gd name="connsiteY5" fmla="*/ 655 h 34104"/>
                  <a:gd name="connsiteX6" fmla="*/ 5221 w 88031"/>
                  <a:gd name="connsiteY6" fmla="*/ 22735 h 34104"/>
                  <a:gd name="connsiteX7" fmla="*/ -85 w 88031"/>
                  <a:gd name="connsiteY7" fmla="*/ 28729 h 3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31" h="34104">
                    <a:moveTo>
                      <a:pt x="-87" y="28730"/>
                    </a:moveTo>
                    <a:cubicBezTo>
                      <a:pt x="126" y="31721"/>
                      <a:pt x="2612" y="34013"/>
                      <a:pt x="5571" y="34013"/>
                    </a:cubicBezTo>
                    <a:cubicBezTo>
                      <a:pt x="5713" y="34013"/>
                      <a:pt x="5820" y="34001"/>
                      <a:pt x="5948" y="34001"/>
                    </a:cubicBezTo>
                    <a:cubicBezTo>
                      <a:pt x="33609" y="32220"/>
                      <a:pt x="60969" y="24082"/>
                      <a:pt x="85055" y="10462"/>
                    </a:cubicBezTo>
                    <a:cubicBezTo>
                      <a:pt x="87789" y="8929"/>
                      <a:pt x="88743" y="5478"/>
                      <a:pt x="87188" y="2774"/>
                    </a:cubicBezTo>
                    <a:cubicBezTo>
                      <a:pt x="85634" y="58"/>
                      <a:pt x="82146" y="-902"/>
                      <a:pt x="79449" y="655"/>
                    </a:cubicBezTo>
                    <a:cubicBezTo>
                      <a:pt x="56843" y="13427"/>
                      <a:pt x="31176" y="21065"/>
                      <a:pt x="5221" y="22735"/>
                    </a:cubicBezTo>
                    <a:cubicBezTo>
                      <a:pt x="2099" y="22947"/>
                      <a:pt x="-286" y="25624"/>
                      <a:pt x="-85" y="28729"/>
                    </a:cubicBezTo>
                  </a:path>
                </a:pathLst>
              </a:custGeom>
              <a:grpFill/>
              <a:ln w="1250" cap="flat">
                <a:noFill/>
                <a:prstDash val="solid"/>
                <a:miter/>
              </a:ln>
            </p:spPr>
            <p:txBody>
              <a:bodyPr rtlCol="0" anchor="ctr"/>
              <a:lstStyle/>
              <a:p>
                <a:endParaRPr lang="en-LT"/>
              </a:p>
            </p:txBody>
          </p:sp>
          <p:sp>
            <p:nvSpPr>
              <p:cNvPr id="110" name="Freeform 109">
                <a:extLst>
                  <a:ext uri="{FF2B5EF4-FFF2-40B4-BE49-F238E27FC236}">
                    <a16:creationId xmlns:a16="http://schemas.microsoft.com/office/drawing/2014/main" id="{BEC44A87-7AB3-4E49-9762-C692E7239079}"/>
                  </a:ext>
                </a:extLst>
              </p:cNvPr>
              <p:cNvSpPr/>
              <p:nvPr/>
            </p:nvSpPr>
            <p:spPr>
              <a:xfrm>
                <a:off x="6240963" y="3245064"/>
                <a:ext cx="65348" cy="25397"/>
              </a:xfrm>
              <a:custGeom>
                <a:avLst/>
                <a:gdLst>
                  <a:gd name="connsiteX0" fmla="*/ 64534 w 65348"/>
                  <a:gd name="connsiteY0" fmla="*/ 2789 h 25397"/>
                  <a:gd name="connsiteX1" fmla="*/ 56794 w 65348"/>
                  <a:gd name="connsiteY1" fmla="*/ 621 h 25397"/>
                  <a:gd name="connsiteX2" fmla="*/ 5548 w 65348"/>
                  <a:gd name="connsiteY2" fmla="*/ 14016 h 25397"/>
                  <a:gd name="connsiteX3" fmla="*/ -97 w 65348"/>
                  <a:gd name="connsiteY3" fmla="*/ 19698 h 25397"/>
                  <a:gd name="connsiteX4" fmla="*/ 5586 w 65348"/>
                  <a:gd name="connsiteY4" fmla="*/ 25306 h 25397"/>
                  <a:gd name="connsiteX5" fmla="*/ 5611 w 65348"/>
                  <a:gd name="connsiteY5" fmla="*/ 25306 h 25397"/>
                  <a:gd name="connsiteX6" fmla="*/ 62326 w 65348"/>
                  <a:gd name="connsiteY6" fmla="*/ 10477 h 25397"/>
                  <a:gd name="connsiteX7" fmla="*/ 64535 w 65348"/>
                  <a:gd name="connsiteY7" fmla="*/ 2789 h 2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8" h="25397">
                    <a:moveTo>
                      <a:pt x="64534" y="2789"/>
                    </a:moveTo>
                    <a:cubicBezTo>
                      <a:pt x="63005" y="73"/>
                      <a:pt x="59529" y="-887"/>
                      <a:pt x="56794" y="621"/>
                    </a:cubicBezTo>
                    <a:cubicBezTo>
                      <a:pt x="41163" y="9281"/>
                      <a:pt x="23450" y="13904"/>
                      <a:pt x="5548" y="14016"/>
                    </a:cubicBezTo>
                    <a:cubicBezTo>
                      <a:pt x="2412" y="14028"/>
                      <a:pt x="-122" y="16584"/>
                      <a:pt x="-97" y="19698"/>
                    </a:cubicBezTo>
                    <a:cubicBezTo>
                      <a:pt x="-71" y="22800"/>
                      <a:pt x="2463" y="25306"/>
                      <a:pt x="5586" y="25306"/>
                    </a:cubicBezTo>
                    <a:cubicBezTo>
                      <a:pt x="5598" y="25306"/>
                      <a:pt x="5598" y="25306"/>
                      <a:pt x="5611" y="25306"/>
                    </a:cubicBezTo>
                    <a:cubicBezTo>
                      <a:pt x="25419" y="25164"/>
                      <a:pt x="45040" y="20047"/>
                      <a:pt x="62326" y="10477"/>
                    </a:cubicBezTo>
                    <a:cubicBezTo>
                      <a:pt x="65061" y="8958"/>
                      <a:pt x="66064" y="5518"/>
                      <a:pt x="64535" y="2789"/>
                    </a:cubicBezTo>
                  </a:path>
                </a:pathLst>
              </a:custGeom>
              <a:grpFill/>
              <a:ln w="1250" cap="flat">
                <a:noFill/>
                <a:prstDash val="solid"/>
                <a:miter/>
              </a:ln>
            </p:spPr>
            <p:txBody>
              <a:bodyPr rtlCol="0" anchor="ctr"/>
              <a:lstStyle/>
              <a:p>
                <a:endParaRPr lang="en-LT"/>
              </a:p>
            </p:txBody>
          </p:sp>
          <p:sp>
            <p:nvSpPr>
              <p:cNvPr id="111" name="Freeform 110">
                <a:extLst>
                  <a:ext uri="{FF2B5EF4-FFF2-40B4-BE49-F238E27FC236}">
                    <a16:creationId xmlns:a16="http://schemas.microsoft.com/office/drawing/2014/main" id="{C3C7DC25-5855-7749-BED7-41AF34364802}"/>
                  </a:ext>
                </a:extLst>
              </p:cNvPr>
              <p:cNvSpPr/>
              <p:nvPr/>
            </p:nvSpPr>
            <p:spPr>
              <a:xfrm>
                <a:off x="6269374" y="3270448"/>
                <a:ext cx="45447" cy="22615"/>
              </a:xfrm>
              <a:custGeom>
                <a:avLst/>
                <a:gdLst>
                  <a:gd name="connsiteX0" fmla="*/ 36110 w 45447"/>
                  <a:gd name="connsiteY0" fmla="*/ 1168 h 22615"/>
                  <a:gd name="connsiteX1" fmla="*/ 5802 w 45447"/>
                  <a:gd name="connsiteY1" fmla="*/ 11211 h 22615"/>
                  <a:gd name="connsiteX2" fmla="*/ -94 w 45447"/>
                  <a:gd name="connsiteY2" fmla="*/ 16632 h 22615"/>
                  <a:gd name="connsiteX3" fmla="*/ 5363 w 45447"/>
                  <a:gd name="connsiteY3" fmla="*/ 22488 h 22615"/>
                  <a:gd name="connsiteX4" fmla="*/ 7407 w 45447"/>
                  <a:gd name="connsiteY4" fmla="*/ 22524 h 22615"/>
                  <a:gd name="connsiteX5" fmla="*/ 43248 w 45447"/>
                  <a:gd name="connsiteY5" fmla="*/ 9950 h 22615"/>
                  <a:gd name="connsiteX6" fmla="*/ 44087 w 45447"/>
                  <a:gd name="connsiteY6" fmla="*/ 2001 h 22615"/>
                  <a:gd name="connsiteX7" fmla="*/ 36109 w 45447"/>
                  <a:gd name="connsiteY7" fmla="*/ 1167 h 2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47" h="22615">
                    <a:moveTo>
                      <a:pt x="36110" y="1168"/>
                    </a:moveTo>
                    <a:cubicBezTo>
                      <a:pt x="27680" y="7946"/>
                      <a:pt x="16641" y="11548"/>
                      <a:pt x="5802" y="11211"/>
                    </a:cubicBezTo>
                    <a:cubicBezTo>
                      <a:pt x="2765" y="10929"/>
                      <a:pt x="44" y="13517"/>
                      <a:pt x="-94" y="16632"/>
                    </a:cubicBezTo>
                    <a:cubicBezTo>
                      <a:pt x="-201" y="19747"/>
                      <a:pt x="2228" y="22376"/>
                      <a:pt x="5363" y="22488"/>
                    </a:cubicBezTo>
                    <a:cubicBezTo>
                      <a:pt x="6053" y="22513"/>
                      <a:pt x="6728" y="22524"/>
                      <a:pt x="7407" y="22524"/>
                    </a:cubicBezTo>
                    <a:cubicBezTo>
                      <a:pt x="20291" y="22524"/>
                      <a:pt x="33250" y="18000"/>
                      <a:pt x="43248" y="9950"/>
                    </a:cubicBezTo>
                    <a:cubicBezTo>
                      <a:pt x="45680" y="7983"/>
                      <a:pt x="46057" y="4430"/>
                      <a:pt x="44087" y="2001"/>
                    </a:cubicBezTo>
                    <a:cubicBezTo>
                      <a:pt x="42117" y="-430"/>
                      <a:pt x="38492" y="-790"/>
                      <a:pt x="36109" y="1167"/>
                    </a:cubicBezTo>
                  </a:path>
                </a:pathLst>
              </a:custGeom>
              <a:grpFill/>
              <a:ln w="1250" cap="flat">
                <a:noFill/>
                <a:prstDash val="solid"/>
                <a:miter/>
              </a:ln>
            </p:spPr>
            <p:txBody>
              <a:bodyPr rtlCol="0" anchor="ctr"/>
              <a:lstStyle/>
              <a:p>
                <a:endParaRPr lang="en-LT"/>
              </a:p>
            </p:txBody>
          </p:sp>
          <p:sp>
            <p:nvSpPr>
              <p:cNvPr id="112" name="Freeform 111">
                <a:extLst>
                  <a:ext uri="{FF2B5EF4-FFF2-40B4-BE49-F238E27FC236}">
                    <a16:creationId xmlns:a16="http://schemas.microsoft.com/office/drawing/2014/main" id="{5CBD8D1D-491F-7844-8EB8-C1A6D7ECA828}"/>
                  </a:ext>
                </a:extLst>
              </p:cNvPr>
              <p:cNvSpPr/>
              <p:nvPr/>
            </p:nvSpPr>
            <p:spPr>
              <a:xfrm>
                <a:off x="5982469" y="2863849"/>
                <a:ext cx="64071" cy="123469"/>
              </a:xfrm>
              <a:custGeom>
                <a:avLst/>
                <a:gdLst>
                  <a:gd name="connsiteX0" fmla="*/ 26086 w 64071"/>
                  <a:gd name="connsiteY0" fmla="*/ 11368 h 123469"/>
                  <a:gd name="connsiteX1" fmla="*/ 47523 w 64071"/>
                  <a:gd name="connsiteY1" fmla="*/ 28654 h 123469"/>
                  <a:gd name="connsiteX2" fmla="*/ 51248 w 64071"/>
                  <a:gd name="connsiteY2" fmla="*/ 40130 h 123469"/>
                  <a:gd name="connsiteX3" fmla="*/ 49108 w 64071"/>
                  <a:gd name="connsiteY3" fmla="*/ 85096 h 123469"/>
                  <a:gd name="connsiteX4" fmla="*/ 46789 w 64071"/>
                  <a:gd name="connsiteY4" fmla="*/ 99902 h 123469"/>
                  <a:gd name="connsiteX5" fmla="*/ 18389 w 64071"/>
                  <a:gd name="connsiteY5" fmla="*/ 46330 h 123469"/>
                  <a:gd name="connsiteX6" fmla="*/ 11775 w 64071"/>
                  <a:gd name="connsiteY6" fmla="*/ 30409 h 123469"/>
                  <a:gd name="connsiteX7" fmla="*/ 6211 w 64071"/>
                  <a:gd name="connsiteY7" fmla="*/ 31554 h 123469"/>
                  <a:gd name="connsiteX8" fmla="*/ 11620 w 64071"/>
                  <a:gd name="connsiteY8" fmla="*/ 29601 h 123469"/>
                  <a:gd name="connsiteX9" fmla="*/ 14586 w 64071"/>
                  <a:gd name="connsiteY9" fmla="*/ 15629 h 123469"/>
                  <a:gd name="connsiteX10" fmla="*/ 26085 w 64071"/>
                  <a:gd name="connsiteY10" fmla="*/ 11366 h 123469"/>
                  <a:gd name="connsiteX11" fmla="*/ 434 w 64071"/>
                  <a:gd name="connsiteY11" fmla="*/ 31559 h 123469"/>
                  <a:gd name="connsiteX12" fmla="*/ 647 w 64071"/>
                  <a:gd name="connsiteY12" fmla="*/ 32698 h 123469"/>
                  <a:gd name="connsiteX13" fmla="*/ 8238 w 64071"/>
                  <a:gd name="connsiteY13" fmla="*/ 51408 h 123469"/>
                  <a:gd name="connsiteX14" fmla="*/ 37383 w 64071"/>
                  <a:gd name="connsiteY14" fmla="*/ 106277 h 123469"/>
                  <a:gd name="connsiteX15" fmla="*/ 46366 w 64071"/>
                  <a:gd name="connsiteY15" fmla="*/ 120794 h 123469"/>
                  <a:gd name="connsiteX16" fmla="*/ 52762 w 64071"/>
                  <a:gd name="connsiteY16" fmla="*/ 123143 h 123469"/>
                  <a:gd name="connsiteX17" fmla="*/ 56834 w 64071"/>
                  <a:gd name="connsiteY17" fmla="*/ 117724 h 123469"/>
                  <a:gd name="connsiteX18" fmla="*/ 60315 w 64071"/>
                  <a:gd name="connsiteY18" fmla="*/ 86977 h 123469"/>
                  <a:gd name="connsiteX19" fmla="*/ 62381 w 64071"/>
                  <a:gd name="connsiteY19" fmla="*/ 37840 h 123469"/>
                  <a:gd name="connsiteX20" fmla="*/ 57899 w 64071"/>
                  <a:gd name="connsiteY20" fmla="*/ 24026 h 123469"/>
                  <a:gd name="connsiteX21" fmla="*/ 27787 w 64071"/>
                  <a:gd name="connsiteY21" fmla="*/ 215 h 123469"/>
                  <a:gd name="connsiteX22" fmla="*/ 6073 w 64071"/>
                  <a:gd name="connsiteY22" fmla="*/ 8144 h 123469"/>
                  <a:gd name="connsiteX23" fmla="*/ 437 w 64071"/>
                  <a:gd name="connsiteY23" fmla="*/ 31560 h 12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071" h="123469">
                    <a:moveTo>
                      <a:pt x="26086" y="11368"/>
                    </a:moveTo>
                    <a:cubicBezTo>
                      <a:pt x="34820" y="12702"/>
                      <a:pt x="44225" y="21380"/>
                      <a:pt x="47523" y="28654"/>
                    </a:cubicBezTo>
                    <a:cubicBezTo>
                      <a:pt x="49187" y="32333"/>
                      <a:pt x="50403" y="36079"/>
                      <a:pt x="51248" y="40130"/>
                    </a:cubicBezTo>
                    <a:cubicBezTo>
                      <a:pt x="54257" y="54564"/>
                      <a:pt x="51753" y="69396"/>
                      <a:pt x="49108" y="85096"/>
                    </a:cubicBezTo>
                    <a:cubicBezTo>
                      <a:pt x="48283" y="89987"/>
                      <a:pt x="47454" y="94929"/>
                      <a:pt x="46789" y="99902"/>
                    </a:cubicBezTo>
                    <a:cubicBezTo>
                      <a:pt x="37860" y="84852"/>
                      <a:pt x="28606" y="67375"/>
                      <a:pt x="18389" y="46330"/>
                    </a:cubicBezTo>
                    <a:cubicBezTo>
                      <a:pt x="15824" y="41474"/>
                      <a:pt x="12925" y="35925"/>
                      <a:pt x="11775" y="30409"/>
                    </a:cubicBezTo>
                    <a:lnTo>
                      <a:pt x="6211" y="31554"/>
                    </a:lnTo>
                    <a:lnTo>
                      <a:pt x="11620" y="29601"/>
                    </a:lnTo>
                    <a:cubicBezTo>
                      <a:pt x="10646" y="24050"/>
                      <a:pt x="11727" y="18823"/>
                      <a:pt x="14586" y="15629"/>
                    </a:cubicBezTo>
                    <a:cubicBezTo>
                      <a:pt x="17736" y="12066"/>
                      <a:pt x="21510" y="10681"/>
                      <a:pt x="26085" y="11366"/>
                    </a:cubicBezTo>
                    <a:close/>
                    <a:moveTo>
                      <a:pt x="434" y="31559"/>
                    </a:moveTo>
                    <a:cubicBezTo>
                      <a:pt x="448" y="31629"/>
                      <a:pt x="647" y="32650"/>
                      <a:pt x="647" y="32698"/>
                    </a:cubicBezTo>
                    <a:cubicBezTo>
                      <a:pt x="2119" y="39763"/>
                      <a:pt x="5411" y="46022"/>
                      <a:pt x="8238" y="51408"/>
                    </a:cubicBezTo>
                    <a:cubicBezTo>
                      <a:pt x="18652" y="72846"/>
                      <a:pt x="28188" y="90811"/>
                      <a:pt x="37383" y="106277"/>
                    </a:cubicBezTo>
                    <a:cubicBezTo>
                      <a:pt x="40320" y="111208"/>
                      <a:pt x="43315" y="116052"/>
                      <a:pt x="46366" y="120794"/>
                    </a:cubicBezTo>
                    <a:cubicBezTo>
                      <a:pt x="47743" y="122902"/>
                      <a:pt x="50336" y="123859"/>
                      <a:pt x="52762" y="123143"/>
                    </a:cubicBezTo>
                    <a:cubicBezTo>
                      <a:pt x="55173" y="122431"/>
                      <a:pt x="56840" y="120215"/>
                      <a:pt x="56834" y="117724"/>
                    </a:cubicBezTo>
                    <a:cubicBezTo>
                      <a:pt x="56817" y="107751"/>
                      <a:pt x="58515" y="97654"/>
                      <a:pt x="60315" y="86977"/>
                    </a:cubicBezTo>
                    <a:cubicBezTo>
                      <a:pt x="63017" y="70935"/>
                      <a:pt x="65820" y="54337"/>
                      <a:pt x="62381" y="37840"/>
                    </a:cubicBezTo>
                    <a:cubicBezTo>
                      <a:pt x="61382" y="33045"/>
                      <a:pt x="59860" y="28395"/>
                      <a:pt x="57899" y="24026"/>
                    </a:cubicBezTo>
                    <a:cubicBezTo>
                      <a:pt x="53337" y="14008"/>
                      <a:pt x="41251" y="2242"/>
                      <a:pt x="27787" y="215"/>
                    </a:cubicBezTo>
                    <a:cubicBezTo>
                      <a:pt x="19346" y="-1065"/>
                      <a:pt x="11834" y="1678"/>
                      <a:pt x="6073" y="8144"/>
                    </a:cubicBezTo>
                    <a:cubicBezTo>
                      <a:pt x="882" y="13971"/>
                      <a:pt x="-1168" y="22512"/>
                      <a:pt x="437" y="31560"/>
                    </a:cubicBezTo>
                  </a:path>
                </a:pathLst>
              </a:custGeom>
              <a:grpFill/>
              <a:ln w="1250" cap="flat">
                <a:noFill/>
                <a:prstDash val="solid"/>
                <a:miter/>
              </a:ln>
            </p:spPr>
            <p:txBody>
              <a:bodyPr rtlCol="0" anchor="ctr"/>
              <a:lstStyle/>
              <a:p>
                <a:endParaRPr lang="en-LT"/>
              </a:p>
            </p:txBody>
          </p:sp>
          <p:sp>
            <p:nvSpPr>
              <p:cNvPr id="113" name="Freeform 112">
                <a:extLst>
                  <a:ext uri="{FF2B5EF4-FFF2-40B4-BE49-F238E27FC236}">
                    <a16:creationId xmlns:a16="http://schemas.microsoft.com/office/drawing/2014/main" id="{1D78D2FA-55A3-5F4E-AE99-8819CD26DBCD}"/>
                  </a:ext>
                </a:extLst>
              </p:cNvPr>
              <p:cNvSpPr/>
              <p:nvPr/>
            </p:nvSpPr>
            <p:spPr>
              <a:xfrm>
                <a:off x="6269488" y="2922538"/>
                <a:ext cx="91459" cy="100502"/>
              </a:xfrm>
              <a:custGeom>
                <a:avLst/>
                <a:gdLst>
                  <a:gd name="connsiteX0" fmla="*/ 19193 w 91459"/>
                  <a:gd name="connsiteY0" fmla="*/ 72828 h 100502"/>
                  <a:gd name="connsiteX1" fmla="*/ 62616 w 91459"/>
                  <a:gd name="connsiteY1" fmla="*/ 12738 h 100502"/>
                  <a:gd name="connsiteX2" fmla="*/ 72478 w 91459"/>
                  <a:gd name="connsiteY2" fmla="*/ 11902 h 100502"/>
                  <a:gd name="connsiteX3" fmla="*/ 79111 w 91459"/>
                  <a:gd name="connsiteY3" fmla="*/ 21948 h 100502"/>
                  <a:gd name="connsiteX4" fmla="*/ 78620 w 91459"/>
                  <a:gd name="connsiteY4" fmla="*/ 35573 h 100502"/>
                  <a:gd name="connsiteX5" fmla="*/ 50583 w 91459"/>
                  <a:gd name="connsiteY5" fmla="*/ 61672 h 100502"/>
                  <a:gd name="connsiteX6" fmla="*/ 35917 w 91459"/>
                  <a:gd name="connsiteY6" fmla="*/ 70685 h 100502"/>
                  <a:gd name="connsiteX7" fmla="*/ 15479 w 91459"/>
                  <a:gd name="connsiteY7" fmla="*/ 83077 h 100502"/>
                  <a:gd name="connsiteX8" fmla="*/ 19178 w 91459"/>
                  <a:gd name="connsiteY8" fmla="*/ 72823 h 100502"/>
                  <a:gd name="connsiteX9" fmla="*/ 41975 w 91459"/>
                  <a:gd name="connsiteY9" fmla="*/ 80236 h 100502"/>
                  <a:gd name="connsiteX10" fmla="*/ 56433 w 91459"/>
                  <a:gd name="connsiteY10" fmla="*/ 71346 h 100502"/>
                  <a:gd name="connsiteX11" fmla="*/ 89257 w 91459"/>
                  <a:gd name="connsiteY11" fmla="*/ 39554 h 100502"/>
                  <a:gd name="connsiteX12" fmla="*/ 90071 w 91459"/>
                  <a:gd name="connsiteY12" fmla="*/ 18926 h 100502"/>
                  <a:gd name="connsiteX13" fmla="*/ 77365 w 91459"/>
                  <a:gd name="connsiteY13" fmla="*/ 1707 h 100502"/>
                  <a:gd name="connsiteX14" fmla="*/ 58047 w 91459"/>
                  <a:gd name="connsiteY14" fmla="*/ 2414 h 100502"/>
                  <a:gd name="connsiteX15" fmla="*/ 8558 w 91459"/>
                  <a:gd name="connsiteY15" fmla="*/ 68849 h 100502"/>
                  <a:gd name="connsiteX16" fmla="*/ 179 w 91459"/>
                  <a:gd name="connsiteY16" fmla="*/ 93024 h 100502"/>
                  <a:gd name="connsiteX17" fmla="*/ 1868 w 91459"/>
                  <a:gd name="connsiteY17" fmla="*/ 99035 h 100502"/>
                  <a:gd name="connsiteX18" fmla="*/ 8106 w 91459"/>
                  <a:gd name="connsiteY18" fmla="*/ 99837 h 100502"/>
                  <a:gd name="connsiteX19" fmla="*/ 41977 w 91459"/>
                  <a:gd name="connsiteY19" fmla="*/ 80235 h 10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459" h="100502">
                    <a:moveTo>
                      <a:pt x="19193" y="72828"/>
                    </a:moveTo>
                    <a:cubicBezTo>
                      <a:pt x="31776" y="39653"/>
                      <a:pt x="45974" y="19999"/>
                      <a:pt x="62616" y="12738"/>
                    </a:cubicBezTo>
                    <a:cubicBezTo>
                      <a:pt x="66631" y="10991"/>
                      <a:pt x="69940" y="10712"/>
                      <a:pt x="72478" y="11902"/>
                    </a:cubicBezTo>
                    <a:cubicBezTo>
                      <a:pt x="76133" y="13647"/>
                      <a:pt x="78105" y="18309"/>
                      <a:pt x="79111" y="21948"/>
                    </a:cubicBezTo>
                    <a:cubicBezTo>
                      <a:pt x="80448" y="26723"/>
                      <a:pt x="80284" y="31188"/>
                      <a:pt x="78620" y="35573"/>
                    </a:cubicBezTo>
                    <a:cubicBezTo>
                      <a:pt x="74573" y="46242"/>
                      <a:pt x="62178" y="54746"/>
                      <a:pt x="50583" y="61672"/>
                    </a:cubicBezTo>
                    <a:cubicBezTo>
                      <a:pt x="45693" y="64596"/>
                      <a:pt x="40816" y="67631"/>
                      <a:pt x="35917" y="70685"/>
                    </a:cubicBezTo>
                    <a:cubicBezTo>
                      <a:pt x="29224" y="74865"/>
                      <a:pt x="22389" y="79137"/>
                      <a:pt x="15479" y="83077"/>
                    </a:cubicBezTo>
                    <a:cubicBezTo>
                      <a:pt x="16627" y="79750"/>
                      <a:pt x="17854" y="76309"/>
                      <a:pt x="19178" y="72823"/>
                    </a:cubicBezTo>
                    <a:close/>
                    <a:moveTo>
                      <a:pt x="41975" y="80236"/>
                    </a:moveTo>
                    <a:cubicBezTo>
                      <a:pt x="46794" y="77219"/>
                      <a:pt x="51613" y="74229"/>
                      <a:pt x="56433" y="71346"/>
                    </a:cubicBezTo>
                    <a:cubicBezTo>
                      <a:pt x="70365" y="63030"/>
                      <a:pt x="83998" y="53418"/>
                      <a:pt x="89257" y="39554"/>
                    </a:cubicBezTo>
                    <a:cubicBezTo>
                      <a:pt x="91764" y="32942"/>
                      <a:pt x="92027" y="25997"/>
                      <a:pt x="90071" y="18926"/>
                    </a:cubicBezTo>
                    <a:cubicBezTo>
                      <a:pt x="87095" y="8252"/>
                      <a:pt x="81512" y="3672"/>
                      <a:pt x="77365" y="1707"/>
                    </a:cubicBezTo>
                    <a:cubicBezTo>
                      <a:pt x="73476" y="-126"/>
                      <a:pt x="66976" y="-1475"/>
                      <a:pt x="58047" y="2414"/>
                    </a:cubicBezTo>
                    <a:cubicBezTo>
                      <a:pt x="31964" y="13785"/>
                      <a:pt x="17311" y="45772"/>
                      <a:pt x="8558" y="68849"/>
                    </a:cubicBezTo>
                    <a:cubicBezTo>
                      <a:pt x="5280" y="77489"/>
                      <a:pt x="2529" y="85807"/>
                      <a:pt x="179" y="93024"/>
                    </a:cubicBezTo>
                    <a:cubicBezTo>
                      <a:pt x="-525" y="95183"/>
                      <a:pt x="144" y="97549"/>
                      <a:pt x="1868" y="99035"/>
                    </a:cubicBezTo>
                    <a:cubicBezTo>
                      <a:pt x="3597" y="100520"/>
                      <a:pt x="6055" y="100828"/>
                      <a:pt x="8106" y="99837"/>
                    </a:cubicBezTo>
                    <a:cubicBezTo>
                      <a:pt x="19770" y="94108"/>
                      <a:pt x="31065" y="87057"/>
                      <a:pt x="41977" y="80235"/>
                    </a:cubicBezTo>
                  </a:path>
                </a:pathLst>
              </a:custGeom>
              <a:grpFill/>
              <a:ln w="1250" cap="flat">
                <a:noFill/>
                <a:prstDash val="solid"/>
                <a:miter/>
              </a:ln>
            </p:spPr>
            <p:txBody>
              <a:bodyPr rtlCol="0" anchor="ctr"/>
              <a:lstStyle/>
              <a:p>
                <a:endParaRPr lang="en-LT"/>
              </a:p>
            </p:txBody>
          </p:sp>
        </p:grpSp>
        <p:sp>
          <p:nvSpPr>
            <p:cNvPr id="99" name="TextBox 98">
              <a:extLst>
                <a:ext uri="{FF2B5EF4-FFF2-40B4-BE49-F238E27FC236}">
                  <a16:creationId xmlns:a16="http://schemas.microsoft.com/office/drawing/2014/main" id="{DBF831C6-CB6F-0443-8210-EB9182E6966E}"/>
                </a:ext>
              </a:extLst>
            </p:cNvPr>
            <p:cNvSpPr txBox="1"/>
            <p:nvPr/>
          </p:nvSpPr>
          <p:spPr>
            <a:xfrm>
              <a:off x="2620956" y="2633577"/>
              <a:ext cx="1252266" cy="400110"/>
            </a:xfrm>
            <a:prstGeom prst="rect">
              <a:avLst/>
            </a:prstGeom>
            <a:noFill/>
          </p:spPr>
          <p:txBody>
            <a:bodyPr wrap="none" rtlCol="0">
              <a:spAutoFit/>
            </a:bodyPr>
            <a:lstStyle/>
            <a:p>
              <a:pPr algn="ctr"/>
              <a:r>
                <a:rPr lang="en-LT" sz="2000" b="1" spc="300" dirty="0">
                  <a:solidFill>
                    <a:schemeClr val="bg1"/>
                  </a:solidFill>
                  <a:latin typeface="Montserrat" pitchFamily="2" charset="77"/>
                  <a:hlinkClick r:id="rId27" action="ppaction://hlinksldjump">
                    <a:extLst>
                      <a:ext uri="{A12FA001-AC4F-418D-AE19-62706E023703}">
                        <ahyp:hlinkClr xmlns="" xmlns:ahyp="http://schemas.microsoft.com/office/drawing/2018/hyperlinkcolor" val="tx"/>
                      </a:ext>
                    </a:extLst>
                  </a:hlinkClick>
                </a:rPr>
                <a:t>IDEA 1</a:t>
              </a:r>
              <a:endParaRPr lang="en-LT" sz="2000" b="1" spc="300" dirty="0">
                <a:solidFill>
                  <a:schemeClr val="bg1"/>
                </a:solidFill>
                <a:latin typeface="Montserrat" pitchFamily="2" charset="77"/>
              </a:endParaRPr>
            </a:p>
          </p:txBody>
        </p:sp>
        <p:sp>
          <p:nvSpPr>
            <p:cNvPr id="100" name="TextBox 99">
              <a:extLst>
                <a:ext uri="{FF2B5EF4-FFF2-40B4-BE49-F238E27FC236}">
                  <a16:creationId xmlns:a16="http://schemas.microsoft.com/office/drawing/2014/main" id="{8D36D8FF-C2E0-AE48-8156-B757195DAA22}"/>
                </a:ext>
              </a:extLst>
            </p:cNvPr>
            <p:cNvSpPr txBox="1"/>
            <p:nvPr/>
          </p:nvSpPr>
          <p:spPr>
            <a:xfrm>
              <a:off x="2630574" y="2957463"/>
              <a:ext cx="1233030" cy="523220"/>
            </a:xfrm>
            <a:prstGeom prst="rect">
              <a:avLst/>
            </a:prstGeom>
            <a:noFill/>
          </p:spPr>
          <p:txBody>
            <a:bodyPr wrap="none" rtlCol="0">
              <a:spAutoFit/>
            </a:bodyPr>
            <a:lstStyle/>
            <a:p>
              <a:pPr algn="ctr"/>
              <a:r>
                <a:rPr lang="en-LT" sz="1400">
                  <a:solidFill>
                    <a:schemeClr val="bg1"/>
                  </a:solidFill>
                  <a:latin typeface="Montserrat" pitchFamily="2" charset="77"/>
                </a:rPr>
                <a:t>Insert more</a:t>
              </a:r>
            </a:p>
            <a:p>
              <a:pPr algn="ctr"/>
              <a:r>
                <a:rPr lang="en-GB" sz="1400">
                  <a:solidFill>
                    <a:schemeClr val="bg1"/>
                  </a:solidFill>
                  <a:latin typeface="Montserrat" pitchFamily="2" charset="77"/>
                </a:rPr>
                <a:t>info</a:t>
              </a:r>
              <a:r>
                <a:rPr lang="en-LT" sz="1400">
                  <a:solidFill>
                    <a:schemeClr val="bg1"/>
                  </a:solidFill>
                  <a:latin typeface="Montserrat" pitchFamily="2" charset="77"/>
                </a:rPr>
                <a:t> here</a:t>
              </a:r>
            </a:p>
          </p:txBody>
        </p:sp>
      </p:grpSp>
      <p:grpSp>
        <p:nvGrpSpPr>
          <p:cNvPr id="114" name="Group 113">
            <a:extLst>
              <a:ext uri="{FF2B5EF4-FFF2-40B4-BE49-F238E27FC236}">
                <a16:creationId xmlns:a16="http://schemas.microsoft.com/office/drawing/2014/main" id="{0120D284-99DA-F049-BE75-21C60BC32AE8}"/>
              </a:ext>
            </a:extLst>
          </p:cNvPr>
          <p:cNvGrpSpPr/>
          <p:nvPr/>
        </p:nvGrpSpPr>
        <p:grpSpPr>
          <a:xfrm>
            <a:off x="2626121" y="3931887"/>
            <a:ext cx="1301959" cy="2028117"/>
            <a:chOff x="2596110" y="1452566"/>
            <a:chExt cx="1301959" cy="2028117"/>
          </a:xfrm>
        </p:grpSpPr>
        <p:grpSp>
          <p:nvGrpSpPr>
            <p:cNvPr id="115" name="Graphic 4">
              <a:extLst>
                <a:ext uri="{FF2B5EF4-FFF2-40B4-BE49-F238E27FC236}">
                  <a16:creationId xmlns:a16="http://schemas.microsoft.com/office/drawing/2014/main" id="{F32653A8-3F94-8745-A995-961A347308BA}"/>
                </a:ext>
              </a:extLst>
            </p:cNvPr>
            <p:cNvGrpSpPr/>
            <p:nvPr/>
          </p:nvGrpSpPr>
          <p:grpSpPr>
            <a:xfrm>
              <a:off x="2791854" y="1452566"/>
              <a:ext cx="910470" cy="1143028"/>
              <a:chOff x="5651500" y="2863849"/>
              <a:chExt cx="887355" cy="1114011"/>
            </a:xfrm>
            <a:solidFill>
              <a:schemeClr val="bg1"/>
            </a:solidFill>
          </p:grpSpPr>
          <p:sp>
            <p:nvSpPr>
              <p:cNvPr id="118" name="Freeform 117">
                <a:extLst>
                  <a:ext uri="{FF2B5EF4-FFF2-40B4-BE49-F238E27FC236}">
                    <a16:creationId xmlns:a16="http://schemas.microsoft.com/office/drawing/2014/main" id="{45790CAE-6BF6-5C45-B259-042C55FBB481}"/>
                  </a:ext>
                </a:extLst>
              </p:cNvPr>
              <p:cNvSpPr/>
              <p:nvPr/>
            </p:nvSpPr>
            <p:spPr>
              <a:xfrm>
                <a:off x="5818376" y="3028309"/>
                <a:ext cx="555527" cy="949552"/>
              </a:xfrm>
              <a:custGeom>
                <a:avLst/>
                <a:gdLst>
                  <a:gd name="connsiteX0" fmla="*/ 152752 w 555527"/>
                  <a:gd name="connsiteY0" fmla="*/ 394768 h 949552"/>
                  <a:gd name="connsiteX1" fmla="*/ 134073 w 555527"/>
                  <a:gd name="connsiteY1" fmla="*/ 390120 h 949552"/>
                  <a:gd name="connsiteX2" fmla="*/ 119257 w 555527"/>
                  <a:gd name="connsiteY2" fmla="*/ 362955 h 949552"/>
                  <a:gd name="connsiteX3" fmla="*/ 123008 w 555527"/>
                  <a:gd name="connsiteY3" fmla="*/ 353111 h 949552"/>
                  <a:gd name="connsiteX4" fmla="*/ 124061 w 555527"/>
                  <a:gd name="connsiteY4" fmla="*/ 352935 h 949552"/>
                  <a:gd name="connsiteX5" fmla="*/ 133081 w 555527"/>
                  <a:gd name="connsiteY5" fmla="*/ 358019 h 949552"/>
                  <a:gd name="connsiteX6" fmla="*/ 147746 w 555527"/>
                  <a:gd name="connsiteY6" fmla="*/ 382616 h 949552"/>
                  <a:gd name="connsiteX7" fmla="*/ 152751 w 555527"/>
                  <a:gd name="connsiteY7" fmla="*/ 394778 h 949552"/>
                  <a:gd name="connsiteX8" fmla="*/ 385106 w 555527"/>
                  <a:gd name="connsiteY8" fmla="*/ 380488 h 949552"/>
                  <a:gd name="connsiteX9" fmla="*/ 405128 w 555527"/>
                  <a:gd name="connsiteY9" fmla="*/ 352177 h 949552"/>
                  <a:gd name="connsiteX10" fmla="*/ 426291 w 555527"/>
                  <a:gd name="connsiteY10" fmla="*/ 346420 h 949552"/>
                  <a:gd name="connsiteX11" fmla="*/ 433190 w 555527"/>
                  <a:gd name="connsiteY11" fmla="*/ 351479 h 949552"/>
                  <a:gd name="connsiteX12" fmla="*/ 419015 w 555527"/>
                  <a:gd name="connsiteY12" fmla="*/ 373971 h 949552"/>
                  <a:gd name="connsiteX13" fmla="*/ 385106 w 555527"/>
                  <a:gd name="connsiteY13" fmla="*/ 380488 h 949552"/>
                  <a:gd name="connsiteX14" fmla="*/ 139693 w 555527"/>
                  <a:gd name="connsiteY14" fmla="*/ 51424 h 949552"/>
                  <a:gd name="connsiteX15" fmla="*/ 498185 w 555527"/>
                  <a:gd name="connsiteY15" fmla="*/ 104344 h 949552"/>
                  <a:gd name="connsiteX16" fmla="*/ 502375 w 555527"/>
                  <a:gd name="connsiteY16" fmla="*/ 409696 h 949552"/>
                  <a:gd name="connsiteX17" fmla="*/ 457653 w 555527"/>
                  <a:gd name="connsiteY17" fmla="*/ 470093 h 949552"/>
                  <a:gd name="connsiteX18" fmla="*/ 441482 w 555527"/>
                  <a:gd name="connsiteY18" fmla="*/ 489183 h 949552"/>
                  <a:gd name="connsiteX19" fmla="*/ 399784 w 555527"/>
                  <a:gd name="connsiteY19" fmla="*/ 587536 h 949552"/>
                  <a:gd name="connsiteX20" fmla="*/ 392595 w 555527"/>
                  <a:gd name="connsiteY20" fmla="*/ 625566 h 949552"/>
                  <a:gd name="connsiteX21" fmla="*/ 331377 w 555527"/>
                  <a:gd name="connsiteY21" fmla="*/ 772753 h 949552"/>
                  <a:gd name="connsiteX22" fmla="*/ 330172 w 555527"/>
                  <a:gd name="connsiteY22" fmla="*/ 774409 h 949552"/>
                  <a:gd name="connsiteX23" fmla="*/ 304856 w 555527"/>
                  <a:gd name="connsiteY23" fmla="*/ 780453 h 949552"/>
                  <a:gd name="connsiteX24" fmla="*/ 374981 w 555527"/>
                  <a:gd name="connsiteY24" fmla="*/ 411689 h 949552"/>
                  <a:gd name="connsiteX25" fmla="*/ 380990 w 555527"/>
                  <a:gd name="connsiteY25" fmla="*/ 391415 h 949552"/>
                  <a:gd name="connsiteX26" fmla="*/ 424094 w 555527"/>
                  <a:gd name="connsiteY26" fmla="*/ 384076 h 949552"/>
                  <a:gd name="connsiteX27" fmla="*/ 443413 w 555527"/>
                  <a:gd name="connsiteY27" fmla="*/ 346556 h 949552"/>
                  <a:gd name="connsiteX28" fmla="*/ 428761 w 555527"/>
                  <a:gd name="connsiteY28" fmla="*/ 335391 h 949552"/>
                  <a:gd name="connsiteX29" fmla="*/ 398014 w 555527"/>
                  <a:gd name="connsiteY29" fmla="*/ 343391 h 949552"/>
                  <a:gd name="connsiteX30" fmla="*/ 373526 w 555527"/>
                  <a:gd name="connsiteY30" fmla="*/ 378780 h 949552"/>
                  <a:gd name="connsiteX31" fmla="*/ 346856 w 555527"/>
                  <a:gd name="connsiteY31" fmla="*/ 365833 h 949552"/>
                  <a:gd name="connsiteX32" fmla="*/ 333320 w 555527"/>
                  <a:gd name="connsiteY32" fmla="*/ 350382 h 949552"/>
                  <a:gd name="connsiteX33" fmla="*/ 357670 w 555527"/>
                  <a:gd name="connsiteY33" fmla="*/ 305722 h 949552"/>
                  <a:gd name="connsiteX34" fmla="*/ 353154 w 555527"/>
                  <a:gd name="connsiteY34" fmla="*/ 278832 h 949552"/>
                  <a:gd name="connsiteX35" fmla="*/ 340810 w 555527"/>
                  <a:gd name="connsiteY35" fmla="*/ 271057 h 949552"/>
                  <a:gd name="connsiteX36" fmla="*/ 314102 w 555527"/>
                  <a:gd name="connsiteY36" fmla="*/ 293984 h 949552"/>
                  <a:gd name="connsiteX37" fmla="*/ 319120 w 555527"/>
                  <a:gd name="connsiteY37" fmla="*/ 347890 h 949552"/>
                  <a:gd name="connsiteX38" fmla="*/ 279930 w 555527"/>
                  <a:gd name="connsiteY38" fmla="*/ 362157 h 949552"/>
                  <a:gd name="connsiteX39" fmla="*/ 279574 w 555527"/>
                  <a:gd name="connsiteY39" fmla="*/ 362157 h 949552"/>
                  <a:gd name="connsiteX40" fmla="*/ 238804 w 555527"/>
                  <a:gd name="connsiteY40" fmla="*/ 344737 h 949552"/>
                  <a:gd name="connsiteX41" fmla="*/ 249090 w 555527"/>
                  <a:gd name="connsiteY41" fmla="*/ 318843 h 949552"/>
                  <a:gd name="connsiteX42" fmla="*/ 245051 w 555527"/>
                  <a:gd name="connsiteY42" fmla="*/ 287430 h 949552"/>
                  <a:gd name="connsiteX43" fmla="*/ 225745 w 555527"/>
                  <a:gd name="connsiteY43" fmla="*/ 281723 h 949552"/>
                  <a:gd name="connsiteX44" fmla="*/ 209072 w 555527"/>
                  <a:gd name="connsiteY44" fmla="*/ 292900 h 949552"/>
                  <a:gd name="connsiteX45" fmla="*/ 214065 w 555527"/>
                  <a:gd name="connsiteY45" fmla="*/ 327616 h 949552"/>
                  <a:gd name="connsiteX46" fmla="*/ 224954 w 555527"/>
                  <a:gd name="connsiteY46" fmla="*/ 346444 h 949552"/>
                  <a:gd name="connsiteX47" fmla="*/ 183908 w 555527"/>
                  <a:gd name="connsiteY47" fmla="*/ 387752 h 949552"/>
                  <a:gd name="connsiteX48" fmla="*/ 164702 w 555527"/>
                  <a:gd name="connsiteY48" fmla="*/ 394069 h 949552"/>
                  <a:gd name="connsiteX49" fmla="*/ 158242 w 555527"/>
                  <a:gd name="connsiteY49" fmla="*/ 378281 h 949552"/>
                  <a:gd name="connsiteX50" fmla="*/ 140767 w 555527"/>
                  <a:gd name="connsiteY50" fmla="*/ 349696 h 949552"/>
                  <a:gd name="connsiteX51" fmla="*/ 118613 w 555527"/>
                  <a:gd name="connsiteY51" fmla="*/ 342706 h 949552"/>
                  <a:gd name="connsiteX52" fmla="*/ 107887 w 555527"/>
                  <a:gd name="connsiteY52" fmla="*/ 362618 h 949552"/>
                  <a:gd name="connsiteX53" fmla="*/ 129063 w 555527"/>
                  <a:gd name="connsiteY53" fmla="*/ 400237 h 949552"/>
                  <a:gd name="connsiteX54" fmla="*/ 157288 w 555527"/>
                  <a:gd name="connsiteY54" fmla="*/ 406081 h 949552"/>
                  <a:gd name="connsiteX55" fmla="*/ 252491 w 555527"/>
                  <a:gd name="connsiteY55" fmla="*/ 779768 h 949552"/>
                  <a:gd name="connsiteX56" fmla="*/ 221957 w 555527"/>
                  <a:gd name="connsiteY56" fmla="*/ 775120 h 949552"/>
                  <a:gd name="connsiteX57" fmla="*/ 220751 w 555527"/>
                  <a:gd name="connsiteY57" fmla="*/ 772803 h 949552"/>
                  <a:gd name="connsiteX58" fmla="*/ 162632 w 555527"/>
                  <a:gd name="connsiteY58" fmla="*/ 632008 h 949552"/>
                  <a:gd name="connsiteX59" fmla="*/ 147929 w 555527"/>
                  <a:gd name="connsiteY59" fmla="*/ 567275 h 949552"/>
                  <a:gd name="connsiteX60" fmla="*/ 86974 w 555527"/>
                  <a:gd name="connsiteY60" fmla="*/ 467676 h 949552"/>
                  <a:gd name="connsiteX61" fmla="*/ 35064 w 555527"/>
                  <a:gd name="connsiteY61" fmla="*/ 391466 h 949552"/>
                  <a:gd name="connsiteX62" fmla="*/ 139687 w 555527"/>
                  <a:gd name="connsiteY62" fmla="*/ 51424 h 949552"/>
                  <a:gd name="connsiteX63" fmla="*/ 325055 w 555527"/>
                  <a:gd name="connsiteY63" fmla="*/ 297026 h 949552"/>
                  <a:gd name="connsiteX64" fmla="*/ 338051 w 555527"/>
                  <a:gd name="connsiteY64" fmla="*/ 282135 h 949552"/>
                  <a:gd name="connsiteX65" fmla="*/ 339068 w 555527"/>
                  <a:gd name="connsiteY65" fmla="*/ 282241 h 949552"/>
                  <a:gd name="connsiteX66" fmla="*/ 343885 w 555527"/>
                  <a:gd name="connsiteY66" fmla="*/ 285367 h 949552"/>
                  <a:gd name="connsiteX67" fmla="*/ 346506 w 555527"/>
                  <a:gd name="connsiteY67" fmla="*/ 303647 h 949552"/>
                  <a:gd name="connsiteX68" fmla="*/ 327915 w 555527"/>
                  <a:gd name="connsiteY68" fmla="*/ 339858 h 949552"/>
                  <a:gd name="connsiteX69" fmla="*/ 325056 w 555527"/>
                  <a:gd name="connsiteY69" fmla="*/ 297042 h 949552"/>
                  <a:gd name="connsiteX70" fmla="*/ 230831 w 555527"/>
                  <a:gd name="connsiteY70" fmla="*/ 335255 h 949552"/>
                  <a:gd name="connsiteX71" fmla="*/ 224683 w 555527"/>
                  <a:gd name="connsiteY71" fmla="*/ 323580 h 949552"/>
                  <a:gd name="connsiteX72" fmla="*/ 219239 w 555527"/>
                  <a:gd name="connsiteY72" fmla="*/ 297960 h 949552"/>
                  <a:gd name="connsiteX73" fmla="*/ 227469 w 555527"/>
                  <a:gd name="connsiteY73" fmla="*/ 292876 h 949552"/>
                  <a:gd name="connsiteX74" fmla="*/ 229688 w 555527"/>
                  <a:gd name="connsiteY74" fmla="*/ 292699 h 949552"/>
                  <a:gd name="connsiteX75" fmla="*/ 236876 w 555527"/>
                  <a:gd name="connsiteY75" fmla="*/ 295278 h 949552"/>
                  <a:gd name="connsiteX76" fmla="*/ 238181 w 555527"/>
                  <a:gd name="connsiteY76" fmla="*/ 315726 h 949552"/>
                  <a:gd name="connsiteX77" fmla="*/ 230829 w 555527"/>
                  <a:gd name="connsiteY77" fmla="*/ 335252 h 949552"/>
                  <a:gd name="connsiteX78" fmla="*/ 233078 w 555527"/>
                  <a:gd name="connsiteY78" fmla="*/ 355030 h 949552"/>
                  <a:gd name="connsiteX79" fmla="*/ 280033 w 555527"/>
                  <a:gd name="connsiteY79" fmla="*/ 373435 h 949552"/>
                  <a:gd name="connsiteX80" fmla="*/ 324642 w 555527"/>
                  <a:gd name="connsiteY80" fmla="*/ 357797 h 949552"/>
                  <a:gd name="connsiteX81" fmla="*/ 339621 w 555527"/>
                  <a:gd name="connsiteY81" fmla="*/ 374544 h 949552"/>
                  <a:gd name="connsiteX82" fmla="*/ 369640 w 555527"/>
                  <a:gd name="connsiteY82" fmla="*/ 389397 h 949552"/>
                  <a:gd name="connsiteX83" fmla="*/ 364020 w 555527"/>
                  <a:gd name="connsiteY83" fmla="*/ 408749 h 949552"/>
                  <a:gd name="connsiteX84" fmla="*/ 293456 w 555527"/>
                  <a:gd name="connsiteY84" fmla="*/ 781301 h 949552"/>
                  <a:gd name="connsiteX85" fmla="*/ 286368 w 555527"/>
                  <a:gd name="connsiteY85" fmla="*/ 781823 h 949552"/>
                  <a:gd name="connsiteX86" fmla="*/ 264152 w 555527"/>
                  <a:gd name="connsiteY86" fmla="*/ 780926 h 949552"/>
                  <a:gd name="connsiteX87" fmla="*/ 168974 w 555527"/>
                  <a:gd name="connsiteY87" fmla="*/ 404761 h 949552"/>
                  <a:gd name="connsiteX88" fmla="*/ 189071 w 555527"/>
                  <a:gd name="connsiteY88" fmla="*/ 397808 h 949552"/>
                  <a:gd name="connsiteX89" fmla="*/ 233078 w 555527"/>
                  <a:gd name="connsiteY89" fmla="*/ 355030 h 949552"/>
                  <a:gd name="connsiteX90" fmla="*/ 356932 w 555527"/>
                  <a:gd name="connsiteY90" fmla="*/ 775893 h 949552"/>
                  <a:gd name="connsiteX91" fmla="*/ 291587 w 555527"/>
                  <a:gd name="connsiteY91" fmla="*/ 799033 h 949552"/>
                  <a:gd name="connsiteX92" fmla="*/ 286193 w 555527"/>
                  <a:gd name="connsiteY92" fmla="*/ 804964 h 949552"/>
                  <a:gd name="connsiteX93" fmla="*/ 291863 w 555527"/>
                  <a:gd name="connsiteY93" fmla="*/ 810310 h 949552"/>
                  <a:gd name="connsiteX94" fmla="*/ 292147 w 555527"/>
                  <a:gd name="connsiteY94" fmla="*/ 810310 h 949552"/>
                  <a:gd name="connsiteX95" fmla="*/ 353291 w 555527"/>
                  <a:gd name="connsiteY95" fmla="*/ 791731 h 949552"/>
                  <a:gd name="connsiteX96" fmla="*/ 346818 w 555527"/>
                  <a:gd name="connsiteY96" fmla="*/ 799593 h 949552"/>
                  <a:gd name="connsiteX97" fmla="*/ 310663 w 555527"/>
                  <a:gd name="connsiteY97" fmla="*/ 812316 h 949552"/>
                  <a:gd name="connsiteX98" fmla="*/ 240036 w 555527"/>
                  <a:gd name="connsiteY98" fmla="*/ 812976 h 949552"/>
                  <a:gd name="connsiteX99" fmla="*/ 209703 w 555527"/>
                  <a:gd name="connsiteY99" fmla="*/ 801974 h 949552"/>
                  <a:gd name="connsiteX100" fmla="*/ 204510 w 555527"/>
                  <a:gd name="connsiteY100" fmla="*/ 786983 h 949552"/>
                  <a:gd name="connsiteX101" fmla="*/ 205552 w 555527"/>
                  <a:gd name="connsiteY101" fmla="*/ 783033 h 949552"/>
                  <a:gd name="connsiteX102" fmla="*/ 212275 w 555527"/>
                  <a:gd name="connsiteY102" fmla="*/ 784902 h 949552"/>
                  <a:gd name="connsiteX103" fmla="*/ 283329 w 555527"/>
                  <a:gd name="connsiteY103" fmla="*/ 793126 h 949552"/>
                  <a:gd name="connsiteX104" fmla="*/ 286540 w 555527"/>
                  <a:gd name="connsiteY104" fmla="*/ 793100 h 949552"/>
                  <a:gd name="connsiteX105" fmla="*/ 356703 w 555527"/>
                  <a:gd name="connsiteY105" fmla="*/ 774559 h 949552"/>
                  <a:gd name="connsiteX106" fmla="*/ 356916 w 555527"/>
                  <a:gd name="connsiteY106" fmla="*/ 775891 h 949552"/>
                  <a:gd name="connsiteX107" fmla="*/ 359290 w 555527"/>
                  <a:gd name="connsiteY107" fmla="*/ 802908 h 949552"/>
                  <a:gd name="connsiteX108" fmla="*/ 359667 w 555527"/>
                  <a:gd name="connsiteY108" fmla="*/ 810908 h 949552"/>
                  <a:gd name="connsiteX109" fmla="*/ 356442 w 555527"/>
                  <a:gd name="connsiteY109" fmla="*/ 812116 h 949552"/>
                  <a:gd name="connsiteX110" fmla="*/ 284096 w 555527"/>
                  <a:gd name="connsiteY110" fmla="*/ 832975 h 949552"/>
                  <a:gd name="connsiteX111" fmla="*/ 277698 w 555527"/>
                  <a:gd name="connsiteY111" fmla="*/ 837810 h 949552"/>
                  <a:gd name="connsiteX112" fmla="*/ 282566 w 555527"/>
                  <a:gd name="connsiteY112" fmla="*/ 844165 h 949552"/>
                  <a:gd name="connsiteX113" fmla="*/ 296089 w 555527"/>
                  <a:gd name="connsiteY113" fmla="*/ 845062 h 949552"/>
                  <a:gd name="connsiteX114" fmla="*/ 352729 w 555527"/>
                  <a:gd name="connsiteY114" fmla="*/ 828639 h 949552"/>
                  <a:gd name="connsiteX115" fmla="*/ 347573 w 555527"/>
                  <a:gd name="connsiteY115" fmla="*/ 834445 h 949552"/>
                  <a:gd name="connsiteX116" fmla="*/ 306689 w 555527"/>
                  <a:gd name="connsiteY116" fmla="*/ 849336 h 949552"/>
                  <a:gd name="connsiteX117" fmla="*/ 249723 w 555527"/>
                  <a:gd name="connsiteY117" fmla="*/ 846793 h 949552"/>
                  <a:gd name="connsiteX118" fmla="*/ 218826 w 555527"/>
                  <a:gd name="connsiteY118" fmla="*/ 836974 h 949552"/>
                  <a:gd name="connsiteX119" fmla="*/ 210772 w 555527"/>
                  <a:gd name="connsiteY119" fmla="*/ 816613 h 949552"/>
                  <a:gd name="connsiteX120" fmla="*/ 238734 w 555527"/>
                  <a:gd name="connsiteY120" fmla="*/ 824177 h 949552"/>
                  <a:gd name="connsiteX121" fmla="*/ 272730 w 555527"/>
                  <a:gd name="connsiteY121" fmla="*/ 826119 h 949552"/>
                  <a:gd name="connsiteX122" fmla="*/ 312172 w 555527"/>
                  <a:gd name="connsiteY122" fmla="*/ 823502 h 949552"/>
                  <a:gd name="connsiteX123" fmla="*/ 354146 w 555527"/>
                  <a:gd name="connsiteY123" fmla="*/ 808238 h 949552"/>
                  <a:gd name="connsiteX124" fmla="*/ 359290 w 555527"/>
                  <a:gd name="connsiteY124" fmla="*/ 802904 h 949552"/>
                  <a:gd name="connsiteX125" fmla="*/ 345717 w 555527"/>
                  <a:gd name="connsiteY125" fmla="*/ 866047 h 949552"/>
                  <a:gd name="connsiteX126" fmla="*/ 285590 w 555527"/>
                  <a:gd name="connsiteY126" fmla="*/ 875367 h 949552"/>
                  <a:gd name="connsiteX127" fmla="*/ 279129 w 555527"/>
                  <a:gd name="connsiteY127" fmla="*/ 880115 h 949552"/>
                  <a:gd name="connsiteX128" fmla="*/ 283909 w 555527"/>
                  <a:gd name="connsiteY128" fmla="*/ 886532 h 949552"/>
                  <a:gd name="connsiteX129" fmla="*/ 300543 w 555527"/>
                  <a:gd name="connsiteY129" fmla="*/ 887740 h 949552"/>
                  <a:gd name="connsiteX130" fmla="*/ 335769 w 555527"/>
                  <a:gd name="connsiteY130" fmla="*/ 882008 h 949552"/>
                  <a:gd name="connsiteX131" fmla="*/ 311081 w 555527"/>
                  <a:gd name="connsiteY131" fmla="*/ 895341 h 949552"/>
                  <a:gd name="connsiteX132" fmla="*/ 269884 w 555527"/>
                  <a:gd name="connsiteY132" fmla="*/ 900862 h 949552"/>
                  <a:gd name="connsiteX133" fmla="*/ 229389 w 555527"/>
                  <a:gd name="connsiteY133" fmla="*/ 886133 h 949552"/>
                  <a:gd name="connsiteX134" fmla="*/ 223355 w 555527"/>
                  <a:gd name="connsiteY134" fmla="*/ 852152 h 949552"/>
                  <a:gd name="connsiteX135" fmla="*/ 248231 w 555527"/>
                  <a:gd name="connsiteY135" fmla="*/ 857984 h 949552"/>
                  <a:gd name="connsiteX136" fmla="*/ 290808 w 555527"/>
                  <a:gd name="connsiteY136" fmla="*/ 861325 h 949552"/>
                  <a:gd name="connsiteX137" fmla="*/ 307756 w 555527"/>
                  <a:gd name="connsiteY137" fmla="*/ 860577 h 949552"/>
                  <a:gd name="connsiteX138" fmla="*/ 345127 w 555527"/>
                  <a:gd name="connsiteY138" fmla="*/ 849885 h 949552"/>
                  <a:gd name="connsiteX139" fmla="*/ 345717 w 555527"/>
                  <a:gd name="connsiteY139" fmla="*/ 866047 h 949552"/>
                  <a:gd name="connsiteX140" fmla="*/ 298636 w 555527"/>
                  <a:gd name="connsiteY140" fmla="*/ 935204 h 949552"/>
                  <a:gd name="connsiteX141" fmla="*/ 258468 w 555527"/>
                  <a:gd name="connsiteY141" fmla="*/ 929273 h 949552"/>
                  <a:gd name="connsiteX142" fmla="*/ 249059 w 555527"/>
                  <a:gd name="connsiteY142" fmla="*/ 908899 h 949552"/>
                  <a:gd name="connsiteX143" fmla="*/ 269394 w 555527"/>
                  <a:gd name="connsiteY143" fmla="*/ 912138 h 949552"/>
                  <a:gd name="connsiteX144" fmla="*/ 275027 w 555527"/>
                  <a:gd name="connsiteY144" fmla="*/ 912244 h 949552"/>
                  <a:gd name="connsiteX145" fmla="*/ 314581 w 555527"/>
                  <a:gd name="connsiteY145" fmla="*/ 906076 h 949552"/>
                  <a:gd name="connsiteX146" fmla="*/ 321782 w 555527"/>
                  <a:gd name="connsiteY146" fmla="*/ 903321 h 949552"/>
                  <a:gd name="connsiteX147" fmla="*/ 298636 w 555527"/>
                  <a:gd name="connsiteY147" fmla="*/ 935196 h 949552"/>
                  <a:gd name="connsiteX148" fmla="*/ 24683 w 555527"/>
                  <a:gd name="connsiteY148" fmla="*/ 396064 h 949552"/>
                  <a:gd name="connsiteX149" fmla="*/ 78149 w 555527"/>
                  <a:gd name="connsiteY149" fmla="*/ 474791 h 949552"/>
                  <a:gd name="connsiteX150" fmla="*/ 137009 w 555527"/>
                  <a:gd name="connsiteY150" fmla="*/ 570415 h 949552"/>
                  <a:gd name="connsiteX151" fmla="*/ 151499 w 555527"/>
                  <a:gd name="connsiteY151" fmla="*/ 634139 h 949552"/>
                  <a:gd name="connsiteX152" fmla="*/ 200047 w 555527"/>
                  <a:gd name="connsiteY152" fmla="*/ 765426 h 949552"/>
                  <a:gd name="connsiteX153" fmla="*/ 198653 w 555527"/>
                  <a:gd name="connsiteY153" fmla="*/ 767644 h 949552"/>
                  <a:gd name="connsiteX154" fmla="*/ 197899 w 555527"/>
                  <a:gd name="connsiteY154" fmla="*/ 774049 h 949552"/>
                  <a:gd name="connsiteX155" fmla="*/ 193207 w 555527"/>
                  <a:gd name="connsiteY155" fmla="*/ 785775 h 949552"/>
                  <a:gd name="connsiteX156" fmla="*/ 201436 w 555527"/>
                  <a:gd name="connsiteY156" fmla="*/ 809662 h 949552"/>
                  <a:gd name="connsiteX157" fmla="*/ 211811 w 555527"/>
                  <a:gd name="connsiteY157" fmla="*/ 845873 h 949552"/>
                  <a:gd name="connsiteX158" fmla="*/ 213379 w 555527"/>
                  <a:gd name="connsiteY158" fmla="*/ 846833 h 949552"/>
                  <a:gd name="connsiteX159" fmla="*/ 221307 w 555527"/>
                  <a:gd name="connsiteY159" fmla="*/ 894085 h 949552"/>
                  <a:gd name="connsiteX160" fmla="*/ 238143 w 555527"/>
                  <a:gd name="connsiteY160" fmla="*/ 905113 h 949552"/>
                  <a:gd name="connsiteX161" fmla="*/ 251139 w 555527"/>
                  <a:gd name="connsiteY161" fmla="*/ 937897 h 949552"/>
                  <a:gd name="connsiteX162" fmla="*/ 283718 w 555527"/>
                  <a:gd name="connsiteY162" fmla="*/ 949460 h 949552"/>
                  <a:gd name="connsiteX163" fmla="*/ 303124 w 555527"/>
                  <a:gd name="connsiteY163" fmla="*/ 945573 h 949552"/>
                  <a:gd name="connsiteX164" fmla="*/ 333282 w 555527"/>
                  <a:gd name="connsiteY164" fmla="*/ 902820 h 949552"/>
                  <a:gd name="connsiteX165" fmla="*/ 331675 w 555527"/>
                  <a:gd name="connsiteY165" fmla="*/ 898596 h 949552"/>
                  <a:gd name="connsiteX166" fmla="*/ 349978 w 555527"/>
                  <a:gd name="connsiteY166" fmla="*/ 883294 h 949552"/>
                  <a:gd name="connsiteX167" fmla="*/ 358107 w 555527"/>
                  <a:gd name="connsiteY167" fmla="*/ 862297 h 949552"/>
                  <a:gd name="connsiteX168" fmla="*/ 354732 w 555527"/>
                  <a:gd name="connsiteY168" fmla="*/ 843170 h 949552"/>
                  <a:gd name="connsiteX169" fmla="*/ 355120 w 555527"/>
                  <a:gd name="connsiteY169" fmla="*/ 842888 h 949552"/>
                  <a:gd name="connsiteX170" fmla="*/ 367978 w 555527"/>
                  <a:gd name="connsiteY170" fmla="*/ 793406 h 949552"/>
                  <a:gd name="connsiteX171" fmla="*/ 366008 w 555527"/>
                  <a:gd name="connsiteY171" fmla="*/ 791213 h 949552"/>
                  <a:gd name="connsiteX172" fmla="*/ 364579 w 555527"/>
                  <a:gd name="connsiteY172" fmla="*/ 763712 h 949552"/>
                  <a:gd name="connsiteX173" fmla="*/ 356813 w 555527"/>
                  <a:gd name="connsiteY173" fmla="*/ 761730 h 949552"/>
                  <a:gd name="connsiteX174" fmla="*/ 403781 w 555527"/>
                  <a:gd name="connsiteY174" fmla="*/ 627502 h 949552"/>
                  <a:gd name="connsiteX175" fmla="*/ 410881 w 555527"/>
                  <a:gd name="connsiteY175" fmla="*/ 589871 h 949552"/>
                  <a:gd name="connsiteX176" fmla="*/ 450285 w 555527"/>
                  <a:gd name="connsiteY176" fmla="*/ 496328 h 949552"/>
                  <a:gd name="connsiteX177" fmla="*/ 466279 w 555527"/>
                  <a:gd name="connsiteY177" fmla="*/ 477413 h 949552"/>
                  <a:gd name="connsiteX178" fmla="*/ 512381 w 555527"/>
                  <a:gd name="connsiteY178" fmla="*/ 415034 h 949552"/>
                  <a:gd name="connsiteX179" fmla="*/ 507189 w 555527"/>
                  <a:gd name="connsiteY179" fmla="*/ 97472 h 949552"/>
                  <a:gd name="connsiteX180" fmla="*/ 133781 w 555527"/>
                  <a:gd name="connsiteY180" fmla="*/ 41773 h 949552"/>
                  <a:gd name="connsiteX181" fmla="*/ 24679 w 555527"/>
                  <a:gd name="connsiteY181" fmla="*/ 396057 h 949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55527" h="949552">
                    <a:moveTo>
                      <a:pt x="152752" y="394768"/>
                    </a:moveTo>
                    <a:cubicBezTo>
                      <a:pt x="146116" y="394450"/>
                      <a:pt x="139756" y="392899"/>
                      <a:pt x="134073" y="390120"/>
                    </a:cubicBezTo>
                    <a:cubicBezTo>
                      <a:pt x="123485" y="384936"/>
                      <a:pt x="118969" y="372401"/>
                      <a:pt x="119257" y="362955"/>
                    </a:cubicBezTo>
                    <a:cubicBezTo>
                      <a:pt x="119435" y="357199"/>
                      <a:pt x="121316" y="353822"/>
                      <a:pt x="123008" y="353111"/>
                    </a:cubicBezTo>
                    <a:cubicBezTo>
                      <a:pt x="123293" y="352970"/>
                      <a:pt x="123648" y="352935"/>
                      <a:pt x="124061" y="352935"/>
                    </a:cubicBezTo>
                    <a:cubicBezTo>
                      <a:pt x="125917" y="352935"/>
                      <a:pt x="128978" y="354256"/>
                      <a:pt x="133081" y="358019"/>
                    </a:cubicBezTo>
                    <a:cubicBezTo>
                      <a:pt x="139667" y="364038"/>
                      <a:pt x="143618" y="372710"/>
                      <a:pt x="147746" y="382616"/>
                    </a:cubicBezTo>
                    <a:cubicBezTo>
                      <a:pt x="149438" y="386654"/>
                      <a:pt x="151095" y="390716"/>
                      <a:pt x="152751" y="394778"/>
                    </a:cubicBezTo>
                    <a:close/>
                    <a:moveTo>
                      <a:pt x="385106" y="380488"/>
                    </a:moveTo>
                    <a:cubicBezTo>
                      <a:pt x="389911" y="369149"/>
                      <a:pt x="396083" y="359429"/>
                      <a:pt x="405128" y="352177"/>
                    </a:cubicBezTo>
                    <a:cubicBezTo>
                      <a:pt x="411074" y="347429"/>
                      <a:pt x="419955" y="345012"/>
                      <a:pt x="426291" y="346420"/>
                    </a:cubicBezTo>
                    <a:cubicBezTo>
                      <a:pt x="429616" y="347155"/>
                      <a:pt x="431886" y="348825"/>
                      <a:pt x="433190" y="351479"/>
                    </a:cubicBezTo>
                    <a:cubicBezTo>
                      <a:pt x="437155" y="359603"/>
                      <a:pt x="427508" y="369759"/>
                      <a:pt x="419015" y="373971"/>
                    </a:cubicBezTo>
                    <a:cubicBezTo>
                      <a:pt x="408615" y="379142"/>
                      <a:pt x="396685" y="381248"/>
                      <a:pt x="385106" y="380488"/>
                    </a:cubicBezTo>
                    <a:close/>
                    <a:moveTo>
                      <a:pt x="139693" y="51424"/>
                    </a:moveTo>
                    <a:cubicBezTo>
                      <a:pt x="244354" y="-11740"/>
                      <a:pt x="413357" y="-5547"/>
                      <a:pt x="498185" y="104344"/>
                    </a:cubicBezTo>
                    <a:cubicBezTo>
                      <a:pt x="567143" y="193700"/>
                      <a:pt x="549982" y="322084"/>
                      <a:pt x="502375" y="409696"/>
                    </a:cubicBezTo>
                    <a:cubicBezTo>
                      <a:pt x="490031" y="432424"/>
                      <a:pt x="474300" y="450717"/>
                      <a:pt x="457653" y="470093"/>
                    </a:cubicBezTo>
                    <a:cubicBezTo>
                      <a:pt x="452271" y="476348"/>
                      <a:pt x="446864" y="482654"/>
                      <a:pt x="441482" y="489183"/>
                    </a:cubicBezTo>
                    <a:cubicBezTo>
                      <a:pt x="416807" y="519188"/>
                      <a:pt x="406558" y="555736"/>
                      <a:pt x="399784" y="587536"/>
                    </a:cubicBezTo>
                    <a:cubicBezTo>
                      <a:pt x="397113" y="600009"/>
                      <a:pt x="394853" y="612756"/>
                      <a:pt x="392595" y="625566"/>
                    </a:cubicBezTo>
                    <a:cubicBezTo>
                      <a:pt x="383137" y="679110"/>
                      <a:pt x="373352" y="734461"/>
                      <a:pt x="331377" y="772753"/>
                    </a:cubicBezTo>
                    <a:cubicBezTo>
                      <a:pt x="330851" y="773226"/>
                      <a:pt x="330474" y="773813"/>
                      <a:pt x="330172" y="774409"/>
                    </a:cubicBezTo>
                    <a:cubicBezTo>
                      <a:pt x="322268" y="777101"/>
                      <a:pt x="313914" y="779281"/>
                      <a:pt x="304856" y="780453"/>
                    </a:cubicBezTo>
                    <a:cubicBezTo>
                      <a:pt x="309272" y="654736"/>
                      <a:pt x="342641" y="531188"/>
                      <a:pt x="374981" y="411689"/>
                    </a:cubicBezTo>
                    <a:cubicBezTo>
                      <a:pt x="376902" y="404623"/>
                      <a:pt x="378820" y="397820"/>
                      <a:pt x="380990" y="391415"/>
                    </a:cubicBezTo>
                    <a:cubicBezTo>
                      <a:pt x="395693" y="392948"/>
                      <a:pt x="410885" y="390631"/>
                      <a:pt x="424094" y="384076"/>
                    </a:cubicBezTo>
                    <a:cubicBezTo>
                      <a:pt x="438998" y="376687"/>
                      <a:pt x="450288" y="360625"/>
                      <a:pt x="443413" y="346556"/>
                    </a:cubicBezTo>
                    <a:cubicBezTo>
                      <a:pt x="440579" y="340762"/>
                      <a:pt x="435510" y="336899"/>
                      <a:pt x="428761" y="335391"/>
                    </a:cubicBezTo>
                    <a:cubicBezTo>
                      <a:pt x="419001" y="333247"/>
                      <a:pt x="406644" y="336462"/>
                      <a:pt x="398014" y="343391"/>
                    </a:cubicBezTo>
                    <a:cubicBezTo>
                      <a:pt x="386359" y="352712"/>
                      <a:pt x="378858" y="365609"/>
                      <a:pt x="373526" y="378780"/>
                    </a:cubicBezTo>
                    <a:cubicBezTo>
                      <a:pt x="363767" y="376487"/>
                      <a:pt x="354533" y="372138"/>
                      <a:pt x="346856" y="365833"/>
                    </a:cubicBezTo>
                    <a:cubicBezTo>
                      <a:pt x="341524" y="361472"/>
                      <a:pt x="336971" y="356213"/>
                      <a:pt x="333320" y="350382"/>
                    </a:cubicBezTo>
                    <a:cubicBezTo>
                      <a:pt x="345489" y="338532"/>
                      <a:pt x="354408" y="322968"/>
                      <a:pt x="357670" y="305722"/>
                    </a:cubicBezTo>
                    <a:cubicBezTo>
                      <a:pt x="359149" y="297872"/>
                      <a:pt x="358747" y="286682"/>
                      <a:pt x="353154" y="278832"/>
                    </a:cubicBezTo>
                    <a:cubicBezTo>
                      <a:pt x="350092" y="274520"/>
                      <a:pt x="345828" y="271842"/>
                      <a:pt x="340810" y="271057"/>
                    </a:cubicBezTo>
                    <a:cubicBezTo>
                      <a:pt x="327399" y="269050"/>
                      <a:pt x="317614" y="281499"/>
                      <a:pt x="314102" y="293984"/>
                    </a:cubicBezTo>
                    <a:cubicBezTo>
                      <a:pt x="309134" y="311691"/>
                      <a:pt x="311292" y="331167"/>
                      <a:pt x="319120" y="347890"/>
                    </a:cubicBezTo>
                    <a:cubicBezTo>
                      <a:pt x="307754" y="356712"/>
                      <a:pt x="294055" y="362045"/>
                      <a:pt x="279930" y="362157"/>
                    </a:cubicBezTo>
                    <a:cubicBezTo>
                      <a:pt x="279823" y="362157"/>
                      <a:pt x="279681" y="362157"/>
                      <a:pt x="279574" y="362157"/>
                    </a:cubicBezTo>
                    <a:cubicBezTo>
                      <a:pt x="264658" y="362157"/>
                      <a:pt x="249805" y="355466"/>
                      <a:pt x="238804" y="344737"/>
                    </a:cubicBezTo>
                    <a:cubicBezTo>
                      <a:pt x="243295" y="335903"/>
                      <a:pt x="246719" y="327030"/>
                      <a:pt x="249090" y="318843"/>
                    </a:cubicBezTo>
                    <a:cubicBezTo>
                      <a:pt x="253117" y="304888"/>
                      <a:pt x="251761" y="294321"/>
                      <a:pt x="245051" y="287430"/>
                    </a:cubicBezTo>
                    <a:cubicBezTo>
                      <a:pt x="240459" y="282720"/>
                      <a:pt x="233246" y="280564"/>
                      <a:pt x="225745" y="281723"/>
                    </a:cubicBezTo>
                    <a:cubicBezTo>
                      <a:pt x="218268" y="282857"/>
                      <a:pt x="212045" y="287031"/>
                      <a:pt x="209072" y="292900"/>
                    </a:cubicBezTo>
                    <a:cubicBezTo>
                      <a:pt x="204883" y="301212"/>
                      <a:pt x="209250" y="315118"/>
                      <a:pt x="214065" y="327616"/>
                    </a:cubicBezTo>
                    <a:cubicBezTo>
                      <a:pt x="216725" y="334482"/>
                      <a:pt x="220438" y="340812"/>
                      <a:pt x="224954" y="346444"/>
                    </a:cubicBezTo>
                    <a:cubicBezTo>
                      <a:pt x="214203" y="364824"/>
                      <a:pt x="199601" y="379814"/>
                      <a:pt x="183908" y="387752"/>
                    </a:cubicBezTo>
                    <a:cubicBezTo>
                      <a:pt x="177648" y="390917"/>
                      <a:pt x="171150" y="393023"/>
                      <a:pt x="164702" y="394069"/>
                    </a:cubicBezTo>
                    <a:cubicBezTo>
                      <a:pt x="162568" y="388798"/>
                      <a:pt x="160425" y="383528"/>
                      <a:pt x="158242" y="378281"/>
                    </a:cubicBezTo>
                    <a:cubicBezTo>
                      <a:pt x="153601" y="367129"/>
                      <a:pt x="149059" y="357285"/>
                      <a:pt x="140767" y="349696"/>
                    </a:cubicBezTo>
                    <a:cubicBezTo>
                      <a:pt x="130669" y="340463"/>
                      <a:pt x="123129" y="340812"/>
                      <a:pt x="118613" y="342706"/>
                    </a:cubicBezTo>
                    <a:cubicBezTo>
                      <a:pt x="112190" y="345383"/>
                      <a:pt x="108188" y="352836"/>
                      <a:pt x="107887" y="362618"/>
                    </a:cubicBezTo>
                    <a:cubicBezTo>
                      <a:pt x="107499" y="375989"/>
                      <a:pt x="113883" y="392811"/>
                      <a:pt x="129063" y="400237"/>
                    </a:cubicBezTo>
                    <a:cubicBezTo>
                      <a:pt x="137581" y="404424"/>
                      <a:pt x="147391" y="406430"/>
                      <a:pt x="157288" y="406081"/>
                    </a:cubicBezTo>
                    <a:cubicBezTo>
                      <a:pt x="203340" y="522378"/>
                      <a:pt x="235292" y="647958"/>
                      <a:pt x="252491" y="779768"/>
                    </a:cubicBezTo>
                    <a:cubicBezTo>
                      <a:pt x="242242" y="778521"/>
                      <a:pt x="232043" y="776864"/>
                      <a:pt x="221957" y="775120"/>
                    </a:cubicBezTo>
                    <a:cubicBezTo>
                      <a:pt x="221743" y="774286"/>
                      <a:pt x="221381" y="773474"/>
                      <a:pt x="220751" y="772803"/>
                    </a:cubicBezTo>
                    <a:cubicBezTo>
                      <a:pt x="181486" y="729477"/>
                      <a:pt x="172341" y="682138"/>
                      <a:pt x="162632" y="632008"/>
                    </a:cubicBezTo>
                    <a:cubicBezTo>
                      <a:pt x="158592" y="611087"/>
                      <a:pt x="154415" y="589455"/>
                      <a:pt x="147929" y="567275"/>
                    </a:cubicBezTo>
                    <a:cubicBezTo>
                      <a:pt x="136601" y="528472"/>
                      <a:pt x="111361" y="497569"/>
                      <a:pt x="86974" y="467676"/>
                    </a:cubicBezTo>
                    <a:cubicBezTo>
                      <a:pt x="67630" y="444000"/>
                      <a:pt x="47646" y="419490"/>
                      <a:pt x="35064" y="391466"/>
                    </a:cubicBezTo>
                    <a:cubicBezTo>
                      <a:pt x="-20635" y="267257"/>
                      <a:pt x="24338" y="121067"/>
                      <a:pt x="139687" y="51424"/>
                    </a:cubicBezTo>
                    <a:close/>
                    <a:moveTo>
                      <a:pt x="325055" y="297026"/>
                    </a:moveTo>
                    <a:cubicBezTo>
                      <a:pt x="327149" y="289574"/>
                      <a:pt x="332318" y="282135"/>
                      <a:pt x="338051" y="282135"/>
                    </a:cubicBezTo>
                    <a:cubicBezTo>
                      <a:pt x="338407" y="282135"/>
                      <a:pt x="338730" y="282160"/>
                      <a:pt x="339068" y="282241"/>
                    </a:cubicBezTo>
                    <a:cubicBezTo>
                      <a:pt x="341049" y="282523"/>
                      <a:pt x="342581" y="283537"/>
                      <a:pt x="343885" y="285367"/>
                    </a:cubicBezTo>
                    <a:cubicBezTo>
                      <a:pt x="346708" y="289342"/>
                      <a:pt x="347799" y="296868"/>
                      <a:pt x="346506" y="303647"/>
                    </a:cubicBezTo>
                    <a:cubicBezTo>
                      <a:pt x="343896" y="317416"/>
                      <a:pt x="337173" y="329952"/>
                      <a:pt x="327915" y="339858"/>
                    </a:cubicBezTo>
                    <a:cubicBezTo>
                      <a:pt x="322407" y="326325"/>
                      <a:pt x="321115" y="311036"/>
                      <a:pt x="325056" y="297042"/>
                    </a:cubicBezTo>
                    <a:close/>
                    <a:moveTo>
                      <a:pt x="230831" y="335255"/>
                    </a:moveTo>
                    <a:cubicBezTo>
                      <a:pt x="228359" y="331617"/>
                      <a:pt x="226290" y="327704"/>
                      <a:pt x="224683" y="323580"/>
                    </a:cubicBezTo>
                    <a:cubicBezTo>
                      <a:pt x="217495" y="304950"/>
                      <a:pt x="218486" y="299455"/>
                      <a:pt x="219239" y="297960"/>
                    </a:cubicBezTo>
                    <a:cubicBezTo>
                      <a:pt x="220544" y="295406"/>
                      <a:pt x="223680" y="293461"/>
                      <a:pt x="227469" y="292876"/>
                    </a:cubicBezTo>
                    <a:cubicBezTo>
                      <a:pt x="228223" y="292770"/>
                      <a:pt x="228962" y="292699"/>
                      <a:pt x="229688" y="292699"/>
                    </a:cubicBezTo>
                    <a:cubicBezTo>
                      <a:pt x="232621" y="292699"/>
                      <a:pt x="235257" y="293621"/>
                      <a:pt x="236876" y="295278"/>
                    </a:cubicBezTo>
                    <a:cubicBezTo>
                      <a:pt x="241467" y="299988"/>
                      <a:pt x="240111" y="308997"/>
                      <a:pt x="238181" y="315726"/>
                    </a:cubicBezTo>
                    <a:cubicBezTo>
                      <a:pt x="236225" y="322430"/>
                      <a:pt x="233752" y="328972"/>
                      <a:pt x="230829" y="335252"/>
                    </a:cubicBezTo>
                    <a:close/>
                    <a:moveTo>
                      <a:pt x="233078" y="355030"/>
                    </a:moveTo>
                    <a:cubicBezTo>
                      <a:pt x="245962" y="366631"/>
                      <a:pt x="262483" y="373772"/>
                      <a:pt x="280033" y="373435"/>
                    </a:cubicBezTo>
                    <a:cubicBezTo>
                      <a:pt x="296040" y="373294"/>
                      <a:pt x="311621" y="367491"/>
                      <a:pt x="324642" y="357797"/>
                    </a:cubicBezTo>
                    <a:cubicBezTo>
                      <a:pt x="328757" y="364089"/>
                      <a:pt x="333800" y="369771"/>
                      <a:pt x="339621" y="374544"/>
                    </a:cubicBezTo>
                    <a:cubicBezTo>
                      <a:pt x="348314" y="381659"/>
                      <a:pt x="358676" y="386656"/>
                      <a:pt x="369640" y="389397"/>
                    </a:cubicBezTo>
                    <a:cubicBezTo>
                      <a:pt x="367421" y="396176"/>
                      <a:pt x="365626" y="402793"/>
                      <a:pt x="364020" y="408749"/>
                    </a:cubicBezTo>
                    <a:cubicBezTo>
                      <a:pt x="331404" y="529269"/>
                      <a:pt x="297734" y="653852"/>
                      <a:pt x="293456" y="781301"/>
                    </a:cubicBezTo>
                    <a:cubicBezTo>
                      <a:pt x="291073" y="781442"/>
                      <a:pt x="288802" y="781788"/>
                      <a:pt x="286368" y="781823"/>
                    </a:cubicBezTo>
                    <a:cubicBezTo>
                      <a:pt x="278967" y="781965"/>
                      <a:pt x="271553" y="781541"/>
                      <a:pt x="264152" y="780926"/>
                    </a:cubicBezTo>
                    <a:cubicBezTo>
                      <a:pt x="247053" y="648294"/>
                      <a:pt x="215101" y="521917"/>
                      <a:pt x="168974" y="404761"/>
                    </a:cubicBezTo>
                    <a:cubicBezTo>
                      <a:pt x="175761" y="403426"/>
                      <a:pt x="182535" y="401109"/>
                      <a:pt x="189071" y="397808"/>
                    </a:cubicBezTo>
                    <a:cubicBezTo>
                      <a:pt x="207926" y="388275"/>
                      <a:pt x="222578" y="372213"/>
                      <a:pt x="233078" y="355030"/>
                    </a:cubicBezTo>
                    <a:close/>
                    <a:moveTo>
                      <a:pt x="356932" y="775893"/>
                    </a:moveTo>
                    <a:cubicBezTo>
                      <a:pt x="338078" y="789612"/>
                      <a:pt x="314933" y="797837"/>
                      <a:pt x="291587" y="799033"/>
                    </a:cubicBezTo>
                    <a:cubicBezTo>
                      <a:pt x="288440" y="799209"/>
                      <a:pt x="286030" y="801848"/>
                      <a:pt x="286193" y="804964"/>
                    </a:cubicBezTo>
                    <a:cubicBezTo>
                      <a:pt x="286371" y="807980"/>
                      <a:pt x="288863" y="810310"/>
                      <a:pt x="291863" y="810310"/>
                    </a:cubicBezTo>
                    <a:cubicBezTo>
                      <a:pt x="291969" y="810310"/>
                      <a:pt x="292076" y="810310"/>
                      <a:pt x="292147" y="810310"/>
                    </a:cubicBezTo>
                    <a:cubicBezTo>
                      <a:pt x="313574" y="809215"/>
                      <a:pt x="334812" y="802659"/>
                      <a:pt x="353291" y="791731"/>
                    </a:cubicBezTo>
                    <a:cubicBezTo>
                      <a:pt x="351534" y="794747"/>
                      <a:pt x="349339" y="797488"/>
                      <a:pt x="346818" y="799593"/>
                    </a:cubicBezTo>
                    <a:cubicBezTo>
                      <a:pt x="336920" y="807868"/>
                      <a:pt x="322982" y="810671"/>
                      <a:pt x="310663" y="812316"/>
                    </a:cubicBezTo>
                    <a:cubicBezTo>
                      <a:pt x="287280" y="815442"/>
                      <a:pt x="263507" y="815668"/>
                      <a:pt x="240036" y="812976"/>
                    </a:cubicBezTo>
                    <a:cubicBezTo>
                      <a:pt x="229223" y="811719"/>
                      <a:pt x="217142" y="809451"/>
                      <a:pt x="209703" y="801974"/>
                    </a:cubicBezTo>
                    <a:cubicBezTo>
                      <a:pt x="206027" y="798285"/>
                      <a:pt x="203932" y="792267"/>
                      <a:pt x="204510" y="786983"/>
                    </a:cubicBezTo>
                    <a:cubicBezTo>
                      <a:pt x="204652" y="785786"/>
                      <a:pt x="204947" y="784390"/>
                      <a:pt x="205552" y="783033"/>
                    </a:cubicBezTo>
                    <a:cubicBezTo>
                      <a:pt x="207998" y="784079"/>
                      <a:pt x="210469" y="784580"/>
                      <a:pt x="212275" y="784902"/>
                    </a:cubicBezTo>
                    <a:cubicBezTo>
                      <a:pt x="235383" y="788952"/>
                      <a:pt x="259218" y="793126"/>
                      <a:pt x="283329" y="793126"/>
                    </a:cubicBezTo>
                    <a:cubicBezTo>
                      <a:pt x="284396" y="793126"/>
                      <a:pt x="285473" y="793126"/>
                      <a:pt x="286540" y="793100"/>
                    </a:cubicBezTo>
                    <a:cubicBezTo>
                      <a:pt x="313700" y="792677"/>
                      <a:pt x="337773" y="786160"/>
                      <a:pt x="356703" y="774559"/>
                    </a:cubicBezTo>
                    <a:cubicBezTo>
                      <a:pt x="356810" y="774993"/>
                      <a:pt x="356881" y="775442"/>
                      <a:pt x="356916" y="775891"/>
                    </a:cubicBezTo>
                    <a:close/>
                    <a:moveTo>
                      <a:pt x="359290" y="802908"/>
                    </a:moveTo>
                    <a:cubicBezTo>
                      <a:pt x="359880" y="805536"/>
                      <a:pt x="359916" y="808229"/>
                      <a:pt x="359667" y="810908"/>
                    </a:cubicBezTo>
                    <a:cubicBezTo>
                      <a:pt x="358536" y="810978"/>
                      <a:pt x="357395" y="811317"/>
                      <a:pt x="356442" y="812116"/>
                    </a:cubicBezTo>
                    <a:cubicBezTo>
                      <a:pt x="336696" y="828626"/>
                      <a:pt x="309600" y="836414"/>
                      <a:pt x="284096" y="832975"/>
                    </a:cubicBezTo>
                    <a:cubicBezTo>
                      <a:pt x="281024" y="832590"/>
                      <a:pt x="278125" y="834720"/>
                      <a:pt x="277698" y="837810"/>
                    </a:cubicBezTo>
                    <a:cubicBezTo>
                      <a:pt x="277286" y="840900"/>
                      <a:pt x="279465" y="843741"/>
                      <a:pt x="282566" y="844165"/>
                    </a:cubicBezTo>
                    <a:cubicBezTo>
                      <a:pt x="287044" y="844762"/>
                      <a:pt x="291573" y="845062"/>
                      <a:pt x="296089" y="845062"/>
                    </a:cubicBezTo>
                    <a:cubicBezTo>
                      <a:pt x="315997" y="845062"/>
                      <a:pt x="335906" y="839230"/>
                      <a:pt x="352729" y="828639"/>
                    </a:cubicBezTo>
                    <a:cubicBezTo>
                      <a:pt x="351161" y="830793"/>
                      <a:pt x="349443" y="832801"/>
                      <a:pt x="347573" y="834445"/>
                    </a:cubicBezTo>
                    <a:cubicBezTo>
                      <a:pt x="338265" y="842657"/>
                      <a:pt x="324503" y="847679"/>
                      <a:pt x="306689" y="849336"/>
                    </a:cubicBezTo>
                    <a:cubicBezTo>
                      <a:pt x="287270" y="851141"/>
                      <a:pt x="267850" y="849159"/>
                      <a:pt x="249723" y="846793"/>
                    </a:cubicBezTo>
                    <a:cubicBezTo>
                      <a:pt x="238120" y="845249"/>
                      <a:pt x="227030" y="843352"/>
                      <a:pt x="218826" y="836974"/>
                    </a:cubicBezTo>
                    <a:cubicBezTo>
                      <a:pt x="212817" y="832313"/>
                      <a:pt x="208790" y="823566"/>
                      <a:pt x="210772" y="816613"/>
                    </a:cubicBezTo>
                    <a:cubicBezTo>
                      <a:pt x="219403" y="821285"/>
                      <a:pt x="229476" y="823117"/>
                      <a:pt x="238734" y="824177"/>
                    </a:cubicBezTo>
                    <a:cubicBezTo>
                      <a:pt x="250025" y="825473"/>
                      <a:pt x="261377" y="826119"/>
                      <a:pt x="272730" y="826119"/>
                    </a:cubicBezTo>
                    <a:cubicBezTo>
                      <a:pt x="285915" y="826119"/>
                      <a:pt x="299099" y="825247"/>
                      <a:pt x="312172" y="823502"/>
                    </a:cubicBezTo>
                    <a:cubicBezTo>
                      <a:pt x="326121" y="821644"/>
                      <a:pt x="342016" y="818368"/>
                      <a:pt x="354146" y="808238"/>
                    </a:cubicBezTo>
                    <a:cubicBezTo>
                      <a:pt x="356002" y="806680"/>
                      <a:pt x="357695" y="804847"/>
                      <a:pt x="359290" y="802904"/>
                    </a:cubicBezTo>
                    <a:close/>
                    <a:moveTo>
                      <a:pt x="345717" y="866047"/>
                    </a:moveTo>
                    <a:cubicBezTo>
                      <a:pt x="327150" y="875043"/>
                      <a:pt x="306000" y="878383"/>
                      <a:pt x="285590" y="875367"/>
                    </a:cubicBezTo>
                    <a:cubicBezTo>
                      <a:pt x="282517" y="874943"/>
                      <a:pt x="279593" y="877013"/>
                      <a:pt x="279129" y="880115"/>
                    </a:cubicBezTo>
                    <a:cubicBezTo>
                      <a:pt x="278663" y="883191"/>
                      <a:pt x="280811" y="886059"/>
                      <a:pt x="283909" y="886532"/>
                    </a:cubicBezTo>
                    <a:cubicBezTo>
                      <a:pt x="289428" y="887341"/>
                      <a:pt x="294998" y="887740"/>
                      <a:pt x="300543" y="887740"/>
                    </a:cubicBezTo>
                    <a:cubicBezTo>
                      <a:pt x="312511" y="887740"/>
                      <a:pt x="324390" y="885660"/>
                      <a:pt x="335769" y="882008"/>
                    </a:cubicBezTo>
                    <a:cubicBezTo>
                      <a:pt x="329735" y="887503"/>
                      <a:pt x="321505" y="892002"/>
                      <a:pt x="311081" y="895341"/>
                    </a:cubicBezTo>
                    <a:cubicBezTo>
                      <a:pt x="297745" y="899603"/>
                      <a:pt x="283946" y="901447"/>
                      <a:pt x="269884" y="900862"/>
                    </a:cubicBezTo>
                    <a:cubicBezTo>
                      <a:pt x="257590" y="900325"/>
                      <a:pt x="240566" y="897347"/>
                      <a:pt x="229389" y="886133"/>
                    </a:cubicBezTo>
                    <a:cubicBezTo>
                      <a:pt x="220947" y="877684"/>
                      <a:pt x="217007" y="862619"/>
                      <a:pt x="223355" y="852152"/>
                    </a:cubicBezTo>
                    <a:cubicBezTo>
                      <a:pt x="231271" y="855317"/>
                      <a:pt x="239839" y="856875"/>
                      <a:pt x="248231" y="857984"/>
                    </a:cubicBezTo>
                    <a:cubicBezTo>
                      <a:pt x="261817" y="859768"/>
                      <a:pt x="276156" y="861325"/>
                      <a:pt x="290808" y="861325"/>
                    </a:cubicBezTo>
                    <a:cubicBezTo>
                      <a:pt x="296416" y="861325"/>
                      <a:pt x="302086" y="861113"/>
                      <a:pt x="307756" y="860577"/>
                    </a:cubicBezTo>
                    <a:cubicBezTo>
                      <a:pt x="322622" y="859192"/>
                      <a:pt x="335091" y="855567"/>
                      <a:pt x="345127" y="849885"/>
                    </a:cubicBezTo>
                    <a:cubicBezTo>
                      <a:pt x="347133" y="854733"/>
                      <a:pt x="347271" y="860390"/>
                      <a:pt x="345717" y="866047"/>
                    </a:cubicBezTo>
                    <a:close/>
                    <a:moveTo>
                      <a:pt x="298636" y="935204"/>
                    </a:moveTo>
                    <a:cubicBezTo>
                      <a:pt x="285502" y="940799"/>
                      <a:pt x="269394" y="938432"/>
                      <a:pt x="258468" y="929273"/>
                    </a:cubicBezTo>
                    <a:cubicBezTo>
                      <a:pt x="252647" y="924400"/>
                      <a:pt x="248093" y="916201"/>
                      <a:pt x="249059" y="908899"/>
                    </a:cubicBezTo>
                    <a:cubicBezTo>
                      <a:pt x="255344" y="910581"/>
                      <a:pt x="262006" y="911813"/>
                      <a:pt x="269394" y="912138"/>
                    </a:cubicBezTo>
                    <a:cubicBezTo>
                      <a:pt x="271265" y="912209"/>
                      <a:pt x="273158" y="912244"/>
                      <a:pt x="275027" y="912244"/>
                    </a:cubicBezTo>
                    <a:cubicBezTo>
                      <a:pt x="288450" y="912244"/>
                      <a:pt x="301722" y="910174"/>
                      <a:pt x="314581" y="906076"/>
                    </a:cubicBezTo>
                    <a:cubicBezTo>
                      <a:pt x="317141" y="905267"/>
                      <a:pt x="319423" y="904268"/>
                      <a:pt x="321782" y="903321"/>
                    </a:cubicBezTo>
                    <a:cubicBezTo>
                      <a:pt x="320526" y="917028"/>
                      <a:pt x="311395" y="929750"/>
                      <a:pt x="298636" y="935196"/>
                    </a:cubicBezTo>
                    <a:close/>
                    <a:moveTo>
                      <a:pt x="24683" y="396064"/>
                    </a:moveTo>
                    <a:cubicBezTo>
                      <a:pt x="37881" y="425446"/>
                      <a:pt x="58353" y="450530"/>
                      <a:pt x="78149" y="474791"/>
                    </a:cubicBezTo>
                    <a:cubicBezTo>
                      <a:pt x="102938" y="505145"/>
                      <a:pt x="126334" y="533805"/>
                      <a:pt x="137009" y="570415"/>
                    </a:cubicBezTo>
                    <a:cubicBezTo>
                      <a:pt x="143344" y="592097"/>
                      <a:pt x="147484" y="613467"/>
                      <a:pt x="151499" y="634139"/>
                    </a:cubicBezTo>
                    <a:cubicBezTo>
                      <a:pt x="160405" y="680269"/>
                      <a:pt x="168948" y="724093"/>
                      <a:pt x="200047" y="765426"/>
                    </a:cubicBezTo>
                    <a:cubicBezTo>
                      <a:pt x="199506" y="766086"/>
                      <a:pt x="199044" y="766821"/>
                      <a:pt x="198653" y="767644"/>
                    </a:cubicBezTo>
                    <a:cubicBezTo>
                      <a:pt x="197750" y="769661"/>
                      <a:pt x="197547" y="771906"/>
                      <a:pt x="197899" y="774049"/>
                    </a:cubicBezTo>
                    <a:cubicBezTo>
                      <a:pt x="195389" y="777302"/>
                      <a:pt x="193696" y="781251"/>
                      <a:pt x="193207" y="785775"/>
                    </a:cubicBezTo>
                    <a:cubicBezTo>
                      <a:pt x="192279" y="794410"/>
                      <a:pt x="195451" y="803519"/>
                      <a:pt x="201436" y="809662"/>
                    </a:cubicBezTo>
                    <a:cubicBezTo>
                      <a:pt x="195164" y="822222"/>
                      <a:pt x="201411" y="837786"/>
                      <a:pt x="211811" y="845873"/>
                    </a:cubicBezTo>
                    <a:cubicBezTo>
                      <a:pt x="212313" y="846258"/>
                      <a:pt x="212878" y="846470"/>
                      <a:pt x="213379" y="846833"/>
                    </a:cubicBezTo>
                    <a:cubicBezTo>
                      <a:pt x="204385" y="862198"/>
                      <a:pt x="209880" y="882634"/>
                      <a:pt x="221307" y="894085"/>
                    </a:cubicBezTo>
                    <a:cubicBezTo>
                      <a:pt x="225887" y="898670"/>
                      <a:pt x="231670" y="902222"/>
                      <a:pt x="238143" y="905113"/>
                    </a:cubicBezTo>
                    <a:cubicBezTo>
                      <a:pt x="235369" y="917200"/>
                      <a:pt x="242019" y="930259"/>
                      <a:pt x="251139" y="937897"/>
                    </a:cubicBezTo>
                    <a:cubicBezTo>
                      <a:pt x="260159" y="945461"/>
                      <a:pt x="271951" y="949460"/>
                      <a:pt x="283718" y="949460"/>
                    </a:cubicBezTo>
                    <a:cubicBezTo>
                      <a:pt x="290367" y="949460"/>
                      <a:pt x="297003" y="948189"/>
                      <a:pt x="303124" y="945573"/>
                    </a:cubicBezTo>
                    <a:cubicBezTo>
                      <a:pt x="320098" y="938321"/>
                      <a:pt x="332216" y="921137"/>
                      <a:pt x="333282" y="902820"/>
                    </a:cubicBezTo>
                    <a:cubicBezTo>
                      <a:pt x="333389" y="901174"/>
                      <a:pt x="332731" y="899694"/>
                      <a:pt x="331675" y="898596"/>
                    </a:cubicBezTo>
                    <a:cubicBezTo>
                      <a:pt x="333481" y="900478"/>
                      <a:pt x="348623" y="885263"/>
                      <a:pt x="349978" y="883294"/>
                    </a:cubicBezTo>
                    <a:cubicBezTo>
                      <a:pt x="353929" y="877487"/>
                      <a:pt x="356965" y="869238"/>
                      <a:pt x="358107" y="862297"/>
                    </a:cubicBezTo>
                    <a:cubicBezTo>
                      <a:pt x="358462" y="860252"/>
                      <a:pt x="355386" y="842609"/>
                      <a:pt x="354732" y="843170"/>
                    </a:cubicBezTo>
                    <a:cubicBezTo>
                      <a:pt x="354874" y="843064"/>
                      <a:pt x="354981" y="842994"/>
                      <a:pt x="355120" y="842888"/>
                    </a:cubicBezTo>
                    <a:cubicBezTo>
                      <a:pt x="367778" y="831698"/>
                      <a:pt x="376271" y="811112"/>
                      <a:pt x="367978" y="793406"/>
                    </a:cubicBezTo>
                    <a:cubicBezTo>
                      <a:pt x="367527" y="792445"/>
                      <a:pt x="366822" y="791760"/>
                      <a:pt x="366008" y="791213"/>
                    </a:cubicBezTo>
                    <a:cubicBezTo>
                      <a:pt x="369394" y="782291"/>
                      <a:pt x="369696" y="772285"/>
                      <a:pt x="364579" y="763712"/>
                    </a:cubicBezTo>
                    <a:cubicBezTo>
                      <a:pt x="363000" y="761020"/>
                      <a:pt x="359498" y="760147"/>
                      <a:pt x="356813" y="761730"/>
                    </a:cubicBezTo>
                    <a:cubicBezTo>
                      <a:pt x="386795" y="723127"/>
                      <a:pt x="395464" y="674654"/>
                      <a:pt x="403781" y="627502"/>
                    </a:cubicBezTo>
                    <a:cubicBezTo>
                      <a:pt x="406039" y="614830"/>
                      <a:pt x="408247" y="602220"/>
                      <a:pt x="410881" y="589871"/>
                    </a:cubicBezTo>
                    <a:cubicBezTo>
                      <a:pt x="417379" y="559404"/>
                      <a:pt x="427139" y="524452"/>
                      <a:pt x="450285" y="496328"/>
                    </a:cubicBezTo>
                    <a:cubicBezTo>
                      <a:pt x="455604" y="489848"/>
                      <a:pt x="460973" y="483606"/>
                      <a:pt x="466279" y="477413"/>
                    </a:cubicBezTo>
                    <a:cubicBezTo>
                      <a:pt x="483340" y="457575"/>
                      <a:pt x="499460" y="438834"/>
                      <a:pt x="512381" y="415034"/>
                    </a:cubicBezTo>
                    <a:cubicBezTo>
                      <a:pt x="561720" y="324246"/>
                      <a:pt x="579258" y="190841"/>
                      <a:pt x="507189" y="97472"/>
                    </a:cubicBezTo>
                    <a:cubicBezTo>
                      <a:pt x="418673" y="-17242"/>
                      <a:pt x="242644" y="-23958"/>
                      <a:pt x="133781" y="41773"/>
                    </a:cubicBezTo>
                    <a:cubicBezTo>
                      <a:pt x="13564" y="114357"/>
                      <a:pt x="-33341" y="266665"/>
                      <a:pt x="24679" y="396057"/>
                    </a:cubicBezTo>
                  </a:path>
                </a:pathLst>
              </a:custGeom>
              <a:grpFill/>
              <a:ln w="1250" cap="flat">
                <a:noFill/>
                <a:prstDash val="solid"/>
                <a:miter/>
              </a:ln>
            </p:spPr>
            <p:txBody>
              <a:bodyPr rtlCol="0" anchor="ctr"/>
              <a:lstStyle/>
              <a:p>
                <a:endParaRPr lang="en-LT"/>
              </a:p>
            </p:txBody>
          </p:sp>
          <p:sp>
            <p:nvSpPr>
              <p:cNvPr id="119" name="Freeform 118">
                <a:extLst>
                  <a:ext uri="{FF2B5EF4-FFF2-40B4-BE49-F238E27FC236}">
                    <a16:creationId xmlns:a16="http://schemas.microsoft.com/office/drawing/2014/main" id="{9AE8A551-68DB-EC4C-94C4-49FD1A28EE09}"/>
                  </a:ext>
                </a:extLst>
              </p:cNvPr>
              <p:cNvSpPr/>
              <p:nvPr/>
            </p:nvSpPr>
            <p:spPr>
              <a:xfrm>
                <a:off x="5859545" y="3128279"/>
                <a:ext cx="142589" cy="204679"/>
              </a:xfrm>
              <a:custGeom>
                <a:avLst/>
                <a:gdLst>
                  <a:gd name="connsiteX0" fmla="*/ 69207 w 142589"/>
                  <a:gd name="connsiteY0" fmla="*/ 32523 h 204679"/>
                  <a:gd name="connsiteX1" fmla="*/ 97684 w 142589"/>
                  <a:gd name="connsiteY1" fmla="*/ 11352 h 204679"/>
                  <a:gd name="connsiteX2" fmla="*/ 127753 w 142589"/>
                  <a:gd name="connsiteY2" fmla="*/ 23626 h 204679"/>
                  <a:gd name="connsiteX3" fmla="*/ 33065 w 142589"/>
                  <a:gd name="connsiteY3" fmla="*/ 192233 h 204679"/>
                  <a:gd name="connsiteX4" fmla="*/ 11501 w 142589"/>
                  <a:gd name="connsiteY4" fmla="*/ 187959 h 204679"/>
                  <a:gd name="connsiteX5" fmla="*/ 69207 w 142589"/>
                  <a:gd name="connsiteY5" fmla="*/ 32523 h 204679"/>
                  <a:gd name="connsiteX6" fmla="*/ 4488 w 142589"/>
                  <a:gd name="connsiteY6" fmla="*/ 198077 h 204679"/>
                  <a:gd name="connsiteX7" fmla="*/ 36816 w 142589"/>
                  <a:gd name="connsiteY7" fmla="*/ 204482 h 204679"/>
                  <a:gd name="connsiteX8" fmla="*/ 37933 w 142589"/>
                  <a:gd name="connsiteY8" fmla="*/ 204588 h 204679"/>
                  <a:gd name="connsiteX9" fmla="*/ 41268 w 142589"/>
                  <a:gd name="connsiteY9" fmla="*/ 203503 h 204679"/>
                  <a:gd name="connsiteX10" fmla="*/ 43576 w 142589"/>
                  <a:gd name="connsiteY10" fmla="*/ 199591 h 204679"/>
                  <a:gd name="connsiteX11" fmla="*/ 140309 w 142589"/>
                  <a:gd name="connsiteY11" fmla="*/ 28067 h 204679"/>
                  <a:gd name="connsiteX12" fmla="*/ 142492 w 142589"/>
                  <a:gd name="connsiteY12" fmla="*/ 23706 h 204679"/>
                  <a:gd name="connsiteX13" fmla="*/ 140433 w 142589"/>
                  <a:gd name="connsiteY13" fmla="*/ 19282 h 204679"/>
                  <a:gd name="connsiteX14" fmla="*/ 96401 w 142589"/>
                  <a:gd name="connsiteY14" fmla="*/ 130 h 204679"/>
                  <a:gd name="connsiteX15" fmla="*/ 60185 w 142589"/>
                  <a:gd name="connsiteY15" fmla="*/ 25675 h 204679"/>
                  <a:gd name="connsiteX16" fmla="*/ -93 w 142589"/>
                  <a:gd name="connsiteY16" fmla="*/ 192312 h 204679"/>
                  <a:gd name="connsiteX17" fmla="*/ 4486 w 142589"/>
                  <a:gd name="connsiteY17" fmla="*/ 198070 h 20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589" h="204679">
                    <a:moveTo>
                      <a:pt x="69207" y="32523"/>
                    </a:moveTo>
                    <a:cubicBezTo>
                      <a:pt x="76244" y="23364"/>
                      <a:pt x="85804" y="12686"/>
                      <a:pt x="97684" y="11352"/>
                    </a:cubicBezTo>
                    <a:cubicBezTo>
                      <a:pt x="108221" y="10131"/>
                      <a:pt x="118232" y="16262"/>
                      <a:pt x="127753" y="23626"/>
                    </a:cubicBezTo>
                    <a:cubicBezTo>
                      <a:pt x="76445" y="65868"/>
                      <a:pt x="42298" y="126664"/>
                      <a:pt x="33065" y="192233"/>
                    </a:cubicBezTo>
                    <a:lnTo>
                      <a:pt x="11501" y="187959"/>
                    </a:lnTo>
                    <a:cubicBezTo>
                      <a:pt x="14687" y="132060"/>
                      <a:pt x="35098" y="77046"/>
                      <a:pt x="69207" y="32523"/>
                    </a:cubicBezTo>
                    <a:close/>
                    <a:moveTo>
                      <a:pt x="4488" y="198077"/>
                    </a:moveTo>
                    <a:lnTo>
                      <a:pt x="36816" y="204482"/>
                    </a:lnTo>
                    <a:cubicBezTo>
                      <a:pt x="37193" y="204552"/>
                      <a:pt x="37570" y="204588"/>
                      <a:pt x="37933" y="204588"/>
                    </a:cubicBezTo>
                    <a:cubicBezTo>
                      <a:pt x="39124" y="204588"/>
                      <a:pt x="40305" y="204213"/>
                      <a:pt x="41268" y="203503"/>
                    </a:cubicBezTo>
                    <a:cubicBezTo>
                      <a:pt x="42548" y="202581"/>
                      <a:pt x="43388" y="201161"/>
                      <a:pt x="43576" y="199591"/>
                    </a:cubicBezTo>
                    <a:cubicBezTo>
                      <a:pt x="51404" y="132364"/>
                      <a:pt x="86680" y="69836"/>
                      <a:pt x="140309" y="28067"/>
                    </a:cubicBezTo>
                    <a:cubicBezTo>
                      <a:pt x="141664" y="27022"/>
                      <a:pt x="142467" y="25414"/>
                      <a:pt x="142492" y="23706"/>
                    </a:cubicBezTo>
                    <a:cubicBezTo>
                      <a:pt x="142504" y="21999"/>
                      <a:pt x="141753" y="20366"/>
                      <a:pt x="140433" y="19282"/>
                    </a:cubicBezTo>
                    <a:cubicBezTo>
                      <a:pt x="127525" y="8653"/>
                      <a:pt x="113261" y="-1752"/>
                      <a:pt x="96401" y="130"/>
                    </a:cubicBezTo>
                    <a:cubicBezTo>
                      <a:pt x="80256" y="1950"/>
                      <a:pt x="68564" y="14734"/>
                      <a:pt x="60185" y="25675"/>
                    </a:cubicBezTo>
                    <a:cubicBezTo>
                      <a:pt x="23667" y="73312"/>
                      <a:pt x="2253" y="132488"/>
                      <a:pt x="-93" y="192312"/>
                    </a:cubicBezTo>
                    <a:cubicBezTo>
                      <a:pt x="-200" y="195078"/>
                      <a:pt x="1738" y="197521"/>
                      <a:pt x="4486" y="198070"/>
                    </a:cubicBezTo>
                  </a:path>
                </a:pathLst>
              </a:custGeom>
              <a:grpFill/>
              <a:ln w="1250" cap="flat">
                <a:noFill/>
                <a:prstDash val="solid"/>
                <a:miter/>
              </a:ln>
            </p:spPr>
            <p:txBody>
              <a:bodyPr rtlCol="0" anchor="ctr"/>
              <a:lstStyle/>
              <a:p>
                <a:endParaRPr lang="en-LT"/>
              </a:p>
            </p:txBody>
          </p:sp>
          <p:sp>
            <p:nvSpPr>
              <p:cNvPr id="120" name="Freeform 119">
                <a:extLst>
                  <a:ext uri="{FF2B5EF4-FFF2-40B4-BE49-F238E27FC236}">
                    <a16:creationId xmlns:a16="http://schemas.microsoft.com/office/drawing/2014/main" id="{486E796E-F002-2544-A572-37D8EC6792DA}"/>
                  </a:ext>
                </a:extLst>
              </p:cNvPr>
              <p:cNvSpPr/>
              <p:nvPr/>
            </p:nvSpPr>
            <p:spPr>
              <a:xfrm>
                <a:off x="5651500" y="3281988"/>
                <a:ext cx="127873" cy="59002"/>
              </a:xfrm>
              <a:custGeom>
                <a:avLst/>
                <a:gdLst>
                  <a:gd name="connsiteX0" fmla="*/ 12156 w 127873"/>
                  <a:gd name="connsiteY0" fmla="*/ 29839 h 59002"/>
                  <a:gd name="connsiteX1" fmla="*/ 33545 w 127873"/>
                  <a:gd name="connsiteY1" fmla="*/ 12493 h 59002"/>
                  <a:gd name="connsiteX2" fmla="*/ 45613 w 127873"/>
                  <a:gd name="connsiteY2" fmla="*/ 11197 h 59002"/>
                  <a:gd name="connsiteX3" fmla="*/ 89507 w 127873"/>
                  <a:gd name="connsiteY3" fmla="*/ 22399 h 59002"/>
                  <a:gd name="connsiteX4" fmla="*/ 103632 w 127873"/>
                  <a:gd name="connsiteY4" fmla="*/ 27658 h 59002"/>
                  <a:gd name="connsiteX5" fmla="*/ 45061 w 127873"/>
                  <a:gd name="connsiteY5" fmla="*/ 44418 h 59002"/>
                  <a:gd name="connsiteX6" fmla="*/ 28025 w 127873"/>
                  <a:gd name="connsiteY6" fmla="*/ 47621 h 59002"/>
                  <a:gd name="connsiteX7" fmla="*/ 28025 w 127873"/>
                  <a:gd name="connsiteY7" fmla="*/ 53266 h 59002"/>
                  <a:gd name="connsiteX8" fmla="*/ 27197 w 127873"/>
                  <a:gd name="connsiteY8" fmla="*/ 47609 h 59002"/>
                  <a:gd name="connsiteX9" fmla="*/ 14025 w 127873"/>
                  <a:gd name="connsiteY9" fmla="*/ 41889 h 59002"/>
                  <a:gd name="connsiteX10" fmla="*/ 12156 w 127873"/>
                  <a:gd name="connsiteY10" fmla="*/ 29840 h 59002"/>
                  <a:gd name="connsiteX11" fmla="*/ 26858 w 127873"/>
                  <a:gd name="connsiteY11" fmla="*/ 58885 h 59002"/>
                  <a:gd name="connsiteX12" fmla="*/ 28025 w 127873"/>
                  <a:gd name="connsiteY12" fmla="*/ 58910 h 59002"/>
                  <a:gd name="connsiteX13" fmla="*/ 48009 w 127873"/>
                  <a:gd name="connsiteY13" fmla="*/ 55321 h 59002"/>
                  <a:gd name="connsiteX14" fmla="*/ 108011 w 127873"/>
                  <a:gd name="connsiteY14" fmla="*/ 38101 h 59002"/>
                  <a:gd name="connsiteX15" fmla="*/ 124143 w 127873"/>
                  <a:gd name="connsiteY15" fmla="*/ 32306 h 59002"/>
                  <a:gd name="connsiteX16" fmla="*/ 127756 w 127873"/>
                  <a:gd name="connsiteY16" fmla="*/ 26562 h 59002"/>
                  <a:gd name="connsiteX17" fmla="*/ 123240 w 127873"/>
                  <a:gd name="connsiteY17" fmla="*/ 21503 h 59002"/>
                  <a:gd name="connsiteX18" fmla="*/ 93634 w 127873"/>
                  <a:gd name="connsiteY18" fmla="*/ 11883 h 59002"/>
                  <a:gd name="connsiteX19" fmla="*/ 45613 w 127873"/>
                  <a:gd name="connsiteY19" fmla="*/ -92 h 59002"/>
                  <a:gd name="connsiteX20" fmla="*/ 31086 w 127873"/>
                  <a:gd name="connsiteY20" fmla="*/ 1466 h 59002"/>
                  <a:gd name="connsiteX21" fmla="*/ 1505 w 127873"/>
                  <a:gd name="connsiteY21" fmla="*/ 25926 h 59002"/>
                  <a:gd name="connsiteX22" fmla="*/ 4917 w 127873"/>
                  <a:gd name="connsiteY22" fmla="*/ 48655 h 59002"/>
                  <a:gd name="connsiteX23" fmla="*/ 26858 w 127873"/>
                  <a:gd name="connsiteY23" fmla="*/ 58885 h 59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873" h="59002">
                    <a:moveTo>
                      <a:pt x="12156" y="29839"/>
                    </a:moveTo>
                    <a:cubicBezTo>
                      <a:pt x="15242" y="21614"/>
                      <a:pt x="25704" y="14226"/>
                      <a:pt x="33545" y="12493"/>
                    </a:cubicBezTo>
                    <a:cubicBezTo>
                      <a:pt x="37509" y="11621"/>
                      <a:pt x="41448" y="11197"/>
                      <a:pt x="45613" y="11197"/>
                    </a:cubicBezTo>
                    <a:cubicBezTo>
                      <a:pt x="60453" y="11197"/>
                      <a:pt x="74566" y="16642"/>
                      <a:pt x="89507" y="22399"/>
                    </a:cubicBezTo>
                    <a:cubicBezTo>
                      <a:pt x="94161" y="24194"/>
                      <a:pt x="98865" y="26000"/>
                      <a:pt x="103632" y="27658"/>
                    </a:cubicBezTo>
                    <a:cubicBezTo>
                      <a:pt x="86985" y="33290"/>
                      <a:pt x="67880" y="38748"/>
                      <a:pt x="45061" y="44418"/>
                    </a:cubicBezTo>
                    <a:cubicBezTo>
                      <a:pt x="39754" y="45926"/>
                      <a:pt x="33695" y="47621"/>
                      <a:pt x="28025" y="47621"/>
                    </a:cubicBezTo>
                    <a:lnTo>
                      <a:pt x="28025" y="53266"/>
                    </a:lnTo>
                    <a:lnTo>
                      <a:pt x="27197" y="47609"/>
                    </a:lnTo>
                    <a:cubicBezTo>
                      <a:pt x="21527" y="47432"/>
                      <a:pt x="16597" y="45302"/>
                      <a:pt x="14025" y="41889"/>
                    </a:cubicBezTo>
                    <a:cubicBezTo>
                      <a:pt x="11152" y="38101"/>
                      <a:pt x="10550" y="34151"/>
                      <a:pt x="12156" y="29840"/>
                    </a:cubicBezTo>
                    <a:close/>
                    <a:moveTo>
                      <a:pt x="26858" y="58885"/>
                    </a:moveTo>
                    <a:cubicBezTo>
                      <a:pt x="26922" y="58885"/>
                      <a:pt x="27975" y="58910"/>
                      <a:pt x="28025" y="58910"/>
                    </a:cubicBezTo>
                    <a:cubicBezTo>
                      <a:pt x="35288" y="58910"/>
                      <a:pt x="42125" y="56978"/>
                      <a:pt x="48009" y="55321"/>
                    </a:cubicBezTo>
                    <a:cubicBezTo>
                      <a:pt x="71254" y="49540"/>
                      <a:pt x="90899" y="43907"/>
                      <a:pt x="108011" y="38101"/>
                    </a:cubicBezTo>
                    <a:cubicBezTo>
                      <a:pt x="113468" y="36243"/>
                      <a:pt x="118849" y="34312"/>
                      <a:pt x="124143" y="32306"/>
                    </a:cubicBezTo>
                    <a:cubicBezTo>
                      <a:pt x="126501" y="31395"/>
                      <a:pt x="127969" y="29067"/>
                      <a:pt x="127756" y="26562"/>
                    </a:cubicBezTo>
                    <a:cubicBezTo>
                      <a:pt x="127542" y="24072"/>
                      <a:pt x="125697" y="22001"/>
                      <a:pt x="123240" y="21503"/>
                    </a:cubicBezTo>
                    <a:cubicBezTo>
                      <a:pt x="113405" y="19496"/>
                      <a:pt x="103796" y="15796"/>
                      <a:pt x="93634" y="11883"/>
                    </a:cubicBezTo>
                    <a:cubicBezTo>
                      <a:pt x="78367" y="6002"/>
                      <a:pt x="62573" y="-92"/>
                      <a:pt x="45613" y="-92"/>
                    </a:cubicBezTo>
                    <a:cubicBezTo>
                      <a:pt x="40683" y="-92"/>
                      <a:pt x="35790" y="445"/>
                      <a:pt x="31086" y="1466"/>
                    </a:cubicBezTo>
                    <a:cubicBezTo>
                      <a:pt x="20285" y="3871"/>
                      <a:pt x="6235" y="13241"/>
                      <a:pt x="1505" y="25926"/>
                    </a:cubicBezTo>
                    <a:cubicBezTo>
                      <a:pt x="-1468" y="33876"/>
                      <a:pt x="-289" y="41739"/>
                      <a:pt x="4917" y="48655"/>
                    </a:cubicBezTo>
                    <a:cubicBezTo>
                      <a:pt x="9609" y="54885"/>
                      <a:pt x="17613" y="58611"/>
                      <a:pt x="26858" y="58885"/>
                    </a:cubicBezTo>
                  </a:path>
                </a:pathLst>
              </a:custGeom>
              <a:grpFill/>
              <a:ln w="1250" cap="flat">
                <a:noFill/>
                <a:prstDash val="solid"/>
                <a:miter/>
              </a:ln>
            </p:spPr>
            <p:txBody>
              <a:bodyPr rtlCol="0" anchor="ctr"/>
              <a:lstStyle/>
              <a:p>
                <a:endParaRPr lang="en-LT"/>
              </a:p>
            </p:txBody>
          </p:sp>
          <p:sp>
            <p:nvSpPr>
              <p:cNvPr id="121" name="Freeform 120">
                <a:extLst>
                  <a:ext uri="{FF2B5EF4-FFF2-40B4-BE49-F238E27FC236}">
                    <a16:creationId xmlns:a16="http://schemas.microsoft.com/office/drawing/2014/main" id="{7FAACBE3-B837-3746-9D96-EE94F19950D1}"/>
                  </a:ext>
                </a:extLst>
              </p:cNvPr>
              <p:cNvSpPr/>
              <p:nvPr/>
            </p:nvSpPr>
            <p:spPr>
              <a:xfrm>
                <a:off x="5764013" y="3003228"/>
                <a:ext cx="109098" cy="87325"/>
              </a:xfrm>
              <a:custGeom>
                <a:avLst/>
                <a:gdLst>
                  <a:gd name="connsiteX0" fmla="*/ 11742 w 109098"/>
                  <a:gd name="connsiteY0" fmla="*/ 17827 h 87325"/>
                  <a:gd name="connsiteX1" fmla="*/ 23848 w 109098"/>
                  <a:gd name="connsiteY1" fmla="*/ 11186 h 87325"/>
                  <a:gd name="connsiteX2" fmla="*/ 29342 w 109098"/>
                  <a:gd name="connsiteY2" fmla="*/ 12083 h 87325"/>
                  <a:gd name="connsiteX3" fmla="*/ 49477 w 109098"/>
                  <a:gd name="connsiteY3" fmla="*/ 28631 h 87325"/>
                  <a:gd name="connsiteX4" fmla="*/ 75369 w 109098"/>
                  <a:gd name="connsiteY4" fmla="*/ 58250 h 87325"/>
                  <a:gd name="connsiteX5" fmla="*/ 38575 w 109098"/>
                  <a:gd name="connsiteY5" fmla="*/ 41403 h 87325"/>
                  <a:gd name="connsiteX6" fmla="*/ 35013 w 109098"/>
                  <a:gd name="connsiteY6" fmla="*/ 40219 h 87325"/>
                  <a:gd name="connsiteX7" fmla="*/ 18027 w 109098"/>
                  <a:gd name="connsiteY7" fmla="*/ 32556 h 87325"/>
                  <a:gd name="connsiteX8" fmla="*/ 11742 w 109098"/>
                  <a:gd name="connsiteY8" fmla="*/ 17827 h 87325"/>
                  <a:gd name="connsiteX9" fmla="*/ 11102 w 109098"/>
                  <a:gd name="connsiteY9" fmla="*/ 41503 h 87325"/>
                  <a:gd name="connsiteX10" fmla="*/ 31412 w 109098"/>
                  <a:gd name="connsiteY10" fmla="*/ 50923 h 87325"/>
                  <a:gd name="connsiteX11" fmla="*/ 34851 w 109098"/>
                  <a:gd name="connsiteY11" fmla="*/ 52082 h 87325"/>
                  <a:gd name="connsiteX12" fmla="*/ 100309 w 109098"/>
                  <a:gd name="connsiteY12" fmla="*/ 86374 h 87325"/>
                  <a:gd name="connsiteX13" fmla="*/ 103321 w 109098"/>
                  <a:gd name="connsiteY13" fmla="*/ 87234 h 87325"/>
                  <a:gd name="connsiteX14" fmla="*/ 107636 w 109098"/>
                  <a:gd name="connsiteY14" fmla="*/ 85265 h 87325"/>
                  <a:gd name="connsiteX15" fmla="*/ 107611 w 109098"/>
                  <a:gd name="connsiteY15" fmla="*/ 77888 h 87325"/>
                  <a:gd name="connsiteX16" fmla="*/ 58047 w 109098"/>
                  <a:gd name="connsiteY16" fmla="*/ 21229 h 87325"/>
                  <a:gd name="connsiteX17" fmla="*/ 33070 w 109098"/>
                  <a:gd name="connsiteY17" fmla="*/ 1416 h 87325"/>
                  <a:gd name="connsiteX18" fmla="*/ 23850 w 109098"/>
                  <a:gd name="connsiteY18" fmla="*/ -92 h 87325"/>
                  <a:gd name="connsiteX19" fmla="*/ 1043 w 109098"/>
                  <a:gd name="connsiteY19" fmla="*/ 14051 h 87325"/>
                  <a:gd name="connsiteX20" fmla="*/ 11104 w 109098"/>
                  <a:gd name="connsiteY20" fmla="*/ 41502 h 8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098" h="87325">
                    <a:moveTo>
                      <a:pt x="11742" y="17827"/>
                    </a:moveTo>
                    <a:cubicBezTo>
                      <a:pt x="13399" y="13241"/>
                      <a:pt x="19005" y="11186"/>
                      <a:pt x="23848" y="11186"/>
                    </a:cubicBezTo>
                    <a:cubicBezTo>
                      <a:pt x="25754" y="11186"/>
                      <a:pt x="27661" y="11496"/>
                      <a:pt x="29342" y="12083"/>
                    </a:cubicBezTo>
                    <a:cubicBezTo>
                      <a:pt x="37434" y="14874"/>
                      <a:pt x="43832" y="22176"/>
                      <a:pt x="49477" y="28631"/>
                    </a:cubicBezTo>
                    <a:lnTo>
                      <a:pt x="75369" y="58250"/>
                    </a:lnTo>
                    <a:cubicBezTo>
                      <a:pt x="63615" y="51720"/>
                      <a:pt x="51434" y="45839"/>
                      <a:pt x="38575" y="41403"/>
                    </a:cubicBezTo>
                    <a:lnTo>
                      <a:pt x="35013" y="40219"/>
                    </a:lnTo>
                    <a:cubicBezTo>
                      <a:pt x="28715" y="38126"/>
                      <a:pt x="22731" y="36132"/>
                      <a:pt x="18027" y="32556"/>
                    </a:cubicBezTo>
                    <a:cubicBezTo>
                      <a:pt x="13523" y="29104"/>
                      <a:pt x="9910" y="22961"/>
                      <a:pt x="11742" y="17827"/>
                    </a:cubicBezTo>
                    <a:close/>
                    <a:moveTo>
                      <a:pt x="11102" y="41503"/>
                    </a:moveTo>
                    <a:cubicBezTo>
                      <a:pt x="17312" y="46250"/>
                      <a:pt x="24487" y="48618"/>
                      <a:pt x="31412" y="50923"/>
                    </a:cubicBezTo>
                    <a:lnTo>
                      <a:pt x="34851" y="52082"/>
                    </a:lnTo>
                    <a:cubicBezTo>
                      <a:pt x="58096" y="60069"/>
                      <a:pt x="79548" y="73439"/>
                      <a:pt x="100309" y="86374"/>
                    </a:cubicBezTo>
                    <a:cubicBezTo>
                      <a:pt x="101238" y="86960"/>
                      <a:pt x="102279" y="87234"/>
                      <a:pt x="103321" y="87234"/>
                    </a:cubicBezTo>
                    <a:cubicBezTo>
                      <a:pt x="104939" y="87234"/>
                      <a:pt x="106533" y="86548"/>
                      <a:pt x="107636" y="85265"/>
                    </a:cubicBezTo>
                    <a:cubicBezTo>
                      <a:pt x="109468" y="83134"/>
                      <a:pt x="109454" y="80006"/>
                      <a:pt x="107611" y="77888"/>
                    </a:cubicBezTo>
                    <a:lnTo>
                      <a:pt x="58047" y="21229"/>
                    </a:lnTo>
                    <a:cubicBezTo>
                      <a:pt x="51799" y="14089"/>
                      <a:pt x="44022" y="5192"/>
                      <a:pt x="33070" y="1416"/>
                    </a:cubicBezTo>
                    <a:cubicBezTo>
                      <a:pt x="30161" y="407"/>
                      <a:pt x="27061" y="-92"/>
                      <a:pt x="23850" y="-92"/>
                    </a:cubicBezTo>
                    <a:cubicBezTo>
                      <a:pt x="13061" y="-92"/>
                      <a:pt x="4130" y="5453"/>
                      <a:pt x="1043" y="14051"/>
                    </a:cubicBezTo>
                    <a:cubicBezTo>
                      <a:pt x="-2770" y="24718"/>
                      <a:pt x="3589" y="35758"/>
                      <a:pt x="11104" y="41502"/>
                    </a:cubicBezTo>
                  </a:path>
                </a:pathLst>
              </a:custGeom>
              <a:grpFill/>
              <a:ln w="1250" cap="flat">
                <a:noFill/>
                <a:prstDash val="solid"/>
                <a:miter/>
              </a:ln>
            </p:spPr>
            <p:txBody>
              <a:bodyPr rtlCol="0" anchor="ctr"/>
              <a:lstStyle/>
              <a:p>
                <a:endParaRPr lang="en-LT"/>
              </a:p>
            </p:txBody>
          </p:sp>
          <p:sp>
            <p:nvSpPr>
              <p:cNvPr id="122" name="Freeform 121">
                <a:extLst>
                  <a:ext uri="{FF2B5EF4-FFF2-40B4-BE49-F238E27FC236}">
                    <a16:creationId xmlns:a16="http://schemas.microsoft.com/office/drawing/2014/main" id="{1A64511E-36AB-8C45-8E3F-1DC3F1A2045B}"/>
                  </a:ext>
                </a:extLst>
              </p:cNvPr>
              <p:cNvSpPr/>
              <p:nvPr/>
            </p:nvSpPr>
            <p:spPr>
              <a:xfrm>
                <a:off x="6405855" y="3140991"/>
                <a:ext cx="132999" cy="67590"/>
              </a:xfrm>
              <a:custGeom>
                <a:avLst/>
                <a:gdLst>
                  <a:gd name="connsiteX0" fmla="*/ 88554 w 132999"/>
                  <a:gd name="connsiteY0" fmla="*/ 11214 h 67590"/>
                  <a:gd name="connsiteX1" fmla="*/ 109804 w 132999"/>
                  <a:gd name="connsiteY1" fmla="*/ 15849 h 67590"/>
                  <a:gd name="connsiteX2" fmla="*/ 120304 w 132999"/>
                  <a:gd name="connsiteY2" fmla="*/ 25107 h 67590"/>
                  <a:gd name="connsiteX3" fmla="*/ 119703 w 132999"/>
                  <a:gd name="connsiteY3" fmla="*/ 35711 h 67590"/>
                  <a:gd name="connsiteX4" fmla="*/ 107710 w 132999"/>
                  <a:gd name="connsiteY4" fmla="*/ 40310 h 67590"/>
                  <a:gd name="connsiteX5" fmla="*/ 48524 w 132999"/>
                  <a:gd name="connsiteY5" fmla="*/ 50826 h 67590"/>
                  <a:gd name="connsiteX6" fmla="*/ 31062 w 132999"/>
                  <a:gd name="connsiteY6" fmla="*/ 52921 h 67590"/>
                  <a:gd name="connsiteX7" fmla="*/ 20750 w 132999"/>
                  <a:gd name="connsiteY7" fmla="*/ 54094 h 67590"/>
                  <a:gd name="connsiteX8" fmla="*/ 88555 w 132999"/>
                  <a:gd name="connsiteY8" fmla="*/ 11216 h 67590"/>
                  <a:gd name="connsiteX9" fmla="*/ 5595 w 132999"/>
                  <a:gd name="connsiteY9" fmla="*/ 67499 h 67590"/>
                  <a:gd name="connsiteX10" fmla="*/ 7526 w 132999"/>
                  <a:gd name="connsiteY10" fmla="*/ 67146 h 67590"/>
                  <a:gd name="connsiteX11" fmla="*/ 32352 w 132999"/>
                  <a:gd name="connsiteY11" fmla="*/ 64105 h 67590"/>
                  <a:gd name="connsiteX12" fmla="*/ 50529 w 132999"/>
                  <a:gd name="connsiteY12" fmla="*/ 61925 h 67590"/>
                  <a:gd name="connsiteX13" fmla="*/ 109715 w 132999"/>
                  <a:gd name="connsiteY13" fmla="*/ 51408 h 67590"/>
                  <a:gd name="connsiteX14" fmla="*/ 128269 w 132999"/>
                  <a:gd name="connsiteY14" fmla="*/ 43109 h 67590"/>
                  <a:gd name="connsiteX15" fmla="*/ 130488 w 132999"/>
                  <a:gd name="connsiteY15" fmla="*/ 20082 h 67590"/>
                  <a:gd name="connsiteX16" fmla="*/ 114581 w 132999"/>
                  <a:gd name="connsiteY16" fmla="*/ 5590 h 67590"/>
                  <a:gd name="connsiteX17" fmla="*/ 88551 w 132999"/>
                  <a:gd name="connsiteY17" fmla="*/ -92 h 67590"/>
                  <a:gd name="connsiteX18" fmla="*/ 9920 w 132999"/>
                  <a:gd name="connsiteY18" fmla="*/ 49041 h 67590"/>
                  <a:gd name="connsiteX19" fmla="*/ 1490 w 132999"/>
                  <a:gd name="connsiteY19" fmla="*/ 57926 h 67590"/>
                  <a:gd name="connsiteX20" fmla="*/ 1632 w 132999"/>
                  <a:gd name="connsiteY20" fmla="*/ 65900 h 67590"/>
                  <a:gd name="connsiteX21" fmla="*/ 5584 w 132999"/>
                  <a:gd name="connsiteY21" fmla="*/ 67483 h 67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999" h="67590">
                    <a:moveTo>
                      <a:pt x="88554" y="11214"/>
                    </a:moveTo>
                    <a:cubicBezTo>
                      <a:pt x="95566" y="11214"/>
                      <a:pt x="102792" y="12797"/>
                      <a:pt x="109804" y="15849"/>
                    </a:cubicBezTo>
                    <a:cubicBezTo>
                      <a:pt x="113342" y="17569"/>
                      <a:pt x="118033" y="20572"/>
                      <a:pt x="120304" y="25107"/>
                    </a:cubicBezTo>
                    <a:cubicBezTo>
                      <a:pt x="122150" y="28771"/>
                      <a:pt x="121883" y="33232"/>
                      <a:pt x="119703" y="35711"/>
                    </a:cubicBezTo>
                    <a:cubicBezTo>
                      <a:pt x="117332" y="38417"/>
                      <a:pt x="112879" y="39400"/>
                      <a:pt x="107710" y="40310"/>
                    </a:cubicBezTo>
                    <a:lnTo>
                      <a:pt x="48524" y="50826"/>
                    </a:lnTo>
                    <a:cubicBezTo>
                      <a:pt x="46643" y="51180"/>
                      <a:pt x="39229" y="51985"/>
                      <a:pt x="31062" y="52921"/>
                    </a:cubicBezTo>
                    <a:cubicBezTo>
                      <a:pt x="27085" y="53370"/>
                      <a:pt x="23660" y="53755"/>
                      <a:pt x="20750" y="54094"/>
                    </a:cubicBezTo>
                    <a:cubicBezTo>
                      <a:pt x="40194" y="33446"/>
                      <a:pt x="62173" y="11216"/>
                      <a:pt x="88555" y="11216"/>
                    </a:cubicBezTo>
                    <a:close/>
                    <a:moveTo>
                      <a:pt x="5595" y="67499"/>
                    </a:moveTo>
                    <a:cubicBezTo>
                      <a:pt x="6246" y="67499"/>
                      <a:pt x="6886" y="67393"/>
                      <a:pt x="7526" y="67146"/>
                    </a:cubicBezTo>
                    <a:cubicBezTo>
                      <a:pt x="10186" y="66623"/>
                      <a:pt x="23470" y="65115"/>
                      <a:pt x="32352" y="64105"/>
                    </a:cubicBezTo>
                    <a:cubicBezTo>
                      <a:pt x="40844" y="63144"/>
                      <a:pt x="48585" y="62261"/>
                      <a:pt x="50529" y="61925"/>
                    </a:cubicBezTo>
                    <a:lnTo>
                      <a:pt x="109715" y="51408"/>
                    </a:lnTo>
                    <a:cubicBezTo>
                      <a:pt x="115022" y="50472"/>
                      <a:pt x="123076" y="49042"/>
                      <a:pt x="128269" y="43109"/>
                    </a:cubicBezTo>
                    <a:cubicBezTo>
                      <a:pt x="133500" y="37153"/>
                      <a:pt x="134391" y="27895"/>
                      <a:pt x="130488" y="20082"/>
                    </a:cubicBezTo>
                    <a:cubicBezTo>
                      <a:pt x="127554" y="14238"/>
                      <a:pt x="122146" y="9266"/>
                      <a:pt x="114581" y="5590"/>
                    </a:cubicBezTo>
                    <a:cubicBezTo>
                      <a:pt x="105900" y="1827"/>
                      <a:pt x="97144" y="-92"/>
                      <a:pt x="88551" y="-92"/>
                    </a:cubicBezTo>
                    <a:cubicBezTo>
                      <a:pt x="56085" y="-92"/>
                      <a:pt x="31560" y="26013"/>
                      <a:pt x="9920" y="49041"/>
                    </a:cubicBezTo>
                    <a:cubicBezTo>
                      <a:pt x="7061" y="52093"/>
                      <a:pt x="4237" y="55072"/>
                      <a:pt x="1490" y="57926"/>
                    </a:cubicBezTo>
                    <a:cubicBezTo>
                      <a:pt x="-679" y="60168"/>
                      <a:pt x="-619" y="63745"/>
                      <a:pt x="1632" y="65900"/>
                    </a:cubicBezTo>
                    <a:cubicBezTo>
                      <a:pt x="2735" y="66960"/>
                      <a:pt x="4168" y="67483"/>
                      <a:pt x="5584" y="67483"/>
                    </a:cubicBezTo>
                  </a:path>
                </a:pathLst>
              </a:custGeom>
              <a:grpFill/>
              <a:ln w="1250" cap="flat">
                <a:noFill/>
                <a:prstDash val="solid"/>
                <a:miter/>
              </a:ln>
            </p:spPr>
            <p:txBody>
              <a:bodyPr rtlCol="0" anchor="ctr"/>
              <a:lstStyle/>
              <a:p>
                <a:endParaRPr lang="en-LT"/>
              </a:p>
            </p:txBody>
          </p:sp>
          <p:sp>
            <p:nvSpPr>
              <p:cNvPr id="123" name="Freeform 122">
                <a:extLst>
                  <a:ext uri="{FF2B5EF4-FFF2-40B4-BE49-F238E27FC236}">
                    <a16:creationId xmlns:a16="http://schemas.microsoft.com/office/drawing/2014/main" id="{0BB4E022-B038-1746-9B19-E2F453A3A1A3}"/>
                  </a:ext>
                </a:extLst>
              </p:cNvPr>
              <p:cNvSpPr/>
              <p:nvPr/>
            </p:nvSpPr>
            <p:spPr>
              <a:xfrm>
                <a:off x="6405626" y="3324716"/>
                <a:ext cx="118720" cy="64683"/>
              </a:xfrm>
              <a:custGeom>
                <a:avLst/>
                <a:gdLst>
                  <a:gd name="connsiteX0" fmla="*/ 31051 w 118720"/>
                  <a:gd name="connsiteY0" fmla="*/ 11198 h 64683"/>
                  <a:gd name="connsiteX1" fmla="*/ 102970 w 118720"/>
                  <a:gd name="connsiteY1" fmla="*/ 30375 h 64683"/>
                  <a:gd name="connsiteX2" fmla="*/ 107235 w 118720"/>
                  <a:gd name="connsiteY2" fmla="*/ 39247 h 64683"/>
                  <a:gd name="connsiteX3" fmla="*/ 100110 w 118720"/>
                  <a:gd name="connsiteY3" fmla="*/ 48954 h 64683"/>
                  <a:gd name="connsiteX4" fmla="*/ 87101 w 118720"/>
                  <a:gd name="connsiteY4" fmla="*/ 53303 h 64683"/>
                  <a:gd name="connsiteX5" fmla="*/ 52628 w 118720"/>
                  <a:gd name="connsiteY5" fmla="*/ 36443 h 64683"/>
                  <a:gd name="connsiteX6" fmla="*/ 38967 w 118720"/>
                  <a:gd name="connsiteY6" fmla="*/ 25988 h 64683"/>
                  <a:gd name="connsiteX7" fmla="*/ 20087 w 118720"/>
                  <a:gd name="connsiteY7" fmla="*/ 11359 h 64683"/>
                  <a:gd name="connsiteX8" fmla="*/ 31051 w 118720"/>
                  <a:gd name="connsiteY8" fmla="*/ 11183 h 64683"/>
                  <a:gd name="connsiteX9" fmla="*/ 32104 w 118720"/>
                  <a:gd name="connsiteY9" fmla="*/ 34985 h 64683"/>
                  <a:gd name="connsiteX10" fmla="*/ 45577 w 118720"/>
                  <a:gd name="connsiteY10" fmla="*/ 45290 h 64683"/>
                  <a:gd name="connsiteX11" fmla="*/ 87100 w 118720"/>
                  <a:gd name="connsiteY11" fmla="*/ 64592 h 64683"/>
                  <a:gd name="connsiteX12" fmla="*/ 106820 w 118720"/>
                  <a:gd name="connsiteY12" fmla="*/ 58075 h 64683"/>
                  <a:gd name="connsiteX13" fmla="*/ 118562 w 118720"/>
                  <a:gd name="connsiteY13" fmla="*/ 40194 h 64683"/>
                  <a:gd name="connsiteX14" fmla="*/ 111085 w 118720"/>
                  <a:gd name="connsiteY14" fmla="*/ 22487 h 64683"/>
                  <a:gd name="connsiteX15" fmla="*/ 31050 w 118720"/>
                  <a:gd name="connsiteY15" fmla="*/ -92 h 64683"/>
                  <a:gd name="connsiteX16" fmla="*/ 5320 w 118720"/>
                  <a:gd name="connsiteY16" fmla="*/ 643 h 64683"/>
                  <a:gd name="connsiteX17" fmla="*/ 252 w 118720"/>
                  <a:gd name="connsiteY17" fmla="*/ 4331 h 64683"/>
                  <a:gd name="connsiteX18" fmla="*/ 1696 w 118720"/>
                  <a:gd name="connsiteY18" fmla="*/ 10412 h 64683"/>
                  <a:gd name="connsiteX19" fmla="*/ 32104 w 118720"/>
                  <a:gd name="connsiteY19" fmla="*/ 34985 h 64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720" h="64683">
                    <a:moveTo>
                      <a:pt x="31051" y="11198"/>
                    </a:moveTo>
                    <a:cubicBezTo>
                      <a:pt x="66741" y="11198"/>
                      <a:pt x="90262" y="17465"/>
                      <a:pt x="102970" y="30375"/>
                    </a:cubicBezTo>
                    <a:cubicBezTo>
                      <a:pt x="106032" y="33490"/>
                      <a:pt x="107461" y="36468"/>
                      <a:pt x="107235" y="39247"/>
                    </a:cubicBezTo>
                    <a:cubicBezTo>
                      <a:pt x="106880" y="43259"/>
                      <a:pt x="103183" y="46736"/>
                      <a:pt x="100110" y="48954"/>
                    </a:cubicBezTo>
                    <a:cubicBezTo>
                      <a:pt x="96083" y="51882"/>
                      <a:pt x="91818" y="53303"/>
                      <a:pt x="87101" y="53303"/>
                    </a:cubicBezTo>
                    <a:cubicBezTo>
                      <a:pt x="75622" y="53303"/>
                      <a:pt x="63241" y="44779"/>
                      <a:pt x="52628" y="36443"/>
                    </a:cubicBezTo>
                    <a:cubicBezTo>
                      <a:pt x="48149" y="32928"/>
                      <a:pt x="43570" y="29465"/>
                      <a:pt x="38967" y="25988"/>
                    </a:cubicBezTo>
                    <a:cubicBezTo>
                      <a:pt x="32669" y="21241"/>
                      <a:pt x="26234" y="16394"/>
                      <a:pt x="20087" y="11359"/>
                    </a:cubicBezTo>
                    <a:cubicBezTo>
                      <a:pt x="23625" y="11253"/>
                      <a:pt x="27300" y="11183"/>
                      <a:pt x="31051" y="11183"/>
                    </a:cubicBezTo>
                    <a:close/>
                    <a:moveTo>
                      <a:pt x="32104" y="34985"/>
                    </a:moveTo>
                    <a:cubicBezTo>
                      <a:pt x="36645" y="38401"/>
                      <a:pt x="41161" y="41826"/>
                      <a:pt x="45577" y="45290"/>
                    </a:cubicBezTo>
                    <a:cubicBezTo>
                      <a:pt x="58322" y="55309"/>
                      <a:pt x="72184" y="64592"/>
                      <a:pt x="87100" y="64592"/>
                    </a:cubicBezTo>
                    <a:cubicBezTo>
                      <a:pt x="94213" y="64592"/>
                      <a:pt x="100849" y="62388"/>
                      <a:pt x="106820" y="58075"/>
                    </a:cubicBezTo>
                    <a:cubicBezTo>
                      <a:pt x="115827" y="51545"/>
                      <a:pt x="118173" y="44742"/>
                      <a:pt x="118562" y="40194"/>
                    </a:cubicBezTo>
                    <a:cubicBezTo>
                      <a:pt x="118918" y="35932"/>
                      <a:pt x="117897" y="29415"/>
                      <a:pt x="111085" y="22487"/>
                    </a:cubicBezTo>
                    <a:cubicBezTo>
                      <a:pt x="91177" y="2251"/>
                      <a:pt x="55876" y="-92"/>
                      <a:pt x="31050" y="-92"/>
                    </a:cubicBezTo>
                    <a:cubicBezTo>
                      <a:pt x="21754" y="-92"/>
                      <a:pt x="12948" y="283"/>
                      <a:pt x="5320" y="643"/>
                    </a:cubicBezTo>
                    <a:cubicBezTo>
                      <a:pt x="3037" y="749"/>
                      <a:pt x="1043" y="2200"/>
                      <a:pt x="252" y="4331"/>
                    </a:cubicBezTo>
                    <a:cubicBezTo>
                      <a:pt x="-537" y="6461"/>
                      <a:pt x="39" y="8855"/>
                      <a:pt x="1696" y="10412"/>
                    </a:cubicBezTo>
                    <a:cubicBezTo>
                      <a:pt x="11205" y="19234"/>
                      <a:pt x="21830" y="27247"/>
                      <a:pt x="32104" y="34985"/>
                    </a:cubicBezTo>
                  </a:path>
                </a:pathLst>
              </a:custGeom>
              <a:grpFill/>
              <a:ln w="1250" cap="flat">
                <a:noFill/>
                <a:prstDash val="solid"/>
                <a:miter/>
              </a:ln>
            </p:spPr>
            <p:txBody>
              <a:bodyPr rtlCol="0" anchor="ctr"/>
              <a:lstStyle/>
              <a:p>
                <a:endParaRPr lang="en-LT"/>
              </a:p>
            </p:txBody>
          </p:sp>
          <p:sp>
            <p:nvSpPr>
              <p:cNvPr id="124" name="Freeform 123">
                <a:extLst>
                  <a:ext uri="{FF2B5EF4-FFF2-40B4-BE49-F238E27FC236}">
                    <a16:creationId xmlns:a16="http://schemas.microsoft.com/office/drawing/2014/main" id="{4DEECB5E-81CE-034A-8C3B-47574632F85D}"/>
                  </a:ext>
                </a:extLst>
              </p:cNvPr>
              <p:cNvSpPr/>
              <p:nvPr/>
            </p:nvSpPr>
            <p:spPr>
              <a:xfrm>
                <a:off x="6204379" y="3152558"/>
                <a:ext cx="67985" cy="26103"/>
              </a:xfrm>
              <a:custGeom>
                <a:avLst/>
                <a:gdLst>
                  <a:gd name="connsiteX0" fmla="*/ 5576 w 67985"/>
                  <a:gd name="connsiteY0" fmla="*/ 26002 h 26103"/>
                  <a:gd name="connsiteX1" fmla="*/ 7031 w 67985"/>
                  <a:gd name="connsiteY1" fmla="*/ 25825 h 26103"/>
                  <a:gd name="connsiteX2" fmla="*/ 63658 w 67985"/>
                  <a:gd name="connsiteY2" fmla="*/ 10996 h 26103"/>
                  <a:gd name="connsiteX3" fmla="*/ 67697 w 67985"/>
                  <a:gd name="connsiteY3" fmla="*/ 4106 h 26103"/>
                  <a:gd name="connsiteX4" fmla="*/ 60760 w 67985"/>
                  <a:gd name="connsiteY4" fmla="*/ 93 h 26103"/>
                  <a:gd name="connsiteX5" fmla="*/ 4121 w 67985"/>
                  <a:gd name="connsiteY5" fmla="*/ 14909 h 26103"/>
                  <a:gd name="connsiteX6" fmla="*/ 93 w 67985"/>
                  <a:gd name="connsiteY6" fmla="*/ 21812 h 26103"/>
                  <a:gd name="connsiteX7" fmla="*/ 5576 w 67985"/>
                  <a:gd name="connsiteY7" fmla="*/ 26012 h 26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85" h="26103">
                    <a:moveTo>
                      <a:pt x="5576" y="26002"/>
                    </a:moveTo>
                    <a:cubicBezTo>
                      <a:pt x="6053" y="26002"/>
                      <a:pt x="6544" y="25931"/>
                      <a:pt x="7031" y="25825"/>
                    </a:cubicBezTo>
                    <a:lnTo>
                      <a:pt x="63658" y="10996"/>
                    </a:lnTo>
                    <a:cubicBezTo>
                      <a:pt x="66695" y="10212"/>
                      <a:pt x="68500" y="7121"/>
                      <a:pt x="67697" y="4106"/>
                    </a:cubicBezTo>
                    <a:cubicBezTo>
                      <a:pt x="66919" y="1089"/>
                      <a:pt x="63846" y="-692"/>
                      <a:pt x="60760" y="93"/>
                    </a:cubicBezTo>
                    <a:lnTo>
                      <a:pt x="4121" y="14909"/>
                    </a:lnTo>
                    <a:cubicBezTo>
                      <a:pt x="1098" y="15708"/>
                      <a:pt x="-709" y="18797"/>
                      <a:pt x="93" y="21812"/>
                    </a:cubicBezTo>
                    <a:cubicBezTo>
                      <a:pt x="759" y="24341"/>
                      <a:pt x="3066" y="26012"/>
                      <a:pt x="5576" y="26012"/>
                    </a:cubicBezTo>
                  </a:path>
                </a:pathLst>
              </a:custGeom>
              <a:grpFill/>
              <a:ln w="1250" cap="flat">
                <a:noFill/>
                <a:prstDash val="solid"/>
                <a:miter/>
              </a:ln>
            </p:spPr>
            <p:txBody>
              <a:bodyPr rtlCol="0" anchor="ctr"/>
              <a:lstStyle/>
              <a:p>
                <a:endParaRPr lang="en-LT"/>
              </a:p>
            </p:txBody>
          </p:sp>
          <p:sp>
            <p:nvSpPr>
              <p:cNvPr id="125" name="Freeform 124">
                <a:extLst>
                  <a:ext uri="{FF2B5EF4-FFF2-40B4-BE49-F238E27FC236}">
                    <a16:creationId xmlns:a16="http://schemas.microsoft.com/office/drawing/2014/main" id="{FE3E171D-4CB0-204D-89E0-F5767A7B3616}"/>
                  </a:ext>
                </a:extLst>
              </p:cNvPr>
              <p:cNvSpPr/>
              <p:nvPr/>
            </p:nvSpPr>
            <p:spPr>
              <a:xfrm>
                <a:off x="6215395" y="3174516"/>
                <a:ext cx="65344" cy="31037"/>
              </a:xfrm>
              <a:custGeom>
                <a:avLst/>
                <a:gdLst>
                  <a:gd name="connsiteX0" fmla="*/ 5035 w 65344"/>
                  <a:gd name="connsiteY0" fmla="*/ 19694 h 31037"/>
                  <a:gd name="connsiteX1" fmla="*/ -71 w 65344"/>
                  <a:gd name="connsiteY1" fmla="*/ 25837 h 31037"/>
                  <a:gd name="connsiteX2" fmla="*/ 5575 w 65344"/>
                  <a:gd name="connsiteY2" fmla="*/ 30946 h 31037"/>
                  <a:gd name="connsiteX3" fmla="*/ 6126 w 65344"/>
                  <a:gd name="connsiteY3" fmla="*/ 30920 h 31037"/>
                  <a:gd name="connsiteX4" fmla="*/ 62828 w 65344"/>
                  <a:gd name="connsiteY4" fmla="*/ 10173 h 31037"/>
                  <a:gd name="connsiteX5" fmla="*/ 64208 w 65344"/>
                  <a:gd name="connsiteY5" fmla="*/ 2310 h 31037"/>
                  <a:gd name="connsiteX6" fmla="*/ 56292 w 65344"/>
                  <a:gd name="connsiteY6" fmla="*/ 929 h 31037"/>
                  <a:gd name="connsiteX7" fmla="*/ 5034 w 65344"/>
                  <a:gd name="connsiteY7" fmla="*/ 19695 h 3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4" h="31037">
                    <a:moveTo>
                      <a:pt x="5035" y="19694"/>
                    </a:moveTo>
                    <a:cubicBezTo>
                      <a:pt x="1924" y="19976"/>
                      <a:pt x="-372" y="22735"/>
                      <a:pt x="-71" y="25837"/>
                    </a:cubicBezTo>
                    <a:cubicBezTo>
                      <a:pt x="214" y="28751"/>
                      <a:pt x="2689" y="30946"/>
                      <a:pt x="5575" y="30946"/>
                    </a:cubicBezTo>
                    <a:cubicBezTo>
                      <a:pt x="5752" y="30946"/>
                      <a:pt x="5937" y="30946"/>
                      <a:pt x="6126" y="30920"/>
                    </a:cubicBezTo>
                    <a:cubicBezTo>
                      <a:pt x="26461" y="28988"/>
                      <a:pt x="46081" y="21824"/>
                      <a:pt x="62828" y="10173"/>
                    </a:cubicBezTo>
                    <a:cubicBezTo>
                      <a:pt x="65388" y="8379"/>
                      <a:pt x="66028" y="4865"/>
                      <a:pt x="64208" y="2310"/>
                    </a:cubicBezTo>
                    <a:cubicBezTo>
                      <a:pt x="62401" y="-243"/>
                      <a:pt x="58864" y="-854"/>
                      <a:pt x="56292" y="929"/>
                    </a:cubicBezTo>
                    <a:cubicBezTo>
                      <a:pt x="41163" y="11458"/>
                      <a:pt x="23437" y="17938"/>
                      <a:pt x="5034" y="19695"/>
                    </a:cubicBezTo>
                  </a:path>
                </a:pathLst>
              </a:custGeom>
              <a:grpFill/>
              <a:ln w="1250" cap="flat">
                <a:noFill/>
                <a:prstDash val="solid"/>
                <a:miter/>
              </a:ln>
            </p:spPr>
            <p:txBody>
              <a:bodyPr rtlCol="0" anchor="ctr"/>
              <a:lstStyle/>
              <a:p>
                <a:endParaRPr lang="en-LT"/>
              </a:p>
            </p:txBody>
          </p:sp>
          <p:sp>
            <p:nvSpPr>
              <p:cNvPr id="126" name="Freeform 125">
                <a:extLst>
                  <a:ext uri="{FF2B5EF4-FFF2-40B4-BE49-F238E27FC236}">
                    <a16:creationId xmlns:a16="http://schemas.microsoft.com/office/drawing/2014/main" id="{50F2A260-300C-B542-AB9B-EC2149CF67F8}"/>
                  </a:ext>
                </a:extLst>
              </p:cNvPr>
              <p:cNvSpPr/>
              <p:nvPr/>
            </p:nvSpPr>
            <p:spPr>
              <a:xfrm>
                <a:off x="6223929" y="3199835"/>
                <a:ext cx="88031" cy="34104"/>
              </a:xfrm>
              <a:custGeom>
                <a:avLst/>
                <a:gdLst>
                  <a:gd name="connsiteX0" fmla="*/ -87 w 88031"/>
                  <a:gd name="connsiteY0" fmla="*/ 28730 h 34104"/>
                  <a:gd name="connsiteX1" fmla="*/ 5571 w 88031"/>
                  <a:gd name="connsiteY1" fmla="*/ 34013 h 34104"/>
                  <a:gd name="connsiteX2" fmla="*/ 5948 w 88031"/>
                  <a:gd name="connsiteY2" fmla="*/ 34001 h 34104"/>
                  <a:gd name="connsiteX3" fmla="*/ 85055 w 88031"/>
                  <a:gd name="connsiteY3" fmla="*/ 10462 h 34104"/>
                  <a:gd name="connsiteX4" fmla="*/ 87188 w 88031"/>
                  <a:gd name="connsiteY4" fmla="*/ 2774 h 34104"/>
                  <a:gd name="connsiteX5" fmla="*/ 79449 w 88031"/>
                  <a:gd name="connsiteY5" fmla="*/ 655 h 34104"/>
                  <a:gd name="connsiteX6" fmla="*/ 5221 w 88031"/>
                  <a:gd name="connsiteY6" fmla="*/ 22735 h 34104"/>
                  <a:gd name="connsiteX7" fmla="*/ -85 w 88031"/>
                  <a:gd name="connsiteY7" fmla="*/ 28729 h 3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31" h="34104">
                    <a:moveTo>
                      <a:pt x="-87" y="28730"/>
                    </a:moveTo>
                    <a:cubicBezTo>
                      <a:pt x="126" y="31721"/>
                      <a:pt x="2612" y="34013"/>
                      <a:pt x="5571" y="34013"/>
                    </a:cubicBezTo>
                    <a:cubicBezTo>
                      <a:pt x="5713" y="34013"/>
                      <a:pt x="5820" y="34001"/>
                      <a:pt x="5948" y="34001"/>
                    </a:cubicBezTo>
                    <a:cubicBezTo>
                      <a:pt x="33609" y="32220"/>
                      <a:pt x="60969" y="24082"/>
                      <a:pt x="85055" y="10462"/>
                    </a:cubicBezTo>
                    <a:cubicBezTo>
                      <a:pt x="87789" y="8929"/>
                      <a:pt x="88743" y="5478"/>
                      <a:pt x="87188" y="2774"/>
                    </a:cubicBezTo>
                    <a:cubicBezTo>
                      <a:pt x="85634" y="58"/>
                      <a:pt x="82146" y="-902"/>
                      <a:pt x="79449" y="655"/>
                    </a:cubicBezTo>
                    <a:cubicBezTo>
                      <a:pt x="56843" y="13427"/>
                      <a:pt x="31176" y="21065"/>
                      <a:pt x="5221" y="22735"/>
                    </a:cubicBezTo>
                    <a:cubicBezTo>
                      <a:pt x="2099" y="22947"/>
                      <a:pt x="-286" y="25624"/>
                      <a:pt x="-85" y="28729"/>
                    </a:cubicBezTo>
                  </a:path>
                </a:pathLst>
              </a:custGeom>
              <a:grpFill/>
              <a:ln w="1250" cap="flat">
                <a:noFill/>
                <a:prstDash val="solid"/>
                <a:miter/>
              </a:ln>
            </p:spPr>
            <p:txBody>
              <a:bodyPr rtlCol="0" anchor="ctr"/>
              <a:lstStyle/>
              <a:p>
                <a:endParaRPr lang="en-LT"/>
              </a:p>
            </p:txBody>
          </p:sp>
          <p:sp>
            <p:nvSpPr>
              <p:cNvPr id="127" name="Freeform 126">
                <a:extLst>
                  <a:ext uri="{FF2B5EF4-FFF2-40B4-BE49-F238E27FC236}">
                    <a16:creationId xmlns:a16="http://schemas.microsoft.com/office/drawing/2014/main" id="{7AF4A482-0559-9D47-85C8-86DC08587932}"/>
                  </a:ext>
                </a:extLst>
              </p:cNvPr>
              <p:cNvSpPr/>
              <p:nvPr/>
            </p:nvSpPr>
            <p:spPr>
              <a:xfrm>
                <a:off x="6240963" y="3245064"/>
                <a:ext cx="65348" cy="25397"/>
              </a:xfrm>
              <a:custGeom>
                <a:avLst/>
                <a:gdLst>
                  <a:gd name="connsiteX0" fmla="*/ 64534 w 65348"/>
                  <a:gd name="connsiteY0" fmla="*/ 2789 h 25397"/>
                  <a:gd name="connsiteX1" fmla="*/ 56794 w 65348"/>
                  <a:gd name="connsiteY1" fmla="*/ 621 h 25397"/>
                  <a:gd name="connsiteX2" fmla="*/ 5548 w 65348"/>
                  <a:gd name="connsiteY2" fmla="*/ 14016 h 25397"/>
                  <a:gd name="connsiteX3" fmla="*/ -97 w 65348"/>
                  <a:gd name="connsiteY3" fmla="*/ 19698 h 25397"/>
                  <a:gd name="connsiteX4" fmla="*/ 5586 w 65348"/>
                  <a:gd name="connsiteY4" fmla="*/ 25306 h 25397"/>
                  <a:gd name="connsiteX5" fmla="*/ 5611 w 65348"/>
                  <a:gd name="connsiteY5" fmla="*/ 25306 h 25397"/>
                  <a:gd name="connsiteX6" fmla="*/ 62326 w 65348"/>
                  <a:gd name="connsiteY6" fmla="*/ 10477 h 25397"/>
                  <a:gd name="connsiteX7" fmla="*/ 64535 w 65348"/>
                  <a:gd name="connsiteY7" fmla="*/ 2789 h 2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8" h="25397">
                    <a:moveTo>
                      <a:pt x="64534" y="2789"/>
                    </a:moveTo>
                    <a:cubicBezTo>
                      <a:pt x="63005" y="73"/>
                      <a:pt x="59529" y="-887"/>
                      <a:pt x="56794" y="621"/>
                    </a:cubicBezTo>
                    <a:cubicBezTo>
                      <a:pt x="41163" y="9281"/>
                      <a:pt x="23450" y="13904"/>
                      <a:pt x="5548" y="14016"/>
                    </a:cubicBezTo>
                    <a:cubicBezTo>
                      <a:pt x="2412" y="14028"/>
                      <a:pt x="-122" y="16584"/>
                      <a:pt x="-97" y="19698"/>
                    </a:cubicBezTo>
                    <a:cubicBezTo>
                      <a:pt x="-71" y="22800"/>
                      <a:pt x="2463" y="25306"/>
                      <a:pt x="5586" y="25306"/>
                    </a:cubicBezTo>
                    <a:cubicBezTo>
                      <a:pt x="5598" y="25306"/>
                      <a:pt x="5598" y="25306"/>
                      <a:pt x="5611" y="25306"/>
                    </a:cubicBezTo>
                    <a:cubicBezTo>
                      <a:pt x="25419" y="25164"/>
                      <a:pt x="45040" y="20047"/>
                      <a:pt x="62326" y="10477"/>
                    </a:cubicBezTo>
                    <a:cubicBezTo>
                      <a:pt x="65061" y="8958"/>
                      <a:pt x="66064" y="5518"/>
                      <a:pt x="64535" y="2789"/>
                    </a:cubicBezTo>
                  </a:path>
                </a:pathLst>
              </a:custGeom>
              <a:grpFill/>
              <a:ln w="1250" cap="flat">
                <a:noFill/>
                <a:prstDash val="solid"/>
                <a:miter/>
              </a:ln>
            </p:spPr>
            <p:txBody>
              <a:bodyPr rtlCol="0" anchor="ctr"/>
              <a:lstStyle/>
              <a:p>
                <a:endParaRPr lang="en-LT"/>
              </a:p>
            </p:txBody>
          </p:sp>
          <p:sp>
            <p:nvSpPr>
              <p:cNvPr id="128" name="Freeform 127">
                <a:extLst>
                  <a:ext uri="{FF2B5EF4-FFF2-40B4-BE49-F238E27FC236}">
                    <a16:creationId xmlns:a16="http://schemas.microsoft.com/office/drawing/2014/main" id="{55BABF60-8DE8-0644-AD8D-4BE965DBCA2C}"/>
                  </a:ext>
                </a:extLst>
              </p:cNvPr>
              <p:cNvSpPr/>
              <p:nvPr/>
            </p:nvSpPr>
            <p:spPr>
              <a:xfrm>
                <a:off x="6269374" y="3270448"/>
                <a:ext cx="45447" cy="22615"/>
              </a:xfrm>
              <a:custGeom>
                <a:avLst/>
                <a:gdLst>
                  <a:gd name="connsiteX0" fmla="*/ 36110 w 45447"/>
                  <a:gd name="connsiteY0" fmla="*/ 1168 h 22615"/>
                  <a:gd name="connsiteX1" fmla="*/ 5802 w 45447"/>
                  <a:gd name="connsiteY1" fmla="*/ 11211 h 22615"/>
                  <a:gd name="connsiteX2" fmla="*/ -94 w 45447"/>
                  <a:gd name="connsiteY2" fmla="*/ 16632 h 22615"/>
                  <a:gd name="connsiteX3" fmla="*/ 5363 w 45447"/>
                  <a:gd name="connsiteY3" fmla="*/ 22488 h 22615"/>
                  <a:gd name="connsiteX4" fmla="*/ 7407 w 45447"/>
                  <a:gd name="connsiteY4" fmla="*/ 22524 h 22615"/>
                  <a:gd name="connsiteX5" fmla="*/ 43248 w 45447"/>
                  <a:gd name="connsiteY5" fmla="*/ 9950 h 22615"/>
                  <a:gd name="connsiteX6" fmla="*/ 44087 w 45447"/>
                  <a:gd name="connsiteY6" fmla="*/ 2001 h 22615"/>
                  <a:gd name="connsiteX7" fmla="*/ 36109 w 45447"/>
                  <a:gd name="connsiteY7" fmla="*/ 1167 h 2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47" h="22615">
                    <a:moveTo>
                      <a:pt x="36110" y="1168"/>
                    </a:moveTo>
                    <a:cubicBezTo>
                      <a:pt x="27680" y="7946"/>
                      <a:pt x="16641" y="11548"/>
                      <a:pt x="5802" y="11211"/>
                    </a:cubicBezTo>
                    <a:cubicBezTo>
                      <a:pt x="2765" y="10929"/>
                      <a:pt x="44" y="13517"/>
                      <a:pt x="-94" y="16632"/>
                    </a:cubicBezTo>
                    <a:cubicBezTo>
                      <a:pt x="-201" y="19747"/>
                      <a:pt x="2228" y="22376"/>
                      <a:pt x="5363" y="22488"/>
                    </a:cubicBezTo>
                    <a:cubicBezTo>
                      <a:pt x="6053" y="22513"/>
                      <a:pt x="6728" y="22524"/>
                      <a:pt x="7407" y="22524"/>
                    </a:cubicBezTo>
                    <a:cubicBezTo>
                      <a:pt x="20291" y="22524"/>
                      <a:pt x="33250" y="18000"/>
                      <a:pt x="43248" y="9950"/>
                    </a:cubicBezTo>
                    <a:cubicBezTo>
                      <a:pt x="45680" y="7983"/>
                      <a:pt x="46057" y="4430"/>
                      <a:pt x="44087" y="2001"/>
                    </a:cubicBezTo>
                    <a:cubicBezTo>
                      <a:pt x="42117" y="-430"/>
                      <a:pt x="38492" y="-790"/>
                      <a:pt x="36109" y="1167"/>
                    </a:cubicBezTo>
                  </a:path>
                </a:pathLst>
              </a:custGeom>
              <a:grpFill/>
              <a:ln w="1250" cap="flat">
                <a:noFill/>
                <a:prstDash val="solid"/>
                <a:miter/>
              </a:ln>
            </p:spPr>
            <p:txBody>
              <a:bodyPr rtlCol="0" anchor="ctr"/>
              <a:lstStyle/>
              <a:p>
                <a:endParaRPr lang="en-LT"/>
              </a:p>
            </p:txBody>
          </p:sp>
          <p:sp>
            <p:nvSpPr>
              <p:cNvPr id="129" name="Freeform 128">
                <a:extLst>
                  <a:ext uri="{FF2B5EF4-FFF2-40B4-BE49-F238E27FC236}">
                    <a16:creationId xmlns:a16="http://schemas.microsoft.com/office/drawing/2014/main" id="{B8DC9B8B-8561-C946-9939-A5D37AC4384C}"/>
                  </a:ext>
                </a:extLst>
              </p:cNvPr>
              <p:cNvSpPr/>
              <p:nvPr/>
            </p:nvSpPr>
            <p:spPr>
              <a:xfrm>
                <a:off x="5982469" y="2863849"/>
                <a:ext cx="64071" cy="123469"/>
              </a:xfrm>
              <a:custGeom>
                <a:avLst/>
                <a:gdLst>
                  <a:gd name="connsiteX0" fmla="*/ 26086 w 64071"/>
                  <a:gd name="connsiteY0" fmla="*/ 11368 h 123469"/>
                  <a:gd name="connsiteX1" fmla="*/ 47523 w 64071"/>
                  <a:gd name="connsiteY1" fmla="*/ 28654 h 123469"/>
                  <a:gd name="connsiteX2" fmla="*/ 51248 w 64071"/>
                  <a:gd name="connsiteY2" fmla="*/ 40130 h 123469"/>
                  <a:gd name="connsiteX3" fmla="*/ 49108 w 64071"/>
                  <a:gd name="connsiteY3" fmla="*/ 85096 h 123469"/>
                  <a:gd name="connsiteX4" fmla="*/ 46789 w 64071"/>
                  <a:gd name="connsiteY4" fmla="*/ 99902 h 123469"/>
                  <a:gd name="connsiteX5" fmla="*/ 18389 w 64071"/>
                  <a:gd name="connsiteY5" fmla="*/ 46330 h 123469"/>
                  <a:gd name="connsiteX6" fmla="*/ 11775 w 64071"/>
                  <a:gd name="connsiteY6" fmla="*/ 30409 h 123469"/>
                  <a:gd name="connsiteX7" fmla="*/ 6211 w 64071"/>
                  <a:gd name="connsiteY7" fmla="*/ 31554 h 123469"/>
                  <a:gd name="connsiteX8" fmla="*/ 11620 w 64071"/>
                  <a:gd name="connsiteY8" fmla="*/ 29601 h 123469"/>
                  <a:gd name="connsiteX9" fmla="*/ 14586 w 64071"/>
                  <a:gd name="connsiteY9" fmla="*/ 15629 h 123469"/>
                  <a:gd name="connsiteX10" fmla="*/ 26085 w 64071"/>
                  <a:gd name="connsiteY10" fmla="*/ 11366 h 123469"/>
                  <a:gd name="connsiteX11" fmla="*/ 434 w 64071"/>
                  <a:gd name="connsiteY11" fmla="*/ 31559 h 123469"/>
                  <a:gd name="connsiteX12" fmla="*/ 647 w 64071"/>
                  <a:gd name="connsiteY12" fmla="*/ 32698 h 123469"/>
                  <a:gd name="connsiteX13" fmla="*/ 8238 w 64071"/>
                  <a:gd name="connsiteY13" fmla="*/ 51408 h 123469"/>
                  <a:gd name="connsiteX14" fmla="*/ 37383 w 64071"/>
                  <a:gd name="connsiteY14" fmla="*/ 106277 h 123469"/>
                  <a:gd name="connsiteX15" fmla="*/ 46366 w 64071"/>
                  <a:gd name="connsiteY15" fmla="*/ 120794 h 123469"/>
                  <a:gd name="connsiteX16" fmla="*/ 52762 w 64071"/>
                  <a:gd name="connsiteY16" fmla="*/ 123143 h 123469"/>
                  <a:gd name="connsiteX17" fmla="*/ 56834 w 64071"/>
                  <a:gd name="connsiteY17" fmla="*/ 117724 h 123469"/>
                  <a:gd name="connsiteX18" fmla="*/ 60315 w 64071"/>
                  <a:gd name="connsiteY18" fmla="*/ 86977 h 123469"/>
                  <a:gd name="connsiteX19" fmla="*/ 62381 w 64071"/>
                  <a:gd name="connsiteY19" fmla="*/ 37840 h 123469"/>
                  <a:gd name="connsiteX20" fmla="*/ 57899 w 64071"/>
                  <a:gd name="connsiteY20" fmla="*/ 24026 h 123469"/>
                  <a:gd name="connsiteX21" fmla="*/ 27787 w 64071"/>
                  <a:gd name="connsiteY21" fmla="*/ 215 h 123469"/>
                  <a:gd name="connsiteX22" fmla="*/ 6073 w 64071"/>
                  <a:gd name="connsiteY22" fmla="*/ 8144 h 123469"/>
                  <a:gd name="connsiteX23" fmla="*/ 437 w 64071"/>
                  <a:gd name="connsiteY23" fmla="*/ 31560 h 12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071" h="123469">
                    <a:moveTo>
                      <a:pt x="26086" y="11368"/>
                    </a:moveTo>
                    <a:cubicBezTo>
                      <a:pt x="34820" y="12702"/>
                      <a:pt x="44225" y="21380"/>
                      <a:pt x="47523" y="28654"/>
                    </a:cubicBezTo>
                    <a:cubicBezTo>
                      <a:pt x="49187" y="32333"/>
                      <a:pt x="50403" y="36079"/>
                      <a:pt x="51248" y="40130"/>
                    </a:cubicBezTo>
                    <a:cubicBezTo>
                      <a:pt x="54257" y="54564"/>
                      <a:pt x="51753" y="69396"/>
                      <a:pt x="49108" y="85096"/>
                    </a:cubicBezTo>
                    <a:cubicBezTo>
                      <a:pt x="48283" y="89987"/>
                      <a:pt x="47454" y="94929"/>
                      <a:pt x="46789" y="99902"/>
                    </a:cubicBezTo>
                    <a:cubicBezTo>
                      <a:pt x="37860" y="84852"/>
                      <a:pt x="28606" y="67375"/>
                      <a:pt x="18389" y="46330"/>
                    </a:cubicBezTo>
                    <a:cubicBezTo>
                      <a:pt x="15824" y="41474"/>
                      <a:pt x="12925" y="35925"/>
                      <a:pt x="11775" y="30409"/>
                    </a:cubicBezTo>
                    <a:lnTo>
                      <a:pt x="6211" y="31554"/>
                    </a:lnTo>
                    <a:lnTo>
                      <a:pt x="11620" y="29601"/>
                    </a:lnTo>
                    <a:cubicBezTo>
                      <a:pt x="10646" y="24050"/>
                      <a:pt x="11727" y="18823"/>
                      <a:pt x="14586" y="15629"/>
                    </a:cubicBezTo>
                    <a:cubicBezTo>
                      <a:pt x="17736" y="12066"/>
                      <a:pt x="21510" y="10681"/>
                      <a:pt x="26085" y="11366"/>
                    </a:cubicBezTo>
                    <a:close/>
                    <a:moveTo>
                      <a:pt x="434" y="31559"/>
                    </a:moveTo>
                    <a:cubicBezTo>
                      <a:pt x="448" y="31629"/>
                      <a:pt x="647" y="32650"/>
                      <a:pt x="647" y="32698"/>
                    </a:cubicBezTo>
                    <a:cubicBezTo>
                      <a:pt x="2119" y="39763"/>
                      <a:pt x="5411" y="46022"/>
                      <a:pt x="8238" y="51408"/>
                    </a:cubicBezTo>
                    <a:cubicBezTo>
                      <a:pt x="18652" y="72846"/>
                      <a:pt x="28188" y="90811"/>
                      <a:pt x="37383" y="106277"/>
                    </a:cubicBezTo>
                    <a:cubicBezTo>
                      <a:pt x="40320" y="111208"/>
                      <a:pt x="43315" y="116052"/>
                      <a:pt x="46366" y="120794"/>
                    </a:cubicBezTo>
                    <a:cubicBezTo>
                      <a:pt x="47743" y="122902"/>
                      <a:pt x="50336" y="123859"/>
                      <a:pt x="52762" y="123143"/>
                    </a:cubicBezTo>
                    <a:cubicBezTo>
                      <a:pt x="55173" y="122431"/>
                      <a:pt x="56840" y="120215"/>
                      <a:pt x="56834" y="117724"/>
                    </a:cubicBezTo>
                    <a:cubicBezTo>
                      <a:pt x="56817" y="107751"/>
                      <a:pt x="58515" y="97654"/>
                      <a:pt x="60315" y="86977"/>
                    </a:cubicBezTo>
                    <a:cubicBezTo>
                      <a:pt x="63017" y="70935"/>
                      <a:pt x="65820" y="54337"/>
                      <a:pt x="62381" y="37840"/>
                    </a:cubicBezTo>
                    <a:cubicBezTo>
                      <a:pt x="61382" y="33045"/>
                      <a:pt x="59860" y="28395"/>
                      <a:pt x="57899" y="24026"/>
                    </a:cubicBezTo>
                    <a:cubicBezTo>
                      <a:pt x="53337" y="14008"/>
                      <a:pt x="41251" y="2242"/>
                      <a:pt x="27787" y="215"/>
                    </a:cubicBezTo>
                    <a:cubicBezTo>
                      <a:pt x="19346" y="-1065"/>
                      <a:pt x="11834" y="1678"/>
                      <a:pt x="6073" y="8144"/>
                    </a:cubicBezTo>
                    <a:cubicBezTo>
                      <a:pt x="882" y="13971"/>
                      <a:pt x="-1168" y="22512"/>
                      <a:pt x="437" y="31560"/>
                    </a:cubicBezTo>
                  </a:path>
                </a:pathLst>
              </a:custGeom>
              <a:grpFill/>
              <a:ln w="1250" cap="flat">
                <a:noFill/>
                <a:prstDash val="solid"/>
                <a:miter/>
              </a:ln>
            </p:spPr>
            <p:txBody>
              <a:bodyPr rtlCol="0" anchor="ctr"/>
              <a:lstStyle/>
              <a:p>
                <a:endParaRPr lang="en-LT"/>
              </a:p>
            </p:txBody>
          </p:sp>
          <p:sp>
            <p:nvSpPr>
              <p:cNvPr id="130" name="Freeform 129">
                <a:extLst>
                  <a:ext uri="{FF2B5EF4-FFF2-40B4-BE49-F238E27FC236}">
                    <a16:creationId xmlns:a16="http://schemas.microsoft.com/office/drawing/2014/main" id="{A670805F-28A8-E445-BB50-A261D743AEB0}"/>
                  </a:ext>
                </a:extLst>
              </p:cNvPr>
              <p:cNvSpPr/>
              <p:nvPr/>
            </p:nvSpPr>
            <p:spPr>
              <a:xfrm>
                <a:off x="6269488" y="2922538"/>
                <a:ext cx="91459" cy="100502"/>
              </a:xfrm>
              <a:custGeom>
                <a:avLst/>
                <a:gdLst>
                  <a:gd name="connsiteX0" fmla="*/ 19193 w 91459"/>
                  <a:gd name="connsiteY0" fmla="*/ 72828 h 100502"/>
                  <a:gd name="connsiteX1" fmla="*/ 62616 w 91459"/>
                  <a:gd name="connsiteY1" fmla="*/ 12738 h 100502"/>
                  <a:gd name="connsiteX2" fmla="*/ 72478 w 91459"/>
                  <a:gd name="connsiteY2" fmla="*/ 11902 h 100502"/>
                  <a:gd name="connsiteX3" fmla="*/ 79111 w 91459"/>
                  <a:gd name="connsiteY3" fmla="*/ 21948 h 100502"/>
                  <a:gd name="connsiteX4" fmla="*/ 78620 w 91459"/>
                  <a:gd name="connsiteY4" fmla="*/ 35573 h 100502"/>
                  <a:gd name="connsiteX5" fmla="*/ 50583 w 91459"/>
                  <a:gd name="connsiteY5" fmla="*/ 61672 h 100502"/>
                  <a:gd name="connsiteX6" fmla="*/ 35917 w 91459"/>
                  <a:gd name="connsiteY6" fmla="*/ 70685 h 100502"/>
                  <a:gd name="connsiteX7" fmla="*/ 15479 w 91459"/>
                  <a:gd name="connsiteY7" fmla="*/ 83077 h 100502"/>
                  <a:gd name="connsiteX8" fmla="*/ 19178 w 91459"/>
                  <a:gd name="connsiteY8" fmla="*/ 72823 h 100502"/>
                  <a:gd name="connsiteX9" fmla="*/ 41975 w 91459"/>
                  <a:gd name="connsiteY9" fmla="*/ 80236 h 100502"/>
                  <a:gd name="connsiteX10" fmla="*/ 56433 w 91459"/>
                  <a:gd name="connsiteY10" fmla="*/ 71346 h 100502"/>
                  <a:gd name="connsiteX11" fmla="*/ 89257 w 91459"/>
                  <a:gd name="connsiteY11" fmla="*/ 39554 h 100502"/>
                  <a:gd name="connsiteX12" fmla="*/ 90071 w 91459"/>
                  <a:gd name="connsiteY12" fmla="*/ 18926 h 100502"/>
                  <a:gd name="connsiteX13" fmla="*/ 77365 w 91459"/>
                  <a:gd name="connsiteY13" fmla="*/ 1707 h 100502"/>
                  <a:gd name="connsiteX14" fmla="*/ 58047 w 91459"/>
                  <a:gd name="connsiteY14" fmla="*/ 2414 h 100502"/>
                  <a:gd name="connsiteX15" fmla="*/ 8558 w 91459"/>
                  <a:gd name="connsiteY15" fmla="*/ 68849 h 100502"/>
                  <a:gd name="connsiteX16" fmla="*/ 179 w 91459"/>
                  <a:gd name="connsiteY16" fmla="*/ 93024 h 100502"/>
                  <a:gd name="connsiteX17" fmla="*/ 1868 w 91459"/>
                  <a:gd name="connsiteY17" fmla="*/ 99035 h 100502"/>
                  <a:gd name="connsiteX18" fmla="*/ 8106 w 91459"/>
                  <a:gd name="connsiteY18" fmla="*/ 99837 h 100502"/>
                  <a:gd name="connsiteX19" fmla="*/ 41977 w 91459"/>
                  <a:gd name="connsiteY19" fmla="*/ 80235 h 10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459" h="100502">
                    <a:moveTo>
                      <a:pt x="19193" y="72828"/>
                    </a:moveTo>
                    <a:cubicBezTo>
                      <a:pt x="31776" y="39653"/>
                      <a:pt x="45974" y="19999"/>
                      <a:pt x="62616" y="12738"/>
                    </a:cubicBezTo>
                    <a:cubicBezTo>
                      <a:pt x="66631" y="10991"/>
                      <a:pt x="69940" y="10712"/>
                      <a:pt x="72478" y="11902"/>
                    </a:cubicBezTo>
                    <a:cubicBezTo>
                      <a:pt x="76133" y="13647"/>
                      <a:pt x="78105" y="18309"/>
                      <a:pt x="79111" y="21948"/>
                    </a:cubicBezTo>
                    <a:cubicBezTo>
                      <a:pt x="80448" y="26723"/>
                      <a:pt x="80284" y="31188"/>
                      <a:pt x="78620" y="35573"/>
                    </a:cubicBezTo>
                    <a:cubicBezTo>
                      <a:pt x="74573" y="46242"/>
                      <a:pt x="62178" y="54746"/>
                      <a:pt x="50583" y="61672"/>
                    </a:cubicBezTo>
                    <a:cubicBezTo>
                      <a:pt x="45693" y="64596"/>
                      <a:pt x="40816" y="67631"/>
                      <a:pt x="35917" y="70685"/>
                    </a:cubicBezTo>
                    <a:cubicBezTo>
                      <a:pt x="29224" y="74865"/>
                      <a:pt x="22389" y="79137"/>
                      <a:pt x="15479" y="83077"/>
                    </a:cubicBezTo>
                    <a:cubicBezTo>
                      <a:pt x="16627" y="79750"/>
                      <a:pt x="17854" y="76309"/>
                      <a:pt x="19178" y="72823"/>
                    </a:cubicBezTo>
                    <a:close/>
                    <a:moveTo>
                      <a:pt x="41975" y="80236"/>
                    </a:moveTo>
                    <a:cubicBezTo>
                      <a:pt x="46794" y="77219"/>
                      <a:pt x="51613" y="74229"/>
                      <a:pt x="56433" y="71346"/>
                    </a:cubicBezTo>
                    <a:cubicBezTo>
                      <a:pt x="70365" y="63030"/>
                      <a:pt x="83998" y="53418"/>
                      <a:pt x="89257" y="39554"/>
                    </a:cubicBezTo>
                    <a:cubicBezTo>
                      <a:pt x="91764" y="32942"/>
                      <a:pt x="92027" y="25997"/>
                      <a:pt x="90071" y="18926"/>
                    </a:cubicBezTo>
                    <a:cubicBezTo>
                      <a:pt x="87095" y="8252"/>
                      <a:pt x="81512" y="3672"/>
                      <a:pt x="77365" y="1707"/>
                    </a:cubicBezTo>
                    <a:cubicBezTo>
                      <a:pt x="73476" y="-126"/>
                      <a:pt x="66976" y="-1475"/>
                      <a:pt x="58047" y="2414"/>
                    </a:cubicBezTo>
                    <a:cubicBezTo>
                      <a:pt x="31964" y="13785"/>
                      <a:pt x="17311" y="45772"/>
                      <a:pt x="8558" y="68849"/>
                    </a:cubicBezTo>
                    <a:cubicBezTo>
                      <a:pt x="5280" y="77489"/>
                      <a:pt x="2529" y="85807"/>
                      <a:pt x="179" y="93024"/>
                    </a:cubicBezTo>
                    <a:cubicBezTo>
                      <a:pt x="-525" y="95183"/>
                      <a:pt x="144" y="97549"/>
                      <a:pt x="1868" y="99035"/>
                    </a:cubicBezTo>
                    <a:cubicBezTo>
                      <a:pt x="3597" y="100520"/>
                      <a:pt x="6055" y="100828"/>
                      <a:pt x="8106" y="99837"/>
                    </a:cubicBezTo>
                    <a:cubicBezTo>
                      <a:pt x="19770" y="94108"/>
                      <a:pt x="31065" y="87057"/>
                      <a:pt x="41977" y="80235"/>
                    </a:cubicBezTo>
                  </a:path>
                </a:pathLst>
              </a:custGeom>
              <a:grpFill/>
              <a:ln w="1250" cap="flat">
                <a:noFill/>
                <a:prstDash val="solid"/>
                <a:miter/>
              </a:ln>
            </p:spPr>
            <p:txBody>
              <a:bodyPr rtlCol="0" anchor="ctr"/>
              <a:lstStyle/>
              <a:p>
                <a:endParaRPr lang="en-LT"/>
              </a:p>
            </p:txBody>
          </p:sp>
        </p:grpSp>
        <p:sp>
          <p:nvSpPr>
            <p:cNvPr id="116" name="TextBox 115">
              <a:extLst>
                <a:ext uri="{FF2B5EF4-FFF2-40B4-BE49-F238E27FC236}">
                  <a16:creationId xmlns:a16="http://schemas.microsoft.com/office/drawing/2014/main" id="{25F097BE-7BA9-074C-93EF-077EFD4CB9CE}"/>
                </a:ext>
              </a:extLst>
            </p:cNvPr>
            <p:cNvSpPr txBox="1"/>
            <p:nvPr/>
          </p:nvSpPr>
          <p:spPr>
            <a:xfrm>
              <a:off x="2596110" y="2633577"/>
              <a:ext cx="1301959" cy="400110"/>
            </a:xfrm>
            <a:prstGeom prst="rect">
              <a:avLst/>
            </a:prstGeom>
            <a:noFill/>
          </p:spPr>
          <p:txBody>
            <a:bodyPr wrap="none" rtlCol="0">
              <a:spAutoFit/>
            </a:bodyPr>
            <a:lstStyle/>
            <a:p>
              <a:pPr algn="ctr"/>
              <a:r>
                <a:rPr lang="en-LT" sz="2000" b="1" spc="300">
                  <a:solidFill>
                    <a:schemeClr val="bg1"/>
                  </a:solidFill>
                  <a:latin typeface="Montserrat" pitchFamily="2" charset="77"/>
                </a:rPr>
                <a:t>IDEA 2</a:t>
              </a:r>
            </a:p>
          </p:txBody>
        </p:sp>
        <p:sp>
          <p:nvSpPr>
            <p:cNvPr id="117" name="TextBox 116">
              <a:extLst>
                <a:ext uri="{FF2B5EF4-FFF2-40B4-BE49-F238E27FC236}">
                  <a16:creationId xmlns:a16="http://schemas.microsoft.com/office/drawing/2014/main" id="{39FCA395-21F0-E948-BDCF-A898F148E23C}"/>
                </a:ext>
              </a:extLst>
            </p:cNvPr>
            <p:cNvSpPr txBox="1"/>
            <p:nvPr/>
          </p:nvSpPr>
          <p:spPr>
            <a:xfrm>
              <a:off x="2630574" y="2957463"/>
              <a:ext cx="1233030" cy="523220"/>
            </a:xfrm>
            <a:prstGeom prst="rect">
              <a:avLst/>
            </a:prstGeom>
            <a:noFill/>
          </p:spPr>
          <p:txBody>
            <a:bodyPr wrap="none" rtlCol="0">
              <a:spAutoFit/>
            </a:bodyPr>
            <a:lstStyle/>
            <a:p>
              <a:pPr algn="ctr"/>
              <a:r>
                <a:rPr lang="en-LT" sz="1400">
                  <a:solidFill>
                    <a:schemeClr val="bg1"/>
                  </a:solidFill>
                  <a:latin typeface="Montserrat" pitchFamily="2" charset="77"/>
                </a:rPr>
                <a:t>Insert more</a:t>
              </a:r>
            </a:p>
            <a:p>
              <a:pPr algn="ctr"/>
              <a:r>
                <a:rPr lang="en-GB" sz="1400">
                  <a:solidFill>
                    <a:schemeClr val="bg1"/>
                  </a:solidFill>
                  <a:latin typeface="Montserrat" pitchFamily="2" charset="77"/>
                </a:rPr>
                <a:t>info</a:t>
              </a:r>
              <a:r>
                <a:rPr lang="en-LT" sz="1400">
                  <a:solidFill>
                    <a:schemeClr val="bg1"/>
                  </a:solidFill>
                  <a:latin typeface="Montserrat" pitchFamily="2" charset="77"/>
                </a:rPr>
                <a:t> here</a:t>
              </a:r>
            </a:p>
          </p:txBody>
        </p:sp>
      </p:grpSp>
      <p:grpSp>
        <p:nvGrpSpPr>
          <p:cNvPr id="131" name="Group 130">
            <a:extLst>
              <a:ext uri="{FF2B5EF4-FFF2-40B4-BE49-F238E27FC236}">
                <a16:creationId xmlns:a16="http://schemas.microsoft.com/office/drawing/2014/main" id="{8D4B8F63-7B19-4240-AC4F-2B3589E45667}"/>
              </a:ext>
            </a:extLst>
          </p:cNvPr>
          <p:cNvGrpSpPr/>
          <p:nvPr/>
        </p:nvGrpSpPr>
        <p:grpSpPr>
          <a:xfrm>
            <a:off x="8900967" y="1452566"/>
            <a:ext cx="1303562" cy="2028117"/>
            <a:chOff x="2595308" y="1452566"/>
            <a:chExt cx="1303562" cy="2028117"/>
          </a:xfrm>
        </p:grpSpPr>
        <p:grpSp>
          <p:nvGrpSpPr>
            <p:cNvPr id="132" name="Graphic 4">
              <a:extLst>
                <a:ext uri="{FF2B5EF4-FFF2-40B4-BE49-F238E27FC236}">
                  <a16:creationId xmlns:a16="http://schemas.microsoft.com/office/drawing/2014/main" id="{F566A078-10A0-5F4E-8567-D1B9036E74D3}"/>
                </a:ext>
              </a:extLst>
            </p:cNvPr>
            <p:cNvGrpSpPr/>
            <p:nvPr/>
          </p:nvGrpSpPr>
          <p:grpSpPr>
            <a:xfrm>
              <a:off x="2791854" y="1452566"/>
              <a:ext cx="910470" cy="1143028"/>
              <a:chOff x="5651500" y="2863849"/>
              <a:chExt cx="887355" cy="1114011"/>
            </a:xfrm>
            <a:solidFill>
              <a:schemeClr val="bg1"/>
            </a:solidFill>
          </p:grpSpPr>
          <p:sp>
            <p:nvSpPr>
              <p:cNvPr id="135" name="Freeform 134">
                <a:extLst>
                  <a:ext uri="{FF2B5EF4-FFF2-40B4-BE49-F238E27FC236}">
                    <a16:creationId xmlns:a16="http://schemas.microsoft.com/office/drawing/2014/main" id="{F9F961DB-5A69-DD4B-8EBD-A9D846B94A27}"/>
                  </a:ext>
                </a:extLst>
              </p:cNvPr>
              <p:cNvSpPr/>
              <p:nvPr/>
            </p:nvSpPr>
            <p:spPr>
              <a:xfrm>
                <a:off x="5818376" y="3028309"/>
                <a:ext cx="555527" cy="949552"/>
              </a:xfrm>
              <a:custGeom>
                <a:avLst/>
                <a:gdLst>
                  <a:gd name="connsiteX0" fmla="*/ 152752 w 555527"/>
                  <a:gd name="connsiteY0" fmla="*/ 394768 h 949552"/>
                  <a:gd name="connsiteX1" fmla="*/ 134073 w 555527"/>
                  <a:gd name="connsiteY1" fmla="*/ 390120 h 949552"/>
                  <a:gd name="connsiteX2" fmla="*/ 119257 w 555527"/>
                  <a:gd name="connsiteY2" fmla="*/ 362955 h 949552"/>
                  <a:gd name="connsiteX3" fmla="*/ 123008 w 555527"/>
                  <a:gd name="connsiteY3" fmla="*/ 353111 h 949552"/>
                  <a:gd name="connsiteX4" fmla="*/ 124061 w 555527"/>
                  <a:gd name="connsiteY4" fmla="*/ 352935 h 949552"/>
                  <a:gd name="connsiteX5" fmla="*/ 133081 w 555527"/>
                  <a:gd name="connsiteY5" fmla="*/ 358019 h 949552"/>
                  <a:gd name="connsiteX6" fmla="*/ 147746 w 555527"/>
                  <a:gd name="connsiteY6" fmla="*/ 382616 h 949552"/>
                  <a:gd name="connsiteX7" fmla="*/ 152751 w 555527"/>
                  <a:gd name="connsiteY7" fmla="*/ 394778 h 949552"/>
                  <a:gd name="connsiteX8" fmla="*/ 385106 w 555527"/>
                  <a:gd name="connsiteY8" fmla="*/ 380488 h 949552"/>
                  <a:gd name="connsiteX9" fmla="*/ 405128 w 555527"/>
                  <a:gd name="connsiteY9" fmla="*/ 352177 h 949552"/>
                  <a:gd name="connsiteX10" fmla="*/ 426291 w 555527"/>
                  <a:gd name="connsiteY10" fmla="*/ 346420 h 949552"/>
                  <a:gd name="connsiteX11" fmla="*/ 433190 w 555527"/>
                  <a:gd name="connsiteY11" fmla="*/ 351479 h 949552"/>
                  <a:gd name="connsiteX12" fmla="*/ 419015 w 555527"/>
                  <a:gd name="connsiteY12" fmla="*/ 373971 h 949552"/>
                  <a:gd name="connsiteX13" fmla="*/ 385106 w 555527"/>
                  <a:gd name="connsiteY13" fmla="*/ 380488 h 949552"/>
                  <a:gd name="connsiteX14" fmla="*/ 139693 w 555527"/>
                  <a:gd name="connsiteY14" fmla="*/ 51424 h 949552"/>
                  <a:gd name="connsiteX15" fmla="*/ 498185 w 555527"/>
                  <a:gd name="connsiteY15" fmla="*/ 104344 h 949552"/>
                  <a:gd name="connsiteX16" fmla="*/ 502375 w 555527"/>
                  <a:gd name="connsiteY16" fmla="*/ 409696 h 949552"/>
                  <a:gd name="connsiteX17" fmla="*/ 457653 w 555527"/>
                  <a:gd name="connsiteY17" fmla="*/ 470093 h 949552"/>
                  <a:gd name="connsiteX18" fmla="*/ 441482 w 555527"/>
                  <a:gd name="connsiteY18" fmla="*/ 489183 h 949552"/>
                  <a:gd name="connsiteX19" fmla="*/ 399784 w 555527"/>
                  <a:gd name="connsiteY19" fmla="*/ 587536 h 949552"/>
                  <a:gd name="connsiteX20" fmla="*/ 392595 w 555527"/>
                  <a:gd name="connsiteY20" fmla="*/ 625566 h 949552"/>
                  <a:gd name="connsiteX21" fmla="*/ 331377 w 555527"/>
                  <a:gd name="connsiteY21" fmla="*/ 772753 h 949552"/>
                  <a:gd name="connsiteX22" fmla="*/ 330172 w 555527"/>
                  <a:gd name="connsiteY22" fmla="*/ 774409 h 949552"/>
                  <a:gd name="connsiteX23" fmla="*/ 304856 w 555527"/>
                  <a:gd name="connsiteY23" fmla="*/ 780453 h 949552"/>
                  <a:gd name="connsiteX24" fmla="*/ 374981 w 555527"/>
                  <a:gd name="connsiteY24" fmla="*/ 411689 h 949552"/>
                  <a:gd name="connsiteX25" fmla="*/ 380990 w 555527"/>
                  <a:gd name="connsiteY25" fmla="*/ 391415 h 949552"/>
                  <a:gd name="connsiteX26" fmla="*/ 424094 w 555527"/>
                  <a:gd name="connsiteY26" fmla="*/ 384076 h 949552"/>
                  <a:gd name="connsiteX27" fmla="*/ 443413 w 555527"/>
                  <a:gd name="connsiteY27" fmla="*/ 346556 h 949552"/>
                  <a:gd name="connsiteX28" fmla="*/ 428761 w 555527"/>
                  <a:gd name="connsiteY28" fmla="*/ 335391 h 949552"/>
                  <a:gd name="connsiteX29" fmla="*/ 398014 w 555527"/>
                  <a:gd name="connsiteY29" fmla="*/ 343391 h 949552"/>
                  <a:gd name="connsiteX30" fmla="*/ 373526 w 555527"/>
                  <a:gd name="connsiteY30" fmla="*/ 378780 h 949552"/>
                  <a:gd name="connsiteX31" fmla="*/ 346856 w 555527"/>
                  <a:gd name="connsiteY31" fmla="*/ 365833 h 949552"/>
                  <a:gd name="connsiteX32" fmla="*/ 333320 w 555527"/>
                  <a:gd name="connsiteY32" fmla="*/ 350382 h 949552"/>
                  <a:gd name="connsiteX33" fmla="*/ 357670 w 555527"/>
                  <a:gd name="connsiteY33" fmla="*/ 305722 h 949552"/>
                  <a:gd name="connsiteX34" fmla="*/ 353154 w 555527"/>
                  <a:gd name="connsiteY34" fmla="*/ 278832 h 949552"/>
                  <a:gd name="connsiteX35" fmla="*/ 340810 w 555527"/>
                  <a:gd name="connsiteY35" fmla="*/ 271057 h 949552"/>
                  <a:gd name="connsiteX36" fmla="*/ 314102 w 555527"/>
                  <a:gd name="connsiteY36" fmla="*/ 293984 h 949552"/>
                  <a:gd name="connsiteX37" fmla="*/ 319120 w 555527"/>
                  <a:gd name="connsiteY37" fmla="*/ 347890 h 949552"/>
                  <a:gd name="connsiteX38" fmla="*/ 279930 w 555527"/>
                  <a:gd name="connsiteY38" fmla="*/ 362157 h 949552"/>
                  <a:gd name="connsiteX39" fmla="*/ 279574 w 555527"/>
                  <a:gd name="connsiteY39" fmla="*/ 362157 h 949552"/>
                  <a:gd name="connsiteX40" fmla="*/ 238804 w 555527"/>
                  <a:gd name="connsiteY40" fmla="*/ 344737 h 949552"/>
                  <a:gd name="connsiteX41" fmla="*/ 249090 w 555527"/>
                  <a:gd name="connsiteY41" fmla="*/ 318843 h 949552"/>
                  <a:gd name="connsiteX42" fmla="*/ 245051 w 555527"/>
                  <a:gd name="connsiteY42" fmla="*/ 287430 h 949552"/>
                  <a:gd name="connsiteX43" fmla="*/ 225745 w 555527"/>
                  <a:gd name="connsiteY43" fmla="*/ 281723 h 949552"/>
                  <a:gd name="connsiteX44" fmla="*/ 209072 w 555527"/>
                  <a:gd name="connsiteY44" fmla="*/ 292900 h 949552"/>
                  <a:gd name="connsiteX45" fmla="*/ 214065 w 555527"/>
                  <a:gd name="connsiteY45" fmla="*/ 327616 h 949552"/>
                  <a:gd name="connsiteX46" fmla="*/ 224954 w 555527"/>
                  <a:gd name="connsiteY46" fmla="*/ 346444 h 949552"/>
                  <a:gd name="connsiteX47" fmla="*/ 183908 w 555527"/>
                  <a:gd name="connsiteY47" fmla="*/ 387752 h 949552"/>
                  <a:gd name="connsiteX48" fmla="*/ 164702 w 555527"/>
                  <a:gd name="connsiteY48" fmla="*/ 394069 h 949552"/>
                  <a:gd name="connsiteX49" fmla="*/ 158242 w 555527"/>
                  <a:gd name="connsiteY49" fmla="*/ 378281 h 949552"/>
                  <a:gd name="connsiteX50" fmla="*/ 140767 w 555527"/>
                  <a:gd name="connsiteY50" fmla="*/ 349696 h 949552"/>
                  <a:gd name="connsiteX51" fmla="*/ 118613 w 555527"/>
                  <a:gd name="connsiteY51" fmla="*/ 342706 h 949552"/>
                  <a:gd name="connsiteX52" fmla="*/ 107887 w 555527"/>
                  <a:gd name="connsiteY52" fmla="*/ 362618 h 949552"/>
                  <a:gd name="connsiteX53" fmla="*/ 129063 w 555527"/>
                  <a:gd name="connsiteY53" fmla="*/ 400237 h 949552"/>
                  <a:gd name="connsiteX54" fmla="*/ 157288 w 555527"/>
                  <a:gd name="connsiteY54" fmla="*/ 406081 h 949552"/>
                  <a:gd name="connsiteX55" fmla="*/ 252491 w 555527"/>
                  <a:gd name="connsiteY55" fmla="*/ 779768 h 949552"/>
                  <a:gd name="connsiteX56" fmla="*/ 221957 w 555527"/>
                  <a:gd name="connsiteY56" fmla="*/ 775120 h 949552"/>
                  <a:gd name="connsiteX57" fmla="*/ 220751 w 555527"/>
                  <a:gd name="connsiteY57" fmla="*/ 772803 h 949552"/>
                  <a:gd name="connsiteX58" fmla="*/ 162632 w 555527"/>
                  <a:gd name="connsiteY58" fmla="*/ 632008 h 949552"/>
                  <a:gd name="connsiteX59" fmla="*/ 147929 w 555527"/>
                  <a:gd name="connsiteY59" fmla="*/ 567275 h 949552"/>
                  <a:gd name="connsiteX60" fmla="*/ 86974 w 555527"/>
                  <a:gd name="connsiteY60" fmla="*/ 467676 h 949552"/>
                  <a:gd name="connsiteX61" fmla="*/ 35064 w 555527"/>
                  <a:gd name="connsiteY61" fmla="*/ 391466 h 949552"/>
                  <a:gd name="connsiteX62" fmla="*/ 139687 w 555527"/>
                  <a:gd name="connsiteY62" fmla="*/ 51424 h 949552"/>
                  <a:gd name="connsiteX63" fmla="*/ 325055 w 555527"/>
                  <a:gd name="connsiteY63" fmla="*/ 297026 h 949552"/>
                  <a:gd name="connsiteX64" fmla="*/ 338051 w 555527"/>
                  <a:gd name="connsiteY64" fmla="*/ 282135 h 949552"/>
                  <a:gd name="connsiteX65" fmla="*/ 339068 w 555527"/>
                  <a:gd name="connsiteY65" fmla="*/ 282241 h 949552"/>
                  <a:gd name="connsiteX66" fmla="*/ 343885 w 555527"/>
                  <a:gd name="connsiteY66" fmla="*/ 285367 h 949552"/>
                  <a:gd name="connsiteX67" fmla="*/ 346506 w 555527"/>
                  <a:gd name="connsiteY67" fmla="*/ 303647 h 949552"/>
                  <a:gd name="connsiteX68" fmla="*/ 327915 w 555527"/>
                  <a:gd name="connsiteY68" fmla="*/ 339858 h 949552"/>
                  <a:gd name="connsiteX69" fmla="*/ 325056 w 555527"/>
                  <a:gd name="connsiteY69" fmla="*/ 297042 h 949552"/>
                  <a:gd name="connsiteX70" fmla="*/ 230831 w 555527"/>
                  <a:gd name="connsiteY70" fmla="*/ 335255 h 949552"/>
                  <a:gd name="connsiteX71" fmla="*/ 224683 w 555527"/>
                  <a:gd name="connsiteY71" fmla="*/ 323580 h 949552"/>
                  <a:gd name="connsiteX72" fmla="*/ 219239 w 555527"/>
                  <a:gd name="connsiteY72" fmla="*/ 297960 h 949552"/>
                  <a:gd name="connsiteX73" fmla="*/ 227469 w 555527"/>
                  <a:gd name="connsiteY73" fmla="*/ 292876 h 949552"/>
                  <a:gd name="connsiteX74" fmla="*/ 229688 w 555527"/>
                  <a:gd name="connsiteY74" fmla="*/ 292699 h 949552"/>
                  <a:gd name="connsiteX75" fmla="*/ 236876 w 555527"/>
                  <a:gd name="connsiteY75" fmla="*/ 295278 h 949552"/>
                  <a:gd name="connsiteX76" fmla="*/ 238181 w 555527"/>
                  <a:gd name="connsiteY76" fmla="*/ 315726 h 949552"/>
                  <a:gd name="connsiteX77" fmla="*/ 230829 w 555527"/>
                  <a:gd name="connsiteY77" fmla="*/ 335252 h 949552"/>
                  <a:gd name="connsiteX78" fmla="*/ 233078 w 555527"/>
                  <a:gd name="connsiteY78" fmla="*/ 355030 h 949552"/>
                  <a:gd name="connsiteX79" fmla="*/ 280033 w 555527"/>
                  <a:gd name="connsiteY79" fmla="*/ 373435 h 949552"/>
                  <a:gd name="connsiteX80" fmla="*/ 324642 w 555527"/>
                  <a:gd name="connsiteY80" fmla="*/ 357797 h 949552"/>
                  <a:gd name="connsiteX81" fmla="*/ 339621 w 555527"/>
                  <a:gd name="connsiteY81" fmla="*/ 374544 h 949552"/>
                  <a:gd name="connsiteX82" fmla="*/ 369640 w 555527"/>
                  <a:gd name="connsiteY82" fmla="*/ 389397 h 949552"/>
                  <a:gd name="connsiteX83" fmla="*/ 364020 w 555527"/>
                  <a:gd name="connsiteY83" fmla="*/ 408749 h 949552"/>
                  <a:gd name="connsiteX84" fmla="*/ 293456 w 555527"/>
                  <a:gd name="connsiteY84" fmla="*/ 781301 h 949552"/>
                  <a:gd name="connsiteX85" fmla="*/ 286368 w 555527"/>
                  <a:gd name="connsiteY85" fmla="*/ 781823 h 949552"/>
                  <a:gd name="connsiteX86" fmla="*/ 264152 w 555527"/>
                  <a:gd name="connsiteY86" fmla="*/ 780926 h 949552"/>
                  <a:gd name="connsiteX87" fmla="*/ 168974 w 555527"/>
                  <a:gd name="connsiteY87" fmla="*/ 404761 h 949552"/>
                  <a:gd name="connsiteX88" fmla="*/ 189071 w 555527"/>
                  <a:gd name="connsiteY88" fmla="*/ 397808 h 949552"/>
                  <a:gd name="connsiteX89" fmla="*/ 233078 w 555527"/>
                  <a:gd name="connsiteY89" fmla="*/ 355030 h 949552"/>
                  <a:gd name="connsiteX90" fmla="*/ 356932 w 555527"/>
                  <a:gd name="connsiteY90" fmla="*/ 775893 h 949552"/>
                  <a:gd name="connsiteX91" fmla="*/ 291587 w 555527"/>
                  <a:gd name="connsiteY91" fmla="*/ 799033 h 949552"/>
                  <a:gd name="connsiteX92" fmla="*/ 286193 w 555527"/>
                  <a:gd name="connsiteY92" fmla="*/ 804964 h 949552"/>
                  <a:gd name="connsiteX93" fmla="*/ 291863 w 555527"/>
                  <a:gd name="connsiteY93" fmla="*/ 810310 h 949552"/>
                  <a:gd name="connsiteX94" fmla="*/ 292147 w 555527"/>
                  <a:gd name="connsiteY94" fmla="*/ 810310 h 949552"/>
                  <a:gd name="connsiteX95" fmla="*/ 353291 w 555527"/>
                  <a:gd name="connsiteY95" fmla="*/ 791731 h 949552"/>
                  <a:gd name="connsiteX96" fmla="*/ 346818 w 555527"/>
                  <a:gd name="connsiteY96" fmla="*/ 799593 h 949552"/>
                  <a:gd name="connsiteX97" fmla="*/ 310663 w 555527"/>
                  <a:gd name="connsiteY97" fmla="*/ 812316 h 949552"/>
                  <a:gd name="connsiteX98" fmla="*/ 240036 w 555527"/>
                  <a:gd name="connsiteY98" fmla="*/ 812976 h 949552"/>
                  <a:gd name="connsiteX99" fmla="*/ 209703 w 555527"/>
                  <a:gd name="connsiteY99" fmla="*/ 801974 h 949552"/>
                  <a:gd name="connsiteX100" fmla="*/ 204510 w 555527"/>
                  <a:gd name="connsiteY100" fmla="*/ 786983 h 949552"/>
                  <a:gd name="connsiteX101" fmla="*/ 205552 w 555527"/>
                  <a:gd name="connsiteY101" fmla="*/ 783033 h 949552"/>
                  <a:gd name="connsiteX102" fmla="*/ 212275 w 555527"/>
                  <a:gd name="connsiteY102" fmla="*/ 784902 h 949552"/>
                  <a:gd name="connsiteX103" fmla="*/ 283329 w 555527"/>
                  <a:gd name="connsiteY103" fmla="*/ 793126 h 949552"/>
                  <a:gd name="connsiteX104" fmla="*/ 286540 w 555527"/>
                  <a:gd name="connsiteY104" fmla="*/ 793100 h 949552"/>
                  <a:gd name="connsiteX105" fmla="*/ 356703 w 555527"/>
                  <a:gd name="connsiteY105" fmla="*/ 774559 h 949552"/>
                  <a:gd name="connsiteX106" fmla="*/ 356916 w 555527"/>
                  <a:gd name="connsiteY106" fmla="*/ 775891 h 949552"/>
                  <a:gd name="connsiteX107" fmla="*/ 359290 w 555527"/>
                  <a:gd name="connsiteY107" fmla="*/ 802908 h 949552"/>
                  <a:gd name="connsiteX108" fmla="*/ 359667 w 555527"/>
                  <a:gd name="connsiteY108" fmla="*/ 810908 h 949552"/>
                  <a:gd name="connsiteX109" fmla="*/ 356442 w 555527"/>
                  <a:gd name="connsiteY109" fmla="*/ 812116 h 949552"/>
                  <a:gd name="connsiteX110" fmla="*/ 284096 w 555527"/>
                  <a:gd name="connsiteY110" fmla="*/ 832975 h 949552"/>
                  <a:gd name="connsiteX111" fmla="*/ 277698 w 555527"/>
                  <a:gd name="connsiteY111" fmla="*/ 837810 h 949552"/>
                  <a:gd name="connsiteX112" fmla="*/ 282566 w 555527"/>
                  <a:gd name="connsiteY112" fmla="*/ 844165 h 949552"/>
                  <a:gd name="connsiteX113" fmla="*/ 296089 w 555527"/>
                  <a:gd name="connsiteY113" fmla="*/ 845062 h 949552"/>
                  <a:gd name="connsiteX114" fmla="*/ 352729 w 555527"/>
                  <a:gd name="connsiteY114" fmla="*/ 828639 h 949552"/>
                  <a:gd name="connsiteX115" fmla="*/ 347573 w 555527"/>
                  <a:gd name="connsiteY115" fmla="*/ 834445 h 949552"/>
                  <a:gd name="connsiteX116" fmla="*/ 306689 w 555527"/>
                  <a:gd name="connsiteY116" fmla="*/ 849336 h 949552"/>
                  <a:gd name="connsiteX117" fmla="*/ 249723 w 555527"/>
                  <a:gd name="connsiteY117" fmla="*/ 846793 h 949552"/>
                  <a:gd name="connsiteX118" fmla="*/ 218826 w 555527"/>
                  <a:gd name="connsiteY118" fmla="*/ 836974 h 949552"/>
                  <a:gd name="connsiteX119" fmla="*/ 210772 w 555527"/>
                  <a:gd name="connsiteY119" fmla="*/ 816613 h 949552"/>
                  <a:gd name="connsiteX120" fmla="*/ 238734 w 555527"/>
                  <a:gd name="connsiteY120" fmla="*/ 824177 h 949552"/>
                  <a:gd name="connsiteX121" fmla="*/ 272730 w 555527"/>
                  <a:gd name="connsiteY121" fmla="*/ 826119 h 949552"/>
                  <a:gd name="connsiteX122" fmla="*/ 312172 w 555527"/>
                  <a:gd name="connsiteY122" fmla="*/ 823502 h 949552"/>
                  <a:gd name="connsiteX123" fmla="*/ 354146 w 555527"/>
                  <a:gd name="connsiteY123" fmla="*/ 808238 h 949552"/>
                  <a:gd name="connsiteX124" fmla="*/ 359290 w 555527"/>
                  <a:gd name="connsiteY124" fmla="*/ 802904 h 949552"/>
                  <a:gd name="connsiteX125" fmla="*/ 345717 w 555527"/>
                  <a:gd name="connsiteY125" fmla="*/ 866047 h 949552"/>
                  <a:gd name="connsiteX126" fmla="*/ 285590 w 555527"/>
                  <a:gd name="connsiteY126" fmla="*/ 875367 h 949552"/>
                  <a:gd name="connsiteX127" fmla="*/ 279129 w 555527"/>
                  <a:gd name="connsiteY127" fmla="*/ 880115 h 949552"/>
                  <a:gd name="connsiteX128" fmla="*/ 283909 w 555527"/>
                  <a:gd name="connsiteY128" fmla="*/ 886532 h 949552"/>
                  <a:gd name="connsiteX129" fmla="*/ 300543 w 555527"/>
                  <a:gd name="connsiteY129" fmla="*/ 887740 h 949552"/>
                  <a:gd name="connsiteX130" fmla="*/ 335769 w 555527"/>
                  <a:gd name="connsiteY130" fmla="*/ 882008 h 949552"/>
                  <a:gd name="connsiteX131" fmla="*/ 311081 w 555527"/>
                  <a:gd name="connsiteY131" fmla="*/ 895341 h 949552"/>
                  <a:gd name="connsiteX132" fmla="*/ 269884 w 555527"/>
                  <a:gd name="connsiteY132" fmla="*/ 900862 h 949552"/>
                  <a:gd name="connsiteX133" fmla="*/ 229389 w 555527"/>
                  <a:gd name="connsiteY133" fmla="*/ 886133 h 949552"/>
                  <a:gd name="connsiteX134" fmla="*/ 223355 w 555527"/>
                  <a:gd name="connsiteY134" fmla="*/ 852152 h 949552"/>
                  <a:gd name="connsiteX135" fmla="*/ 248231 w 555527"/>
                  <a:gd name="connsiteY135" fmla="*/ 857984 h 949552"/>
                  <a:gd name="connsiteX136" fmla="*/ 290808 w 555527"/>
                  <a:gd name="connsiteY136" fmla="*/ 861325 h 949552"/>
                  <a:gd name="connsiteX137" fmla="*/ 307756 w 555527"/>
                  <a:gd name="connsiteY137" fmla="*/ 860577 h 949552"/>
                  <a:gd name="connsiteX138" fmla="*/ 345127 w 555527"/>
                  <a:gd name="connsiteY138" fmla="*/ 849885 h 949552"/>
                  <a:gd name="connsiteX139" fmla="*/ 345717 w 555527"/>
                  <a:gd name="connsiteY139" fmla="*/ 866047 h 949552"/>
                  <a:gd name="connsiteX140" fmla="*/ 298636 w 555527"/>
                  <a:gd name="connsiteY140" fmla="*/ 935204 h 949552"/>
                  <a:gd name="connsiteX141" fmla="*/ 258468 w 555527"/>
                  <a:gd name="connsiteY141" fmla="*/ 929273 h 949552"/>
                  <a:gd name="connsiteX142" fmla="*/ 249059 w 555527"/>
                  <a:gd name="connsiteY142" fmla="*/ 908899 h 949552"/>
                  <a:gd name="connsiteX143" fmla="*/ 269394 w 555527"/>
                  <a:gd name="connsiteY143" fmla="*/ 912138 h 949552"/>
                  <a:gd name="connsiteX144" fmla="*/ 275027 w 555527"/>
                  <a:gd name="connsiteY144" fmla="*/ 912244 h 949552"/>
                  <a:gd name="connsiteX145" fmla="*/ 314581 w 555527"/>
                  <a:gd name="connsiteY145" fmla="*/ 906076 h 949552"/>
                  <a:gd name="connsiteX146" fmla="*/ 321782 w 555527"/>
                  <a:gd name="connsiteY146" fmla="*/ 903321 h 949552"/>
                  <a:gd name="connsiteX147" fmla="*/ 298636 w 555527"/>
                  <a:gd name="connsiteY147" fmla="*/ 935196 h 949552"/>
                  <a:gd name="connsiteX148" fmla="*/ 24683 w 555527"/>
                  <a:gd name="connsiteY148" fmla="*/ 396064 h 949552"/>
                  <a:gd name="connsiteX149" fmla="*/ 78149 w 555527"/>
                  <a:gd name="connsiteY149" fmla="*/ 474791 h 949552"/>
                  <a:gd name="connsiteX150" fmla="*/ 137009 w 555527"/>
                  <a:gd name="connsiteY150" fmla="*/ 570415 h 949552"/>
                  <a:gd name="connsiteX151" fmla="*/ 151499 w 555527"/>
                  <a:gd name="connsiteY151" fmla="*/ 634139 h 949552"/>
                  <a:gd name="connsiteX152" fmla="*/ 200047 w 555527"/>
                  <a:gd name="connsiteY152" fmla="*/ 765426 h 949552"/>
                  <a:gd name="connsiteX153" fmla="*/ 198653 w 555527"/>
                  <a:gd name="connsiteY153" fmla="*/ 767644 h 949552"/>
                  <a:gd name="connsiteX154" fmla="*/ 197899 w 555527"/>
                  <a:gd name="connsiteY154" fmla="*/ 774049 h 949552"/>
                  <a:gd name="connsiteX155" fmla="*/ 193207 w 555527"/>
                  <a:gd name="connsiteY155" fmla="*/ 785775 h 949552"/>
                  <a:gd name="connsiteX156" fmla="*/ 201436 w 555527"/>
                  <a:gd name="connsiteY156" fmla="*/ 809662 h 949552"/>
                  <a:gd name="connsiteX157" fmla="*/ 211811 w 555527"/>
                  <a:gd name="connsiteY157" fmla="*/ 845873 h 949552"/>
                  <a:gd name="connsiteX158" fmla="*/ 213379 w 555527"/>
                  <a:gd name="connsiteY158" fmla="*/ 846833 h 949552"/>
                  <a:gd name="connsiteX159" fmla="*/ 221307 w 555527"/>
                  <a:gd name="connsiteY159" fmla="*/ 894085 h 949552"/>
                  <a:gd name="connsiteX160" fmla="*/ 238143 w 555527"/>
                  <a:gd name="connsiteY160" fmla="*/ 905113 h 949552"/>
                  <a:gd name="connsiteX161" fmla="*/ 251139 w 555527"/>
                  <a:gd name="connsiteY161" fmla="*/ 937897 h 949552"/>
                  <a:gd name="connsiteX162" fmla="*/ 283718 w 555527"/>
                  <a:gd name="connsiteY162" fmla="*/ 949460 h 949552"/>
                  <a:gd name="connsiteX163" fmla="*/ 303124 w 555527"/>
                  <a:gd name="connsiteY163" fmla="*/ 945573 h 949552"/>
                  <a:gd name="connsiteX164" fmla="*/ 333282 w 555527"/>
                  <a:gd name="connsiteY164" fmla="*/ 902820 h 949552"/>
                  <a:gd name="connsiteX165" fmla="*/ 331675 w 555527"/>
                  <a:gd name="connsiteY165" fmla="*/ 898596 h 949552"/>
                  <a:gd name="connsiteX166" fmla="*/ 349978 w 555527"/>
                  <a:gd name="connsiteY166" fmla="*/ 883294 h 949552"/>
                  <a:gd name="connsiteX167" fmla="*/ 358107 w 555527"/>
                  <a:gd name="connsiteY167" fmla="*/ 862297 h 949552"/>
                  <a:gd name="connsiteX168" fmla="*/ 354732 w 555527"/>
                  <a:gd name="connsiteY168" fmla="*/ 843170 h 949552"/>
                  <a:gd name="connsiteX169" fmla="*/ 355120 w 555527"/>
                  <a:gd name="connsiteY169" fmla="*/ 842888 h 949552"/>
                  <a:gd name="connsiteX170" fmla="*/ 367978 w 555527"/>
                  <a:gd name="connsiteY170" fmla="*/ 793406 h 949552"/>
                  <a:gd name="connsiteX171" fmla="*/ 366008 w 555527"/>
                  <a:gd name="connsiteY171" fmla="*/ 791213 h 949552"/>
                  <a:gd name="connsiteX172" fmla="*/ 364579 w 555527"/>
                  <a:gd name="connsiteY172" fmla="*/ 763712 h 949552"/>
                  <a:gd name="connsiteX173" fmla="*/ 356813 w 555527"/>
                  <a:gd name="connsiteY173" fmla="*/ 761730 h 949552"/>
                  <a:gd name="connsiteX174" fmla="*/ 403781 w 555527"/>
                  <a:gd name="connsiteY174" fmla="*/ 627502 h 949552"/>
                  <a:gd name="connsiteX175" fmla="*/ 410881 w 555527"/>
                  <a:gd name="connsiteY175" fmla="*/ 589871 h 949552"/>
                  <a:gd name="connsiteX176" fmla="*/ 450285 w 555527"/>
                  <a:gd name="connsiteY176" fmla="*/ 496328 h 949552"/>
                  <a:gd name="connsiteX177" fmla="*/ 466279 w 555527"/>
                  <a:gd name="connsiteY177" fmla="*/ 477413 h 949552"/>
                  <a:gd name="connsiteX178" fmla="*/ 512381 w 555527"/>
                  <a:gd name="connsiteY178" fmla="*/ 415034 h 949552"/>
                  <a:gd name="connsiteX179" fmla="*/ 507189 w 555527"/>
                  <a:gd name="connsiteY179" fmla="*/ 97472 h 949552"/>
                  <a:gd name="connsiteX180" fmla="*/ 133781 w 555527"/>
                  <a:gd name="connsiteY180" fmla="*/ 41773 h 949552"/>
                  <a:gd name="connsiteX181" fmla="*/ 24679 w 555527"/>
                  <a:gd name="connsiteY181" fmla="*/ 396057 h 949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55527" h="949552">
                    <a:moveTo>
                      <a:pt x="152752" y="394768"/>
                    </a:moveTo>
                    <a:cubicBezTo>
                      <a:pt x="146116" y="394450"/>
                      <a:pt x="139756" y="392899"/>
                      <a:pt x="134073" y="390120"/>
                    </a:cubicBezTo>
                    <a:cubicBezTo>
                      <a:pt x="123485" y="384936"/>
                      <a:pt x="118969" y="372401"/>
                      <a:pt x="119257" y="362955"/>
                    </a:cubicBezTo>
                    <a:cubicBezTo>
                      <a:pt x="119435" y="357199"/>
                      <a:pt x="121316" y="353822"/>
                      <a:pt x="123008" y="353111"/>
                    </a:cubicBezTo>
                    <a:cubicBezTo>
                      <a:pt x="123293" y="352970"/>
                      <a:pt x="123648" y="352935"/>
                      <a:pt x="124061" y="352935"/>
                    </a:cubicBezTo>
                    <a:cubicBezTo>
                      <a:pt x="125917" y="352935"/>
                      <a:pt x="128978" y="354256"/>
                      <a:pt x="133081" y="358019"/>
                    </a:cubicBezTo>
                    <a:cubicBezTo>
                      <a:pt x="139667" y="364038"/>
                      <a:pt x="143618" y="372710"/>
                      <a:pt x="147746" y="382616"/>
                    </a:cubicBezTo>
                    <a:cubicBezTo>
                      <a:pt x="149438" y="386654"/>
                      <a:pt x="151095" y="390716"/>
                      <a:pt x="152751" y="394778"/>
                    </a:cubicBezTo>
                    <a:close/>
                    <a:moveTo>
                      <a:pt x="385106" y="380488"/>
                    </a:moveTo>
                    <a:cubicBezTo>
                      <a:pt x="389911" y="369149"/>
                      <a:pt x="396083" y="359429"/>
                      <a:pt x="405128" y="352177"/>
                    </a:cubicBezTo>
                    <a:cubicBezTo>
                      <a:pt x="411074" y="347429"/>
                      <a:pt x="419955" y="345012"/>
                      <a:pt x="426291" y="346420"/>
                    </a:cubicBezTo>
                    <a:cubicBezTo>
                      <a:pt x="429616" y="347155"/>
                      <a:pt x="431886" y="348825"/>
                      <a:pt x="433190" y="351479"/>
                    </a:cubicBezTo>
                    <a:cubicBezTo>
                      <a:pt x="437155" y="359603"/>
                      <a:pt x="427508" y="369759"/>
                      <a:pt x="419015" y="373971"/>
                    </a:cubicBezTo>
                    <a:cubicBezTo>
                      <a:pt x="408615" y="379142"/>
                      <a:pt x="396685" y="381248"/>
                      <a:pt x="385106" y="380488"/>
                    </a:cubicBezTo>
                    <a:close/>
                    <a:moveTo>
                      <a:pt x="139693" y="51424"/>
                    </a:moveTo>
                    <a:cubicBezTo>
                      <a:pt x="244354" y="-11740"/>
                      <a:pt x="413357" y="-5547"/>
                      <a:pt x="498185" y="104344"/>
                    </a:cubicBezTo>
                    <a:cubicBezTo>
                      <a:pt x="567143" y="193700"/>
                      <a:pt x="549982" y="322084"/>
                      <a:pt x="502375" y="409696"/>
                    </a:cubicBezTo>
                    <a:cubicBezTo>
                      <a:pt x="490031" y="432424"/>
                      <a:pt x="474300" y="450717"/>
                      <a:pt x="457653" y="470093"/>
                    </a:cubicBezTo>
                    <a:cubicBezTo>
                      <a:pt x="452271" y="476348"/>
                      <a:pt x="446864" y="482654"/>
                      <a:pt x="441482" y="489183"/>
                    </a:cubicBezTo>
                    <a:cubicBezTo>
                      <a:pt x="416807" y="519188"/>
                      <a:pt x="406558" y="555736"/>
                      <a:pt x="399784" y="587536"/>
                    </a:cubicBezTo>
                    <a:cubicBezTo>
                      <a:pt x="397113" y="600009"/>
                      <a:pt x="394853" y="612756"/>
                      <a:pt x="392595" y="625566"/>
                    </a:cubicBezTo>
                    <a:cubicBezTo>
                      <a:pt x="383137" y="679110"/>
                      <a:pt x="373352" y="734461"/>
                      <a:pt x="331377" y="772753"/>
                    </a:cubicBezTo>
                    <a:cubicBezTo>
                      <a:pt x="330851" y="773226"/>
                      <a:pt x="330474" y="773813"/>
                      <a:pt x="330172" y="774409"/>
                    </a:cubicBezTo>
                    <a:cubicBezTo>
                      <a:pt x="322268" y="777101"/>
                      <a:pt x="313914" y="779281"/>
                      <a:pt x="304856" y="780453"/>
                    </a:cubicBezTo>
                    <a:cubicBezTo>
                      <a:pt x="309272" y="654736"/>
                      <a:pt x="342641" y="531188"/>
                      <a:pt x="374981" y="411689"/>
                    </a:cubicBezTo>
                    <a:cubicBezTo>
                      <a:pt x="376902" y="404623"/>
                      <a:pt x="378820" y="397820"/>
                      <a:pt x="380990" y="391415"/>
                    </a:cubicBezTo>
                    <a:cubicBezTo>
                      <a:pt x="395693" y="392948"/>
                      <a:pt x="410885" y="390631"/>
                      <a:pt x="424094" y="384076"/>
                    </a:cubicBezTo>
                    <a:cubicBezTo>
                      <a:pt x="438998" y="376687"/>
                      <a:pt x="450288" y="360625"/>
                      <a:pt x="443413" y="346556"/>
                    </a:cubicBezTo>
                    <a:cubicBezTo>
                      <a:pt x="440579" y="340762"/>
                      <a:pt x="435510" y="336899"/>
                      <a:pt x="428761" y="335391"/>
                    </a:cubicBezTo>
                    <a:cubicBezTo>
                      <a:pt x="419001" y="333247"/>
                      <a:pt x="406644" y="336462"/>
                      <a:pt x="398014" y="343391"/>
                    </a:cubicBezTo>
                    <a:cubicBezTo>
                      <a:pt x="386359" y="352712"/>
                      <a:pt x="378858" y="365609"/>
                      <a:pt x="373526" y="378780"/>
                    </a:cubicBezTo>
                    <a:cubicBezTo>
                      <a:pt x="363767" y="376487"/>
                      <a:pt x="354533" y="372138"/>
                      <a:pt x="346856" y="365833"/>
                    </a:cubicBezTo>
                    <a:cubicBezTo>
                      <a:pt x="341524" y="361472"/>
                      <a:pt x="336971" y="356213"/>
                      <a:pt x="333320" y="350382"/>
                    </a:cubicBezTo>
                    <a:cubicBezTo>
                      <a:pt x="345489" y="338532"/>
                      <a:pt x="354408" y="322968"/>
                      <a:pt x="357670" y="305722"/>
                    </a:cubicBezTo>
                    <a:cubicBezTo>
                      <a:pt x="359149" y="297872"/>
                      <a:pt x="358747" y="286682"/>
                      <a:pt x="353154" y="278832"/>
                    </a:cubicBezTo>
                    <a:cubicBezTo>
                      <a:pt x="350092" y="274520"/>
                      <a:pt x="345828" y="271842"/>
                      <a:pt x="340810" y="271057"/>
                    </a:cubicBezTo>
                    <a:cubicBezTo>
                      <a:pt x="327399" y="269050"/>
                      <a:pt x="317614" y="281499"/>
                      <a:pt x="314102" y="293984"/>
                    </a:cubicBezTo>
                    <a:cubicBezTo>
                      <a:pt x="309134" y="311691"/>
                      <a:pt x="311292" y="331167"/>
                      <a:pt x="319120" y="347890"/>
                    </a:cubicBezTo>
                    <a:cubicBezTo>
                      <a:pt x="307754" y="356712"/>
                      <a:pt x="294055" y="362045"/>
                      <a:pt x="279930" y="362157"/>
                    </a:cubicBezTo>
                    <a:cubicBezTo>
                      <a:pt x="279823" y="362157"/>
                      <a:pt x="279681" y="362157"/>
                      <a:pt x="279574" y="362157"/>
                    </a:cubicBezTo>
                    <a:cubicBezTo>
                      <a:pt x="264658" y="362157"/>
                      <a:pt x="249805" y="355466"/>
                      <a:pt x="238804" y="344737"/>
                    </a:cubicBezTo>
                    <a:cubicBezTo>
                      <a:pt x="243295" y="335903"/>
                      <a:pt x="246719" y="327030"/>
                      <a:pt x="249090" y="318843"/>
                    </a:cubicBezTo>
                    <a:cubicBezTo>
                      <a:pt x="253117" y="304888"/>
                      <a:pt x="251761" y="294321"/>
                      <a:pt x="245051" y="287430"/>
                    </a:cubicBezTo>
                    <a:cubicBezTo>
                      <a:pt x="240459" y="282720"/>
                      <a:pt x="233246" y="280564"/>
                      <a:pt x="225745" y="281723"/>
                    </a:cubicBezTo>
                    <a:cubicBezTo>
                      <a:pt x="218268" y="282857"/>
                      <a:pt x="212045" y="287031"/>
                      <a:pt x="209072" y="292900"/>
                    </a:cubicBezTo>
                    <a:cubicBezTo>
                      <a:pt x="204883" y="301212"/>
                      <a:pt x="209250" y="315118"/>
                      <a:pt x="214065" y="327616"/>
                    </a:cubicBezTo>
                    <a:cubicBezTo>
                      <a:pt x="216725" y="334482"/>
                      <a:pt x="220438" y="340812"/>
                      <a:pt x="224954" y="346444"/>
                    </a:cubicBezTo>
                    <a:cubicBezTo>
                      <a:pt x="214203" y="364824"/>
                      <a:pt x="199601" y="379814"/>
                      <a:pt x="183908" y="387752"/>
                    </a:cubicBezTo>
                    <a:cubicBezTo>
                      <a:pt x="177648" y="390917"/>
                      <a:pt x="171150" y="393023"/>
                      <a:pt x="164702" y="394069"/>
                    </a:cubicBezTo>
                    <a:cubicBezTo>
                      <a:pt x="162568" y="388798"/>
                      <a:pt x="160425" y="383528"/>
                      <a:pt x="158242" y="378281"/>
                    </a:cubicBezTo>
                    <a:cubicBezTo>
                      <a:pt x="153601" y="367129"/>
                      <a:pt x="149059" y="357285"/>
                      <a:pt x="140767" y="349696"/>
                    </a:cubicBezTo>
                    <a:cubicBezTo>
                      <a:pt x="130669" y="340463"/>
                      <a:pt x="123129" y="340812"/>
                      <a:pt x="118613" y="342706"/>
                    </a:cubicBezTo>
                    <a:cubicBezTo>
                      <a:pt x="112190" y="345383"/>
                      <a:pt x="108188" y="352836"/>
                      <a:pt x="107887" y="362618"/>
                    </a:cubicBezTo>
                    <a:cubicBezTo>
                      <a:pt x="107499" y="375989"/>
                      <a:pt x="113883" y="392811"/>
                      <a:pt x="129063" y="400237"/>
                    </a:cubicBezTo>
                    <a:cubicBezTo>
                      <a:pt x="137581" y="404424"/>
                      <a:pt x="147391" y="406430"/>
                      <a:pt x="157288" y="406081"/>
                    </a:cubicBezTo>
                    <a:cubicBezTo>
                      <a:pt x="203340" y="522378"/>
                      <a:pt x="235292" y="647958"/>
                      <a:pt x="252491" y="779768"/>
                    </a:cubicBezTo>
                    <a:cubicBezTo>
                      <a:pt x="242242" y="778521"/>
                      <a:pt x="232043" y="776864"/>
                      <a:pt x="221957" y="775120"/>
                    </a:cubicBezTo>
                    <a:cubicBezTo>
                      <a:pt x="221743" y="774286"/>
                      <a:pt x="221381" y="773474"/>
                      <a:pt x="220751" y="772803"/>
                    </a:cubicBezTo>
                    <a:cubicBezTo>
                      <a:pt x="181486" y="729477"/>
                      <a:pt x="172341" y="682138"/>
                      <a:pt x="162632" y="632008"/>
                    </a:cubicBezTo>
                    <a:cubicBezTo>
                      <a:pt x="158592" y="611087"/>
                      <a:pt x="154415" y="589455"/>
                      <a:pt x="147929" y="567275"/>
                    </a:cubicBezTo>
                    <a:cubicBezTo>
                      <a:pt x="136601" y="528472"/>
                      <a:pt x="111361" y="497569"/>
                      <a:pt x="86974" y="467676"/>
                    </a:cubicBezTo>
                    <a:cubicBezTo>
                      <a:pt x="67630" y="444000"/>
                      <a:pt x="47646" y="419490"/>
                      <a:pt x="35064" y="391466"/>
                    </a:cubicBezTo>
                    <a:cubicBezTo>
                      <a:pt x="-20635" y="267257"/>
                      <a:pt x="24338" y="121067"/>
                      <a:pt x="139687" y="51424"/>
                    </a:cubicBezTo>
                    <a:close/>
                    <a:moveTo>
                      <a:pt x="325055" y="297026"/>
                    </a:moveTo>
                    <a:cubicBezTo>
                      <a:pt x="327149" y="289574"/>
                      <a:pt x="332318" y="282135"/>
                      <a:pt x="338051" y="282135"/>
                    </a:cubicBezTo>
                    <a:cubicBezTo>
                      <a:pt x="338407" y="282135"/>
                      <a:pt x="338730" y="282160"/>
                      <a:pt x="339068" y="282241"/>
                    </a:cubicBezTo>
                    <a:cubicBezTo>
                      <a:pt x="341049" y="282523"/>
                      <a:pt x="342581" y="283537"/>
                      <a:pt x="343885" y="285367"/>
                    </a:cubicBezTo>
                    <a:cubicBezTo>
                      <a:pt x="346708" y="289342"/>
                      <a:pt x="347799" y="296868"/>
                      <a:pt x="346506" y="303647"/>
                    </a:cubicBezTo>
                    <a:cubicBezTo>
                      <a:pt x="343896" y="317416"/>
                      <a:pt x="337173" y="329952"/>
                      <a:pt x="327915" y="339858"/>
                    </a:cubicBezTo>
                    <a:cubicBezTo>
                      <a:pt x="322407" y="326325"/>
                      <a:pt x="321115" y="311036"/>
                      <a:pt x="325056" y="297042"/>
                    </a:cubicBezTo>
                    <a:close/>
                    <a:moveTo>
                      <a:pt x="230831" y="335255"/>
                    </a:moveTo>
                    <a:cubicBezTo>
                      <a:pt x="228359" y="331617"/>
                      <a:pt x="226290" y="327704"/>
                      <a:pt x="224683" y="323580"/>
                    </a:cubicBezTo>
                    <a:cubicBezTo>
                      <a:pt x="217495" y="304950"/>
                      <a:pt x="218486" y="299455"/>
                      <a:pt x="219239" y="297960"/>
                    </a:cubicBezTo>
                    <a:cubicBezTo>
                      <a:pt x="220544" y="295406"/>
                      <a:pt x="223680" y="293461"/>
                      <a:pt x="227469" y="292876"/>
                    </a:cubicBezTo>
                    <a:cubicBezTo>
                      <a:pt x="228223" y="292770"/>
                      <a:pt x="228962" y="292699"/>
                      <a:pt x="229688" y="292699"/>
                    </a:cubicBezTo>
                    <a:cubicBezTo>
                      <a:pt x="232621" y="292699"/>
                      <a:pt x="235257" y="293621"/>
                      <a:pt x="236876" y="295278"/>
                    </a:cubicBezTo>
                    <a:cubicBezTo>
                      <a:pt x="241467" y="299988"/>
                      <a:pt x="240111" y="308997"/>
                      <a:pt x="238181" y="315726"/>
                    </a:cubicBezTo>
                    <a:cubicBezTo>
                      <a:pt x="236225" y="322430"/>
                      <a:pt x="233752" y="328972"/>
                      <a:pt x="230829" y="335252"/>
                    </a:cubicBezTo>
                    <a:close/>
                    <a:moveTo>
                      <a:pt x="233078" y="355030"/>
                    </a:moveTo>
                    <a:cubicBezTo>
                      <a:pt x="245962" y="366631"/>
                      <a:pt x="262483" y="373772"/>
                      <a:pt x="280033" y="373435"/>
                    </a:cubicBezTo>
                    <a:cubicBezTo>
                      <a:pt x="296040" y="373294"/>
                      <a:pt x="311621" y="367491"/>
                      <a:pt x="324642" y="357797"/>
                    </a:cubicBezTo>
                    <a:cubicBezTo>
                      <a:pt x="328757" y="364089"/>
                      <a:pt x="333800" y="369771"/>
                      <a:pt x="339621" y="374544"/>
                    </a:cubicBezTo>
                    <a:cubicBezTo>
                      <a:pt x="348314" y="381659"/>
                      <a:pt x="358676" y="386656"/>
                      <a:pt x="369640" y="389397"/>
                    </a:cubicBezTo>
                    <a:cubicBezTo>
                      <a:pt x="367421" y="396176"/>
                      <a:pt x="365626" y="402793"/>
                      <a:pt x="364020" y="408749"/>
                    </a:cubicBezTo>
                    <a:cubicBezTo>
                      <a:pt x="331404" y="529269"/>
                      <a:pt x="297734" y="653852"/>
                      <a:pt x="293456" y="781301"/>
                    </a:cubicBezTo>
                    <a:cubicBezTo>
                      <a:pt x="291073" y="781442"/>
                      <a:pt x="288802" y="781788"/>
                      <a:pt x="286368" y="781823"/>
                    </a:cubicBezTo>
                    <a:cubicBezTo>
                      <a:pt x="278967" y="781965"/>
                      <a:pt x="271553" y="781541"/>
                      <a:pt x="264152" y="780926"/>
                    </a:cubicBezTo>
                    <a:cubicBezTo>
                      <a:pt x="247053" y="648294"/>
                      <a:pt x="215101" y="521917"/>
                      <a:pt x="168974" y="404761"/>
                    </a:cubicBezTo>
                    <a:cubicBezTo>
                      <a:pt x="175761" y="403426"/>
                      <a:pt x="182535" y="401109"/>
                      <a:pt x="189071" y="397808"/>
                    </a:cubicBezTo>
                    <a:cubicBezTo>
                      <a:pt x="207926" y="388275"/>
                      <a:pt x="222578" y="372213"/>
                      <a:pt x="233078" y="355030"/>
                    </a:cubicBezTo>
                    <a:close/>
                    <a:moveTo>
                      <a:pt x="356932" y="775893"/>
                    </a:moveTo>
                    <a:cubicBezTo>
                      <a:pt x="338078" y="789612"/>
                      <a:pt x="314933" y="797837"/>
                      <a:pt x="291587" y="799033"/>
                    </a:cubicBezTo>
                    <a:cubicBezTo>
                      <a:pt x="288440" y="799209"/>
                      <a:pt x="286030" y="801848"/>
                      <a:pt x="286193" y="804964"/>
                    </a:cubicBezTo>
                    <a:cubicBezTo>
                      <a:pt x="286371" y="807980"/>
                      <a:pt x="288863" y="810310"/>
                      <a:pt x="291863" y="810310"/>
                    </a:cubicBezTo>
                    <a:cubicBezTo>
                      <a:pt x="291969" y="810310"/>
                      <a:pt x="292076" y="810310"/>
                      <a:pt x="292147" y="810310"/>
                    </a:cubicBezTo>
                    <a:cubicBezTo>
                      <a:pt x="313574" y="809215"/>
                      <a:pt x="334812" y="802659"/>
                      <a:pt x="353291" y="791731"/>
                    </a:cubicBezTo>
                    <a:cubicBezTo>
                      <a:pt x="351534" y="794747"/>
                      <a:pt x="349339" y="797488"/>
                      <a:pt x="346818" y="799593"/>
                    </a:cubicBezTo>
                    <a:cubicBezTo>
                      <a:pt x="336920" y="807868"/>
                      <a:pt x="322982" y="810671"/>
                      <a:pt x="310663" y="812316"/>
                    </a:cubicBezTo>
                    <a:cubicBezTo>
                      <a:pt x="287280" y="815442"/>
                      <a:pt x="263507" y="815668"/>
                      <a:pt x="240036" y="812976"/>
                    </a:cubicBezTo>
                    <a:cubicBezTo>
                      <a:pt x="229223" y="811719"/>
                      <a:pt x="217142" y="809451"/>
                      <a:pt x="209703" y="801974"/>
                    </a:cubicBezTo>
                    <a:cubicBezTo>
                      <a:pt x="206027" y="798285"/>
                      <a:pt x="203932" y="792267"/>
                      <a:pt x="204510" y="786983"/>
                    </a:cubicBezTo>
                    <a:cubicBezTo>
                      <a:pt x="204652" y="785786"/>
                      <a:pt x="204947" y="784390"/>
                      <a:pt x="205552" y="783033"/>
                    </a:cubicBezTo>
                    <a:cubicBezTo>
                      <a:pt x="207998" y="784079"/>
                      <a:pt x="210469" y="784580"/>
                      <a:pt x="212275" y="784902"/>
                    </a:cubicBezTo>
                    <a:cubicBezTo>
                      <a:pt x="235383" y="788952"/>
                      <a:pt x="259218" y="793126"/>
                      <a:pt x="283329" y="793126"/>
                    </a:cubicBezTo>
                    <a:cubicBezTo>
                      <a:pt x="284396" y="793126"/>
                      <a:pt x="285473" y="793126"/>
                      <a:pt x="286540" y="793100"/>
                    </a:cubicBezTo>
                    <a:cubicBezTo>
                      <a:pt x="313700" y="792677"/>
                      <a:pt x="337773" y="786160"/>
                      <a:pt x="356703" y="774559"/>
                    </a:cubicBezTo>
                    <a:cubicBezTo>
                      <a:pt x="356810" y="774993"/>
                      <a:pt x="356881" y="775442"/>
                      <a:pt x="356916" y="775891"/>
                    </a:cubicBezTo>
                    <a:close/>
                    <a:moveTo>
                      <a:pt x="359290" y="802908"/>
                    </a:moveTo>
                    <a:cubicBezTo>
                      <a:pt x="359880" y="805536"/>
                      <a:pt x="359916" y="808229"/>
                      <a:pt x="359667" y="810908"/>
                    </a:cubicBezTo>
                    <a:cubicBezTo>
                      <a:pt x="358536" y="810978"/>
                      <a:pt x="357395" y="811317"/>
                      <a:pt x="356442" y="812116"/>
                    </a:cubicBezTo>
                    <a:cubicBezTo>
                      <a:pt x="336696" y="828626"/>
                      <a:pt x="309600" y="836414"/>
                      <a:pt x="284096" y="832975"/>
                    </a:cubicBezTo>
                    <a:cubicBezTo>
                      <a:pt x="281024" y="832590"/>
                      <a:pt x="278125" y="834720"/>
                      <a:pt x="277698" y="837810"/>
                    </a:cubicBezTo>
                    <a:cubicBezTo>
                      <a:pt x="277286" y="840900"/>
                      <a:pt x="279465" y="843741"/>
                      <a:pt x="282566" y="844165"/>
                    </a:cubicBezTo>
                    <a:cubicBezTo>
                      <a:pt x="287044" y="844762"/>
                      <a:pt x="291573" y="845062"/>
                      <a:pt x="296089" y="845062"/>
                    </a:cubicBezTo>
                    <a:cubicBezTo>
                      <a:pt x="315997" y="845062"/>
                      <a:pt x="335906" y="839230"/>
                      <a:pt x="352729" y="828639"/>
                    </a:cubicBezTo>
                    <a:cubicBezTo>
                      <a:pt x="351161" y="830793"/>
                      <a:pt x="349443" y="832801"/>
                      <a:pt x="347573" y="834445"/>
                    </a:cubicBezTo>
                    <a:cubicBezTo>
                      <a:pt x="338265" y="842657"/>
                      <a:pt x="324503" y="847679"/>
                      <a:pt x="306689" y="849336"/>
                    </a:cubicBezTo>
                    <a:cubicBezTo>
                      <a:pt x="287270" y="851141"/>
                      <a:pt x="267850" y="849159"/>
                      <a:pt x="249723" y="846793"/>
                    </a:cubicBezTo>
                    <a:cubicBezTo>
                      <a:pt x="238120" y="845249"/>
                      <a:pt x="227030" y="843352"/>
                      <a:pt x="218826" y="836974"/>
                    </a:cubicBezTo>
                    <a:cubicBezTo>
                      <a:pt x="212817" y="832313"/>
                      <a:pt x="208790" y="823566"/>
                      <a:pt x="210772" y="816613"/>
                    </a:cubicBezTo>
                    <a:cubicBezTo>
                      <a:pt x="219403" y="821285"/>
                      <a:pt x="229476" y="823117"/>
                      <a:pt x="238734" y="824177"/>
                    </a:cubicBezTo>
                    <a:cubicBezTo>
                      <a:pt x="250025" y="825473"/>
                      <a:pt x="261377" y="826119"/>
                      <a:pt x="272730" y="826119"/>
                    </a:cubicBezTo>
                    <a:cubicBezTo>
                      <a:pt x="285915" y="826119"/>
                      <a:pt x="299099" y="825247"/>
                      <a:pt x="312172" y="823502"/>
                    </a:cubicBezTo>
                    <a:cubicBezTo>
                      <a:pt x="326121" y="821644"/>
                      <a:pt x="342016" y="818368"/>
                      <a:pt x="354146" y="808238"/>
                    </a:cubicBezTo>
                    <a:cubicBezTo>
                      <a:pt x="356002" y="806680"/>
                      <a:pt x="357695" y="804847"/>
                      <a:pt x="359290" y="802904"/>
                    </a:cubicBezTo>
                    <a:close/>
                    <a:moveTo>
                      <a:pt x="345717" y="866047"/>
                    </a:moveTo>
                    <a:cubicBezTo>
                      <a:pt x="327150" y="875043"/>
                      <a:pt x="306000" y="878383"/>
                      <a:pt x="285590" y="875367"/>
                    </a:cubicBezTo>
                    <a:cubicBezTo>
                      <a:pt x="282517" y="874943"/>
                      <a:pt x="279593" y="877013"/>
                      <a:pt x="279129" y="880115"/>
                    </a:cubicBezTo>
                    <a:cubicBezTo>
                      <a:pt x="278663" y="883191"/>
                      <a:pt x="280811" y="886059"/>
                      <a:pt x="283909" y="886532"/>
                    </a:cubicBezTo>
                    <a:cubicBezTo>
                      <a:pt x="289428" y="887341"/>
                      <a:pt x="294998" y="887740"/>
                      <a:pt x="300543" y="887740"/>
                    </a:cubicBezTo>
                    <a:cubicBezTo>
                      <a:pt x="312511" y="887740"/>
                      <a:pt x="324390" y="885660"/>
                      <a:pt x="335769" y="882008"/>
                    </a:cubicBezTo>
                    <a:cubicBezTo>
                      <a:pt x="329735" y="887503"/>
                      <a:pt x="321505" y="892002"/>
                      <a:pt x="311081" y="895341"/>
                    </a:cubicBezTo>
                    <a:cubicBezTo>
                      <a:pt x="297745" y="899603"/>
                      <a:pt x="283946" y="901447"/>
                      <a:pt x="269884" y="900862"/>
                    </a:cubicBezTo>
                    <a:cubicBezTo>
                      <a:pt x="257590" y="900325"/>
                      <a:pt x="240566" y="897347"/>
                      <a:pt x="229389" y="886133"/>
                    </a:cubicBezTo>
                    <a:cubicBezTo>
                      <a:pt x="220947" y="877684"/>
                      <a:pt x="217007" y="862619"/>
                      <a:pt x="223355" y="852152"/>
                    </a:cubicBezTo>
                    <a:cubicBezTo>
                      <a:pt x="231271" y="855317"/>
                      <a:pt x="239839" y="856875"/>
                      <a:pt x="248231" y="857984"/>
                    </a:cubicBezTo>
                    <a:cubicBezTo>
                      <a:pt x="261817" y="859768"/>
                      <a:pt x="276156" y="861325"/>
                      <a:pt x="290808" y="861325"/>
                    </a:cubicBezTo>
                    <a:cubicBezTo>
                      <a:pt x="296416" y="861325"/>
                      <a:pt x="302086" y="861113"/>
                      <a:pt x="307756" y="860577"/>
                    </a:cubicBezTo>
                    <a:cubicBezTo>
                      <a:pt x="322622" y="859192"/>
                      <a:pt x="335091" y="855567"/>
                      <a:pt x="345127" y="849885"/>
                    </a:cubicBezTo>
                    <a:cubicBezTo>
                      <a:pt x="347133" y="854733"/>
                      <a:pt x="347271" y="860390"/>
                      <a:pt x="345717" y="866047"/>
                    </a:cubicBezTo>
                    <a:close/>
                    <a:moveTo>
                      <a:pt x="298636" y="935204"/>
                    </a:moveTo>
                    <a:cubicBezTo>
                      <a:pt x="285502" y="940799"/>
                      <a:pt x="269394" y="938432"/>
                      <a:pt x="258468" y="929273"/>
                    </a:cubicBezTo>
                    <a:cubicBezTo>
                      <a:pt x="252647" y="924400"/>
                      <a:pt x="248093" y="916201"/>
                      <a:pt x="249059" y="908899"/>
                    </a:cubicBezTo>
                    <a:cubicBezTo>
                      <a:pt x="255344" y="910581"/>
                      <a:pt x="262006" y="911813"/>
                      <a:pt x="269394" y="912138"/>
                    </a:cubicBezTo>
                    <a:cubicBezTo>
                      <a:pt x="271265" y="912209"/>
                      <a:pt x="273158" y="912244"/>
                      <a:pt x="275027" y="912244"/>
                    </a:cubicBezTo>
                    <a:cubicBezTo>
                      <a:pt x="288450" y="912244"/>
                      <a:pt x="301722" y="910174"/>
                      <a:pt x="314581" y="906076"/>
                    </a:cubicBezTo>
                    <a:cubicBezTo>
                      <a:pt x="317141" y="905267"/>
                      <a:pt x="319423" y="904268"/>
                      <a:pt x="321782" y="903321"/>
                    </a:cubicBezTo>
                    <a:cubicBezTo>
                      <a:pt x="320526" y="917028"/>
                      <a:pt x="311395" y="929750"/>
                      <a:pt x="298636" y="935196"/>
                    </a:cubicBezTo>
                    <a:close/>
                    <a:moveTo>
                      <a:pt x="24683" y="396064"/>
                    </a:moveTo>
                    <a:cubicBezTo>
                      <a:pt x="37881" y="425446"/>
                      <a:pt x="58353" y="450530"/>
                      <a:pt x="78149" y="474791"/>
                    </a:cubicBezTo>
                    <a:cubicBezTo>
                      <a:pt x="102938" y="505145"/>
                      <a:pt x="126334" y="533805"/>
                      <a:pt x="137009" y="570415"/>
                    </a:cubicBezTo>
                    <a:cubicBezTo>
                      <a:pt x="143344" y="592097"/>
                      <a:pt x="147484" y="613467"/>
                      <a:pt x="151499" y="634139"/>
                    </a:cubicBezTo>
                    <a:cubicBezTo>
                      <a:pt x="160405" y="680269"/>
                      <a:pt x="168948" y="724093"/>
                      <a:pt x="200047" y="765426"/>
                    </a:cubicBezTo>
                    <a:cubicBezTo>
                      <a:pt x="199506" y="766086"/>
                      <a:pt x="199044" y="766821"/>
                      <a:pt x="198653" y="767644"/>
                    </a:cubicBezTo>
                    <a:cubicBezTo>
                      <a:pt x="197750" y="769661"/>
                      <a:pt x="197547" y="771906"/>
                      <a:pt x="197899" y="774049"/>
                    </a:cubicBezTo>
                    <a:cubicBezTo>
                      <a:pt x="195389" y="777302"/>
                      <a:pt x="193696" y="781251"/>
                      <a:pt x="193207" y="785775"/>
                    </a:cubicBezTo>
                    <a:cubicBezTo>
                      <a:pt x="192279" y="794410"/>
                      <a:pt x="195451" y="803519"/>
                      <a:pt x="201436" y="809662"/>
                    </a:cubicBezTo>
                    <a:cubicBezTo>
                      <a:pt x="195164" y="822222"/>
                      <a:pt x="201411" y="837786"/>
                      <a:pt x="211811" y="845873"/>
                    </a:cubicBezTo>
                    <a:cubicBezTo>
                      <a:pt x="212313" y="846258"/>
                      <a:pt x="212878" y="846470"/>
                      <a:pt x="213379" y="846833"/>
                    </a:cubicBezTo>
                    <a:cubicBezTo>
                      <a:pt x="204385" y="862198"/>
                      <a:pt x="209880" y="882634"/>
                      <a:pt x="221307" y="894085"/>
                    </a:cubicBezTo>
                    <a:cubicBezTo>
                      <a:pt x="225887" y="898670"/>
                      <a:pt x="231670" y="902222"/>
                      <a:pt x="238143" y="905113"/>
                    </a:cubicBezTo>
                    <a:cubicBezTo>
                      <a:pt x="235369" y="917200"/>
                      <a:pt x="242019" y="930259"/>
                      <a:pt x="251139" y="937897"/>
                    </a:cubicBezTo>
                    <a:cubicBezTo>
                      <a:pt x="260159" y="945461"/>
                      <a:pt x="271951" y="949460"/>
                      <a:pt x="283718" y="949460"/>
                    </a:cubicBezTo>
                    <a:cubicBezTo>
                      <a:pt x="290367" y="949460"/>
                      <a:pt x="297003" y="948189"/>
                      <a:pt x="303124" y="945573"/>
                    </a:cubicBezTo>
                    <a:cubicBezTo>
                      <a:pt x="320098" y="938321"/>
                      <a:pt x="332216" y="921137"/>
                      <a:pt x="333282" y="902820"/>
                    </a:cubicBezTo>
                    <a:cubicBezTo>
                      <a:pt x="333389" y="901174"/>
                      <a:pt x="332731" y="899694"/>
                      <a:pt x="331675" y="898596"/>
                    </a:cubicBezTo>
                    <a:cubicBezTo>
                      <a:pt x="333481" y="900478"/>
                      <a:pt x="348623" y="885263"/>
                      <a:pt x="349978" y="883294"/>
                    </a:cubicBezTo>
                    <a:cubicBezTo>
                      <a:pt x="353929" y="877487"/>
                      <a:pt x="356965" y="869238"/>
                      <a:pt x="358107" y="862297"/>
                    </a:cubicBezTo>
                    <a:cubicBezTo>
                      <a:pt x="358462" y="860252"/>
                      <a:pt x="355386" y="842609"/>
                      <a:pt x="354732" y="843170"/>
                    </a:cubicBezTo>
                    <a:cubicBezTo>
                      <a:pt x="354874" y="843064"/>
                      <a:pt x="354981" y="842994"/>
                      <a:pt x="355120" y="842888"/>
                    </a:cubicBezTo>
                    <a:cubicBezTo>
                      <a:pt x="367778" y="831698"/>
                      <a:pt x="376271" y="811112"/>
                      <a:pt x="367978" y="793406"/>
                    </a:cubicBezTo>
                    <a:cubicBezTo>
                      <a:pt x="367527" y="792445"/>
                      <a:pt x="366822" y="791760"/>
                      <a:pt x="366008" y="791213"/>
                    </a:cubicBezTo>
                    <a:cubicBezTo>
                      <a:pt x="369394" y="782291"/>
                      <a:pt x="369696" y="772285"/>
                      <a:pt x="364579" y="763712"/>
                    </a:cubicBezTo>
                    <a:cubicBezTo>
                      <a:pt x="363000" y="761020"/>
                      <a:pt x="359498" y="760147"/>
                      <a:pt x="356813" y="761730"/>
                    </a:cubicBezTo>
                    <a:cubicBezTo>
                      <a:pt x="386795" y="723127"/>
                      <a:pt x="395464" y="674654"/>
                      <a:pt x="403781" y="627502"/>
                    </a:cubicBezTo>
                    <a:cubicBezTo>
                      <a:pt x="406039" y="614830"/>
                      <a:pt x="408247" y="602220"/>
                      <a:pt x="410881" y="589871"/>
                    </a:cubicBezTo>
                    <a:cubicBezTo>
                      <a:pt x="417379" y="559404"/>
                      <a:pt x="427139" y="524452"/>
                      <a:pt x="450285" y="496328"/>
                    </a:cubicBezTo>
                    <a:cubicBezTo>
                      <a:pt x="455604" y="489848"/>
                      <a:pt x="460973" y="483606"/>
                      <a:pt x="466279" y="477413"/>
                    </a:cubicBezTo>
                    <a:cubicBezTo>
                      <a:pt x="483340" y="457575"/>
                      <a:pt x="499460" y="438834"/>
                      <a:pt x="512381" y="415034"/>
                    </a:cubicBezTo>
                    <a:cubicBezTo>
                      <a:pt x="561720" y="324246"/>
                      <a:pt x="579258" y="190841"/>
                      <a:pt x="507189" y="97472"/>
                    </a:cubicBezTo>
                    <a:cubicBezTo>
                      <a:pt x="418673" y="-17242"/>
                      <a:pt x="242644" y="-23958"/>
                      <a:pt x="133781" y="41773"/>
                    </a:cubicBezTo>
                    <a:cubicBezTo>
                      <a:pt x="13564" y="114357"/>
                      <a:pt x="-33341" y="266665"/>
                      <a:pt x="24679" y="396057"/>
                    </a:cubicBezTo>
                  </a:path>
                </a:pathLst>
              </a:custGeom>
              <a:grpFill/>
              <a:ln w="1250" cap="flat">
                <a:noFill/>
                <a:prstDash val="solid"/>
                <a:miter/>
              </a:ln>
            </p:spPr>
            <p:txBody>
              <a:bodyPr rtlCol="0" anchor="ctr"/>
              <a:lstStyle/>
              <a:p>
                <a:endParaRPr lang="en-LT"/>
              </a:p>
            </p:txBody>
          </p:sp>
          <p:sp>
            <p:nvSpPr>
              <p:cNvPr id="136" name="Freeform 135">
                <a:extLst>
                  <a:ext uri="{FF2B5EF4-FFF2-40B4-BE49-F238E27FC236}">
                    <a16:creationId xmlns:a16="http://schemas.microsoft.com/office/drawing/2014/main" id="{0B6138A0-E868-B542-98B6-AC757D3D9B47}"/>
                  </a:ext>
                </a:extLst>
              </p:cNvPr>
              <p:cNvSpPr/>
              <p:nvPr/>
            </p:nvSpPr>
            <p:spPr>
              <a:xfrm>
                <a:off x="5859545" y="3128279"/>
                <a:ext cx="142589" cy="204679"/>
              </a:xfrm>
              <a:custGeom>
                <a:avLst/>
                <a:gdLst>
                  <a:gd name="connsiteX0" fmla="*/ 69207 w 142589"/>
                  <a:gd name="connsiteY0" fmla="*/ 32523 h 204679"/>
                  <a:gd name="connsiteX1" fmla="*/ 97684 w 142589"/>
                  <a:gd name="connsiteY1" fmla="*/ 11352 h 204679"/>
                  <a:gd name="connsiteX2" fmla="*/ 127753 w 142589"/>
                  <a:gd name="connsiteY2" fmla="*/ 23626 h 204679"/>
                  <a:gd name="connsiteX3" fmla="*/ 33065 w 142589"/>
                  <a:gd name="connsiteY3" fmla="*/ 192233 h 204679"/>
                  <a:gd name="connsiteX4" fmla="*/ 11501 w 142589"/>
                  <a:gd name="connsiteY4" fmla="*/ 187959 h 204679"/>
                  <a:gd name="connsiteX5" fmla="*/ 69207 w 142589"/>
                  <a:gd name="connsiteY5" fmla="*/ 32523 h 204679"/>
                  <a:gd name="connsiteX6" fmla="*/ 4488 w 142589"/>
                  <a:gd name="connsiteY6" fmla="*/ 198077 h 204679"/>
                  <a:gd name="connsiteX7" fmla="*/ 36816 w 142589"/>
                  <a:gd name="connsiteY7" fmla="*/ 204482 h 204679"/>
                  <a:gd name="connsiteX8" fmla="*/ 37933 w 142589"/>
                  <a:gd name="connsiteY8" fmla="*/ 204588 h 204679"/>
                  <a:gd name="connsiteX9" fmla="*/ 41268 w 142589"/>
                  <a:gd name="connsiteY9" fmla="*/ 203503 h 204679"/>
                  <a:gd name="connsiteX10" fmla="*/ 43576 w 142589"/>
                  <a:gd name="connsiteY10" fmla="*/ 199591 h 204679"/>
                  <a:gd name="connsiteX11" fmla="*/ 140309 w 142589"/>
                  <a:gd name="connsiteY11" fmla="*/ 28067 h 204679"/>
                  <a:gd name="connsiteX12" fmla="*/ 142492 w 142589"/>
                  <a:gd name="connsiteY12" fmla="*/ 23706 h 204679"/>
                  <a:gd name="connsiteX13" fmla="*/ 140433 w 142589"/>
                  <a:gd name="connsiteY13" fmla="*/ 19282 h 204679"/>
                  <a:gd name="connsiteX14" fmla="*/ 96401 w 142589"/>
                  <a:gd name="connsiteY14" fmla="*/ 130 h 204679"/>
                  <a:gd name="connsiteX15" fmla="*/ 60185 w 142589"/>
                  <a:gd name="connsiteY15" fmla="*/ 25675 h 204679"/>
                  <a:gd name="connsiteX16" fmla="*/ -93 w 142589"/>
                  <a:gd name="connsiteY16" fmla="*/ 192312 h 204679"/>
                  <a:gd name="connsiteX17" fmla="*/ 4486 w 142589"/>
                  <a:gd name="connsiteY17" fmla="*/ 198070 h 20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589" h="204679">
                    <a:moveTo>
                      <a:pt x="69207" y="32523"/>
                    </a:moveTo>
                    <a:cubicBezTo>
                      <a:pt x="76244" y="23364"/>
                      <a:pt x="85804" y="12686"/>
                      <a:pt x="97684" y="11352"/>
                    </a:cubicBezTo>
                    <a:cubicBezTo>
                      <a:pt x="108221" y="10131"/>
                      <a:pt x="118232" y="16262"/>
                      <a:pt x="127753" y="23626"/>
                    </a:cubicBezTo>
                    <a:cubicBezTo>
                      <a:pt x="76445" y="65868"/>
                      <a:pt x="42298" y="126664"/>
                      <a:pt x="33065" y="192233"/>
                    </a:cubicBezTo>
                    <a:lnTo>
                      <a:pt x="11501" y="187959"/>
                    </a:lnTo>
                    <a:cubicBezTo>
                      <a:pt x="14687" y="132060"/>
                      <a:pt x="35098" y="77046"/>
                      <a:pt x="69207" y="32523"/>
                    </a:cubicBezTo>
                    <a:close/>
                    <a:moveTo>
                      <a:pt x="4488" y="198077"/>
                    </a:moveTo>
                    <a:lnTo>
                      <a:pt x="36816" y="204482"/>
                    </a:lnTo>
                    <a:cubicBezTo>
                      <a:pt x="37193" y="204552"/>
                      <a:pt x="37570" y="204588"/>
                      <a:pt x="37933" y="204588"/>
                    </a:cubicBezTo>
                    <a:cubicBezTo>
                      <a:pt x="39124" y="204588"/>
                      <a:pt x="40305" y="204213"/>
                      <a:pt x="41268" y="203503"/>
                    </a:cubicBezTo>
                    <a:cubicBezTo>
                      <a:pt x="42548" y="202581"/>
                      <a:pt x="43388" y="201161"/>
                      <a:pt x="43576" y="199591"/>
                    </a:cubicBezTo>
                    <a:cubicBezTo>
                      <a:pt x="51404" y="132364"/>
                      <a:pt x="86680" y="69836"/>
                      <a:pt x="140309" y="28067"/>
                    </a:cubicBezTo>
                    <a:cubicBezTo>
                      <a:pt x="141664" y="27022"/>
                      <a:pt x="142467" y="25414"/>
                      <a:pt x="142492" y="23706"/>
                    </a:cubicBezTo>
                    <a:cubicBezTo>
                      <a:pt x="142504" y="21999"/>
                      <a:pt x="141753" y="20366"/>
                      <a:pt x="140433" y="19282"/>
                    </a:cubicBezTo>
                    <a:cubicBezTo>
                      <a:pt x="127525" y="8653"/>
                      <a:pt x="113261" y="-1752"/>
                      <a:pt x="96401" y="130"/>
                    </a:cubicBezTo>
                    <a:cubicBezTo>
                      <a:pt x="80256" y="1950"/>
                      <a:pt x="68564" y="14734"/>
                      <a:pt x="60185" y="25675"/>
                    </a:cubicBezTo>
                    <a:cubicBezTo>
                      <a:pt x="23667" y="73312"/>
                      <a:pt x="2253" y="132488"/>
                      <a:pt x="-93" y="192312"/>
                    </a:cubicBezTo>
                    <a:cubicBezTo>
                      <a:pt x="-200" y="195078"/>
                      <a:pt x="1738" y="197521"/>
                      <a:pt x="4486" y="198070"/>
                    </a:cubicBezTo>
                  </a:path>
                </a:pathLst>
              </a:custGeom>
              <a:grpFill/>
              <a:ln w="1250" cap="flat">
                <a:noFill/>
                <a:prstDash val="solid"/>
                <a:miter/>
              </a:ln>
            </p:spPr>
            <p:txBody>
              <a:bodyPr rtlCol="0" anchor="ctr"/>
              <a:lstStyle/>
              <a:p>
                <a:endParaRPr lang="en-LT"/>
              </a:p>
            </p:txBody>
          </p:sp>
          <p:sp>
            <p:nvSpPr>
              <p:cNvPr id="137" name="Freeform 136">
                <a:extLst>
                  <a:ext uri="{FF2B5EF4-FFF2-40B4-BE49-F238E27FC236}">
                    <a16:creationId xmlns:a16="http://schemas.microsoft.com/office/drawing/2014/main" id="{62D0E009-2DB9-5F47-B190-AABC72B62C24}"/>
                  </a:ext>
                </a:extLst>
              </p:cNvPr>
              <p:cNvSpPr/>
              <p:nvPr/>
            </p:nvSpPr>
            <p:spPr>
              <a:xfrm>
                <a:off x="5651500" y="3281988"/>
                <a:ext cx="127873" cy="59002"/>
              </a:xfrm>
              <a:custGeom>
                <a:avLst/>
                <a:gdLst>
                  <a:gd name="connsiteX0" fmla="*/ 12156 w 127873"/>
                  <a:gd name="connsiteY0" fmla="*/ 29839 h 59002"/>
                  <a:gd name="connsiteX1" fmla="*/ 33545 w 127873"/>
                  <a:gd name="connsiteY1" fmla="*/ 12493 h 59002"/>
                  <a:gd name="connsiteX2" fmla="*/ 45613 w 127873"/>
                  <a:gd name="connsiteY2" fmla="*/ 11197 h 59002"/>
                  <a:gd name="connsiteX3" fmla="*/ 89507 w 127873"/>
                  <a:gd name="connsiteY3" fmla="*/ 22399 h 59002"/>
                  <a:gd name="connsiteX4" fmla="*/ 103632 w 127873"/>
                  <a:gd name="connsiteY4" fmla="*/ 27658 h 59002"/>
                  <a:gd name="connsiteX5" fmla="*/ 45061 w 127873"/>
                  <a:gd name="connsiteY5" fmla="*/ 44418 h 59002"/>
                  <a:gd name="connsiteX6" fmla="*/ 28025 w 127873"/>
                  <a:gd name="connsiteY6" fmla="*/ 47621 h 59002"/>
                  <a:gd name="connsiteX7" fmla="*/ 28025 w 127873"/>
                  <a:gd name="connsiteY7" fmla="*/ 53266 h 59002"/>
                  <a:gd name="connsiteX8" fmla="*/ 27197 w 127873"/>
                  <a:gd name="connsiteY8" fmla="*/ 47609 h 59002"/>
                  <a:gd name="connsiteX9" fmla="*/ 14025 w 127873"/>
                  <a:gd name="connsiteY9" fmla="*/ 41889 h 59002"/>
                  <a:gd name="connsiteX10" fmla="*/ 12156 w 127873"/>
                  <a:gd name="connsiteY10" fmla="*/ 29840 h 59002"/>
                  <a:gd name="connsiteX11" fmla="*/ 26858 w 127873"/>
                  <a:gd name="connsiteY11" fmla="*/ 58885 h 59002"/>
                  <a:gd name="connsiteX12" fmla="*/ 28025 w 127873"/>
                  <a:gd name="connsiteY12" fmla="*/ 58910 h 59002"/>
                  <a:gd name="connsiteX13" fmla="*/ 48009 w 127873"/>
                  <a:gd name="connsiteY13" fmla="*/ 55321 h 59002"/>
                  <a:gd name="connsiteX14" fmla="*/ 108011 w 127873"/>
                  <a:gd name="connsiteY14" fmla="*/ 38101 h 59002"/>
                  <a:gd name="connsiteX15" fmla="*/ 124143 w 127873"/>
                  <a:gd name="connsiteY15" fmla="*/ 32306 h 59002"/>
                  <a:gd name="connsiteX16" fmla="*/ 127756 w 127873"/>
                  <a:gd name="connsiteY16" fmla="*/ 26562 h 59002"/>
                  <a:gd name="connsiteX17" fmla="*/ 123240 w 127873"/>
                  <a:gd name="connsiteY17" fmla="*/ 21503 h 59002"/>
                  <a:gd name="connsiteX18" fmla="*/ 93634 w 127873"/>
                  <a:gd name="connsiteY18" fmla="*/ 11883 h 59002"/>
                  <a:gd name="connsiteX19" fmla="*/ 45613 w 127873"/>
                  <a:gd name="connsiteY19" fmla="*/ -92 h 59002"/>
                  <a:gd name="connsiteX20" fmla="*/ 31086 w 127873"/>
                  <a:gd name="connsiteY20" fmla="*/ 1466 h 59002"/>
                  <a:gd name="connsiteX21" fmla="*/ 1505 w 127873"/>
                  <a:gd name="connsiteY21" fmla="*/ 25926 h 59002"/>
                  <a:gd name="connsiteX22" fmla="*/ 4917 w 127873"/>
                  <a:gd name="connsiteY22" fmla="*/ 48655 h 59002"/>
                  <a:gd name="connsiteX23" fmla="*/ 26858 w 127873"/>
                  <a:gd name="connsiteY23" fmla="*/ 58885 h 59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873" h="59002">
                    <a:moveTo>
                      <a:pt x="12156" y="29839"/>
                    </a:moveTo>
                    <a:cubicBezTo>
                      <a:pt x="15242" y="21614"/>
                      <a:pt x="25704" y="14226"/>
                      <a:pt x="33545" y="12493"/>
                    </a:cubicBezTo>
                    <a:cubicBezTo>
                      <a:pt x="37509" y="11621"/>
                      <a:pt x="41448" y="11197"/>
                      <a:pt x="45613" y="11197"/>
                    </a:cubicBezTo>
                    <a:cubicBezTo>
                      <a:pt x="60453" y="11197"/>
                      <a:pt x="74566" y="16642"/>
                      <a:pt x="89507" y="22399"/>
                    </a:cubicBezTo>
                    <a:cubicBezTo>
                      <a:pt x="94161" y="24194"/>
                      <a:pt x="98865" y="26000"/>
                      <a:pt x="103632" y="27658"/>
                    </a:cubicBezTo>
                    <a:cubicBezTo>
                      <a:pt x="86985" y="33290"/>
                      <a:pt x="67880" y="38748"/>
                      <a:pt x="45061" y="44418"/>
                    </a:cubicBezTo>
                    <a:cubicBezTo>
                      <a:pt x="39754" y="45926"/>
                      <a:pt x="33695" y="47621"/>
                      <a:pt x="28025" y="47621"/>
                    </a:cubicBezTo>
                    <a:lnTo>
                      <a:pt x="28025" y="53266"/>
                    </a:lnTo>
                    <a:lnTo>
                      <a:pt x="27197" y="47609"/>
                    </a:lnTo>
                    <a:cubicBezTo>
                      <a:pt x="21527" y="47432"/>
                      <a:pt x="16597" y="45302"/>
                      <a:pt x="14025" y="41889"/>
                    </a:cubicBezTo>
                    <a:cubicBezTo>
                      <a:pt x="11152" y="38101"/>
                      <a:pt x="10550" y="34151"/>
                      <a:pt x="12156" y="29840"/>
                    </a:cubicBezTo>
                    <a:close/>
                    <a:moveTo>
                      <a:pt x="26858" y="58885"/>
                    </a:moveTo>
                    <a:cubicBezTo>
                      <a:pt x="26922" y="58885"/>
                      <a:pt x="27975" y="58910"/>
                      <a:pt x="28025" y="58910"/>
                    </a:cubicBezTo>
                    <a:cubicBezTo>
                      <a:pt x="35288" y="58910"/>
                      <a:pt x="42125" y="56978"/>
                      <a:pt x="48009" y="55321"/>
                    </a:cubicBezTo>
                    <a:cubicBezTo>
                      <a:pt x="71254" y="49540"/>
                      <a:pt x="90899" y="43907"/>
                      <a:pt x="108011" y="38101"/>
                    </a:cubicBezTo>
                    <a:cubicBezTo>
                      <a:pt x="113468" y="36243"/>
                      <a:pt x="118849" y="34312"/>
                      <a:pt x="124143" y="32306"/>
                    </a:cubicBezTo>
                    <a:cubicBezTo>
                      <a:pt x="126501" y="31395"/>
                      <a:pt x="127969" y="29067"/>
                      <a:pt x="127756" y="26562"/>
                    </a:cubicBezTo>
                    <a:cubicBezTo>
                      <a:pt x="127542" y="24072"/>
                      <a:pt x="125697" y="22001"/>
                      <a:pt x="123240" y="21503"/>
                    </a:cubicBezTo>
                    <a:cubicBezTo>
                      <a:pt x="113405" y="19496"/>
                      <a:pt x="103796" y="15796"/>
                      <a:pt x="93634" y="11883"/>
                    </a:cubicBezTo>
                    <a:cubicBezTo>
                      <a:pt x="78367" y="6002"/>
                      <a:pt x="62573" y="-92"/>
                      <a:pt x="45613" y="-92"/>
                    </a:cubicBezTo>
                    <a:cubicBezTo>
                      <a:pt x="40683" y="-92"/>
                      <a:pt x="35790" y="445"/>
                      <a:pt x="31086" y="1466"/>
                    </a:cubicBezTo>
                    <a:cubicBezTo>
                      <a:pt x="20285" y="3871"/>
                      <a:pt x="6235" y="13241"/>
                      <a:pt x="1505" y="25926"/>
                    </a:cubicBezTo>
                    <a:cubicBezTo>
                      <a:pt x="-1468" y="33876"/>
                      <a:pt x="-289" y="41739"/>
                      <a:pt x="4917" y="48655"/>
                    </a:cubicBezTo>
                    <a:cubicBezTo>
                      <a:pt x="9609" y="54885"/>
                      <a:pt x="17613" y="58611"/>
                      <a:pt x="26858" y="58885"/>
                    </a:cubicBezTo>
                  </a:path>
                </a:pathLst>
              </a:custGeom>
              <a:grpFill/>
              <a:ln w="1250" cap="flat">
                <a:noFill/>
                <a:prstDash val="solid"/>
                <a:miter/>
              </a:ln>
            </p:spPr>
            <p:txBody>
              <a:bodyPr rtlCol="0" anchor="ctr"/>
              <a:lstStyle/>
              <a:p>
                <a:endParaRPr lang="en-LT"/>
              </a:p>
            </p:txBody>
          </p:sp>
          <p:sp>
            <p:nvSpPr>
              <p:cNvPr id="138" name="Freeform 137">
                <a:extLst>
                  <a:ext uri="{FF2B5EF4-FFF2-40B4-BE49-F238E27FC236}">
                    <a16:creationId xmlns:a16="http://schemas.microsoft.com/office/drawing/2014/main" id="{8E0E0B4A-97BB-3E43-A815-9CCA556588F8}"/>
                  </a:ext>
                </a:extLst>
              </p:cNvPr>
              <p:cNvSpPr/>
              <p:nvPr/>
            </p:nvSpPr>
            <p:spPr>
              <a:xfrm>
                <a:off x="5764013" y="3003228"/>
                <a:ext cx="109098" cy="87325"/>
              </a:xfrm>
              <a:custGeom>
                <a:avLst/>
                <a:gdLst>
                  <a:gd name="connsiteX0" fmla="*/ 11742 w 109098"/>
                  <a:gd name="connsiteY0" fmla="*/ 17827 h 87325"/>
                  <a:gd name="connsiteX1" fmla="*/ 23848 w 109098"/>
                  <a:gd name="connsiteY1" fmla="*/ 11186 h 87325"/>
                  <a:gd name="connsiteX2" fmla="*/ 29342 w 109098"/>
                  <a:gd name="connsiteY2" fmla="*/ 12083 h 87325"/>
                  <a:gd name="connsiteX3" fmla="*/ 49477 w 109098"/>
                  <a:gd name="connsiteY3" fmla="*/ 28631 h 87325"/>
                  <a:gd name="connsiteX4" fmla="*/ 75369 w 109098"/>
                  <a:gd name="connsiteY4" fmla="*/ 58250 h 87325"/>
                  <a:gd name="connsiteX5" fmla="*/ 38575 w 109098"/>
                  <a:gd name="connsiteY5" fmla="*/ 41403 h 87325"/>
                  <a:gd name="connsiteX6" fmla="*/ 35013 w 109098"/>
                  <a:gd name="connsiteY6" fmla="*/ 40219 h 87325"/>
                  <a:gd name="connsiteX7" fmla="*/ 18027 w 109098"/>
                  <a:gd name="connsiteY7" fmla="*/ 32556 h 87325"/>
                  <a:gd name="connsiteX8" fmla="*/ 11742 w 109098"/>
                  <a:gd name="connsiteY8" fmla="*/ 17827 h 87325"/>
                  <a:gd name="connsiteX9" fmla="*/ 11102 w 109098"/>
                  <a:gd name="connsiteY9" fmla="*/ 41503 h 87325"/>
                  <a:gd name="connsiteX10" fmla="*/ 31412 w 109098"/>
                  <a:gd name="connsiteY10" fmla="*/ 50923 h 87325"/>
                  <a:gd name="connsiteX11" fmla="*/ 34851 w 109098"/>
                  <a:gd name="connsiteY11" fmla="*/ 52082 h 87325"/>
                  <a:gd name="connsiteX12" fmla="*/ 100309 w 109098"/>
                  <a:gd name="connsiteY12" fmla="*/ 86374 h 87325"/>
                  <a:gd name="connsiteX13" fmla="*/ 103321 w 109098"/>
                  <a:gd name="connsiteY13" fmla="*/ 87234 h 87325"/>
                  <a:gd name="connsiteX14" fmla="*/ 107636 w 109098"/>
                  <a:gd name="connsiteY14" fmla="*/ 85265 h 87325"/>
                  <a:gd name="connsiteX15" fmla="*/ 107611 w 109098"/>
                  <a:gd name="connsiteY15" fmla="*/ 77888 h 87325"/>
                  <a:gd name="connsiteX16" fmla="*/ 58047 w 109098"/>
                  <a:gd name="connsiteY16" fmla="*/ 21229 h 87325"/>
                  <a:gd name="connsiteX17" fmla="*/ 33070 w 109098"/>
                  <a:gd name="connsiteY17" fmla="*/ 1416 h 87325"/>
                  <a:gd name="connsiteX18" fmla="*/ 23850 w 109098"/>
                  <a:gd name="connsiteY18" fmla="*/ -92 h 87325"/>
                  <a:gd name="connsiteX19" fmla="*/ 1043 w 109098"/>
                  <a:gd name="connsiteY19" fmla="*/ 14051 h 87325"/>
                  <a:gd name="connsiteX20" fmla="*/ 11104 w 109098"/>
                  <a:gd name="connsiteY20" fmla="*/ 41502 h 8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098" h="87325">
                    <a:moveTo>
                      <a:pt x="11742" y="17827"/>
                    </a:moveTo>
                    <a:cubicBezTo>
                      <a:pt x="13399" y="13241"/>
                      <a:pt x="19005" y="11186"/>
                      <a:pt x="23848" y="11186"/>
                    </a:cubicBezTo>
                    <a:cubicBezTo>
                      <a:pt x="25754" y="11186"/>
                      <a:pt x="27661" y="11496"/>
                      <a:pt x="29342" y="12083"/>
                    </a:cubicBezTo>
                    <a:cubicBezTo>
                      <a:pt x="37434" y="14874"/>
                      <a:pt x="43832" y="22176"/>
                      <a:pt x="49477" y="28631"/>
                    </a:cubicBezTo>
                    <a:lnTo>
                      <a:pt x="75369" y="58250"/>
                    </a:lnTo>
                    <a:cubicBezTo>
                      <a:pt x="63615" y="51720"/>
                      <a:pt x="51434" y="45839"/>
                      <a:pt x="38575" y="41403"/>
                    </a:cubicBezTo>
                    <a:lnTo>
                      <a:pt x="35013" y="40219"/>
                    </a:lnTo>
                    <a:cubicBezTo>
                      <a:pt x="28715" y="38126"/>
                      <a:pt x="22731" y="36132"/>
                      <a:pt x="18027" y="32556"/>
                    </a:cubicBezTo>
                    <a:cubicBezTo>
                      <a:pt x="13523" y="29104"/>
                      <a:pt x="9910" y="22961"/>
                      <a:pt x="11742" y="17827"/>
                    </a:cubicBezTo>
                    <a:close/>
                    <a:moveTo>
                      <a:pt x="11102" y="41503"/>
                    </a:moveTo>
                    <a:cubicBezTo>
                      <a:pt x="17312" y="46250"/>
                      <a:pt x="24487" y="48618"/>
                      <a:pt x="31412" y="50923"/>
                    </a:cubicBezTo>
                    <a:lnTo>
                      <a:pt x="34851" y="52082"/>
                    </a:lnTo>
                    <a:cubicBezTo>
                      <a:pt x="58096" y="60069"/>
                      <a:pt x="79548" y="73439"/>
                      <a:pt x="100309" y="86374"/>
                    </a:cubicBezTo>
                    <a:cubicBezTo>
                      <a:pt x="101238" y="86960"/>
                      <a:pt x="102279" y="87234"/>
                      <a:pt x="103321" y="87234"/>
                    </a:cubicBezTo>
                    <a:cubicBezTo>
                      <a:pt x="104939" y="87234"/>
                      <a:pt x="106533" y="86548"/>
                      <a:pt x="107636" y="85265"/>
                    </a:cubicBezTo>
                    <a:cubicBezTo>
                      <a:pt x="109468" y="83134"/>
                      <a:pt x="109454" y="80006"/>
                      <a:pt x="107611" y="77888"/>
                    </a:cubicBezTo>
                    <a:lnTo>
                      <a:pt x="58047" y="21229"/>
                    </a:lnTo>
                    <a:cubicBezTo>
                      <a:pt x="51799" y="14089"/>
                      <a:pt x="44022" y="5192"/>
                      <a:pt x="33070" y="1416"/>
                    </a:cubicBezTo>
                    <a:cubicBezTo>
                      <a:pt x="30161" y="407"/>
                      <a:pt x="27061" y="-92"/>
                      <a:pt x="23850" y="-92"/>
                    </a:cubicBezTo>
                    <a:cubicBezTo>
                      <a:pt x="13061" y="-92"/>
                      <a:pt x="4130" y="5453"/>
                      <a:pt x="1043" y="14051"/>
                    </a:cubicBezTo>
                    <a:cubicBezTo>
                      <a:pt x="-2770" y="24718"/>
                      <a:pt x="3589" y="35758"/>
                      <a:pt x="11104" y="41502"/>
                    </a:cubicBezTo>
                  </a:path>
                </a:pathLst>
              </a:custGeom>
              <a:grpFill/>
              <a:ln w="1250" cap="flat">
                <a:noFill/>
                <a:prstDash val="solid"/>
                <a:miter/>
              </a:ln>
            </p:spPr>
            <p:txBody>
              <a:bodyPr rtlCol="0" anchor="ctr"/>
              <a:lstStyle/>
              <a:p>
                <a:endParaRPr lang="en-LT"/>
              </a:p>
            </p:txBody>
          </p:sp>
          <p:sp>
            <p:nvSpPr>
              <p:cNvPr id="139" name="Freeform 138">
                <a:extLst>
                  <a:ext uri="{FF2B5EF4-FFF2-40B4-BE49-F238E27FC236}">
                    <a16:creationId xmlns:a16="http://schemas.microsoft.com/office/drawing/2014/main" id="{CDA4B245-5968-4E44-8A16-AA64A8FACC41}"/>
                  </a:ext>
                </a:extLst>
              </p:cNvPr>
              <p:cNvSpPr/>
              <p:nvPr/>
            </p:nvSpPr>
            <p:spPr>
              <a:xfrm>
                <a:off x="6405855" y="3140991"/>
                <a:ext cx="132999" cy="67590"/>
              </a:xfrm>
              <a:custGeom>
                <a:avLst/>
                <a:gdLst>
                  <a:gd name="connsiteX0" fmla="*/ 88554 w 132999"/>
                  <a:gd name="connsiteY0" fmla="*/ 11214 h 67590"/>
                  <a:gd name="connsiteX1" fmla="*/ 109804 w 132999"/>
                  <a:gd name="connsiteY1" fmla="*/ 15849 h 67590"/>
                  <a:gd name="connsiteX2" fmla="*/ 120304 w 132999"/>
                  <a:gd name="connsiteY2" fmla="*/ 25107 h 67590"/>
                  <a:gd name="connsiteX3" fmla="*/ 119703 w 132999"/>
                  <a:gd name="connsiteY3" fmla="*/ 35711 h 67590"/>
                  <a:gd name="connsiteX4" fmla="*/ 107710 w 132999"/>
                  <a:gd name="connsiteY4" fmla="*/ 40310 h 67590"/>
                  <a:gd name="connsiteX5" fmla="*/ 48524 w 132999"/>
                  <a:gd name="connsiteY5" fmla="*/ 50826 h 67590"/>
                  <a:gd name="connsiteX6" fmla="*/ 31062 w 132999"/>
                  <a:gd name="connsiteY6" fmla="*/ 52921 h 67590"/>
                  <a:gd name="connsiteX7" fmla="*/ 20750 w 132999"/>
                  <a:gd name="connsiteY7" fmla="*/ 54094 h 67590"/>
                  <a:gd name="connsiteX8" fmla="*/ 88555 w 132999"/>
                  <a:gd name="connsiteY8" fmla="*/ 11216 h 67590"/>
                  <a:gd name="connsiteX9" fmla="*/ 5595 w 132999"/>
                  <a:gd name="connsiteY9" fmla="*/ 67499 h 67590"/>
                  <a:gd name="connsiteX10" fmla="*/ 7526 w 132999"/>
                  <a:gd name="connsiteY10" fmla="*/ 67146 h 67590"/>
                  <a:gd name="connsiteX11" fmla="*/ 32352 w 132999"/>
                  <a:gd name="connsiteY11" fmla="*/ 64105 h 67590"/>
                  <a:gd name="connsiteX12" fmla="*/ 50529 w 132999"/>
                  <a:gd name="connsiteY12" fmla="*/ 61925 h 67590"/>
                  <a:gd name="connsiteX13" fmla="*/ 109715 w 132999"/>
                  <a:gd name="connsiteY13" fmla="*/ 51408 h 67590"/>
                  <a:gd name="connsiteX14" fmla="*/ 128269 w 132999"/>
                  <a:gd name="connsiteY14" fmla="*/ 43109 h 67590"/>
                  <a:gd name="connsiteX15" fmla="*/ 130488 w 132999"/>
                  <a:gd name="connsiteY15" fmla="*/ 20082 h 67590"/>
                  <a:gd name="connsiteX16" fmla="*/ 114581 w 132999"/>
                  <a:gd name="connsiteY16" fmla="*/ 5590 h 67590"/>
                  <a:gd name="connsiteX17" fmla="*/ 88551 w 132999"/>
                  <a:gd name="connsiteY17" fmla="*/ -92 h 67590"/>
                  <a:gd name="connsiteX18" fmla="*/ 9920 w 132999"/>
                  <a:gd name="connsiteY18" fmla="*/ 49041 h 67590"/>
                  <a:gd name="connsiteX19" fmla="*/ 1490 w 132999"/>
                  <a:gd name="connsiteY19" fmla="*/ 57926 h 67590"/>
                  <a:gd name="connsiteX20" fmla="*/ 1632 w 132999"/>
                  <a:gd name="connsiteY20" fmla="*/ 65900 h 67590"/>
                  <a:gd name="connsiteX21" fmla="*/ 5584 w 132999"/>
                  <a:gd name="connsiteY21" fmla="*/ 67483 h 67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999" h="67590">
                    <a:moveTo>
                      <a:pt x="88554" y="11214"/>
                    </a:moveTo>
                    <a:cubicBezTo>
                      <a:pt x="95566" y="11214"/>
                      <a:pt x="102792" y="12797"/>
                      <a:pt x="109804" y="15849"/>
                    </a:cubicBezTo>
                    <a:cubicBezTo>
                      <a:pt x="113342" y="17569"/>
                      <a:pt x="118033" y="20572"/>
                      <a:pt x="120304" y="25107"/>
                    </a:cubicBezTo>
                    <a:cubicBezTo>
                      <a:pt x="122150" y="28771"/>
                      <a:pt x="121883" y="33232"/>
                      <a:pt x="119703" y="35711"/>
                    </a:cubicBezTo>
                    <a:cubicBezTo>
                      <a:pt x="117332" y="38417"/>
                      <a:pt x="112879" y="39400"/>
                      <a:pt x="107710" y="40310"/>
                    </a:cubicBezTo>
                    <a:lnTo>
                      <a:pt x="48524" y="50826"/>
                    </a:lnTo>
                    <a:cubicBezTo>
                      <a:pt x="46643" y="51180"/>
                      <a:pt x="39229" y="51985"/>
                      <a:pt x="31062" y="52921"/>
                    </a:cubicBezTo>
                    <a:cubicBezTo>
                      <a:pt x="27085" y="53370"/>
                      <a:pt x="23660" y="53755"/>
                      <a:pt x="20750" y="54094"/>
                    </a:cubicBezTo>
                    <a:cubicBezTo>
                      <a:pt x="40194" y="33446"/>
                      <a:pt x="62173" y="11216"/>
                      <a:pt x="88555" y="11216"/>
                    </a:cubicBezTo>
                    <a:close/>
                    <a:moveTo>
                      <a:pt x="5595" y="67499"/>
                    </a:moveTo>
                    <a:cubicBezTo>
                      <a:pt x="6246" y="67499"/>
                      <a:pt x="6886" y="67393"/>
                      <a:pt x="7526" y="67146"/>
                    </a:cubicBezTo>
                    <a:cubicBezTo>
                      <a:pt x="10186" y="66623"/>
                      <a:pt x="23470" y="65115"/>
                      <a:pt x="32352" y="64105"/>
                    </a:cubicBezTo>
                    <a:cubicBezTo>
                      <a:pt x="40844" y="63144"/>
                      <a:pt x="48585" y="62261"/>
                      <a:pt x="50529" y="61925"/>
                    </a:cubicBezTo>
                    <a:lnTo>
                      <a:pt x="109715" y="51408"/>
                    </a:lnTo>
                    <a:cubicBezTo>
                      <a:pt x="115022" y="50472"/>
                      <a:pt x="123076" y="49042"/>
                      <a:pt x="128269" y="43109"/>
                    </a:cubicBezTo>
                    <a:cubicBezTo>
                      <a:pt x="133500" y="37153"/>
                      <a:pt x="134391" y="27895"/>
                      <a:pt x="130488" y="20082"/>
                    </a:cubicBezTo>
                    <a:cubicBezTo>
                      <a:pt x="127554" y="14238"/>
                      <a:pt x="122146" y="9266"/>
                      <a:pt x="114581" y="5590"/>
                    </a:cubicBezTo>
                    <a:cubicBezTo>
                      <a:pt x="105900" y="1827"/>
                      <a:pt x="97144" y="-92"/>
                      <a:pt x="88551" y="-92"/>
                    </a:cubicBezTo>
                    <a:cubicBezTo>
                      <a:pt x="56085" y="-92"/>
                      <a:pt x="31560" y="26013"/>
                      <a:pt x="9920" y="49041"/>
                    </a:cubicBezTo>
                    <a:cubicBezTo>
                      <a:pt x="7061" y="52093"/>
                      <a:pt x="4237" y="55072"/>
                      <a:pt x="1490" y="57926"/>
                    </a:cubicBezTo>
                    <a:cubicBezTo>
                      <a:pt x="-679" y="60168"/>
                      <a:pt x="-619" y="63745"/>
                      <a:pt x="1632" y="65900"/>
                    </a:cubicBezTo>
                    <a:cubicBezTo>
                      <a:pt x="2735" y="66960"/>
                      <a:pt x="4168" y="67483"/>
                      <a:pt x="5584" y="67483"/>
                    </a:cubicBezTo>
                  </a:path>
                </a:pathLst>
              </a:custGeom>
              <a:grpFill/>
              <a:ln w="1250" cap="flat">
                <a:noFill/>
                <a:prstDash val="solid"/>
                <a:miter/>
              </a:ln>
            </p:spPr>
            <p:txBody>
              <a:bodyPr rtlCol="0" anchor="ctr"/>
              <a:lstStyle/>
              <a:p>
                <a:endParaRPr lang="en-LT"/>
              </a:p>
            </p:txBody>
          </p:sp>
          <p:sp>
            <p:nvSpPr>
              <p:cNvPr id="140" name="Freeform 139">
                <a:extLst>
                  <a:ext uri="{FF2B5EF4-FFF2-40B4-BE49-F238E27FC236}">
                    <a16:creationId xmlns:a16="http://schemas.microsoft.com/office/drawing/2014/main" id="{EDBFF36C-18E0-A944-9ED4-20A3A75249E6}"/>
                  </a:ext>
                </a:extLst>
              </p:cNvPr>
              <p:cNvSpPr/>
              <p:nvPr/>
            </p:nvSpPr>
            <p:spPr>
              <a:xfrm>
                <a:off x="6405626" y="3324716"/>
                <a:ext cx="118720" cy="64683"/>
              </a:xfrm>
              <a:custGeom>
                <a:avLst/>
                <a:gdLst>
                  <a:gd name="connsiteX0" fmla="*/ 31051 w 118720"/>
                  <a:gd name="connsiteY0" fmla="*/ 11198 h 64683"/>
                  <a:gd name="connsiteX1" fmla="*/ 102970 w 118720"/>
                  <a:gd name="connsiteY1" fmla="*/ 30375 h 64683"/>
                  <a:gd name="connsiteX2" fmla="*/ 107235 w 118720"/>
                  <a:gd name="connsiteY2" fmla="*/ 39247 h 64683"/>
                  <a:gd name="connsiteX3" fmla="*/ 100110 w 118720"/>
                  <a:gd name="connsiteY3" fmla="*/ 48954 h 64683"/>
                  <a:gd name="connsiteX4" fmla="*/ 87101 w 118720"/>
                  <a:gd name="connsiteY4" fmla="*/ 53303 h 64683"/>
                  <a:gd name="connsiteX5" fmla="*/ 52628 w 118720"/>
                  <a:gd name="connsiteY5" fmla="*/ 36443 h 64683"/>
                  <a:gd name="connsiteX6" fmla="*/ 38967 w 118720"/>
                  <a:gd name="connsiteY6" fmla="*/ 25988 h 64683"/>
                  <a:gd name="connsiteX7" fmla="*/ 20087 w 118720"/>
                  <a:gd name="connsiteY7" fmla="*/ 11359 h 64683"/>
                  <a:gd name="connsiteX8" fmla="*/ 31051 w 118720"/>
                  <a:gd name="connsiteY8" fmla="*/ 11183 h 64683"/>
                  <a:gd name="connsiteX9" fmla="*/ 32104 w 118720"/>
                  <a:gd name="connsiteY9" fmla="*/ 34985 h 64683"/>
                  <a:gd name="connsiteX10" fmla="*/ 45577 w 118720"/>
                  <a:gd name="connsiteY10" fmla="*/ 45290 h 64683"/>
                  <a:gd name="connsiteX11" fmla="*/ 87100 w 118720"/>
                  <a:gd name="connsiteY11" fmla="*/ 64592 h 64683"/>
                  <a:gd name="connsiteX12" fmla="*/ 106820 w 118720"/>
                  <a:gd name="connsiteY12" fmla="*/ 58075 h 64683"/>
                  <a:gd name="connsiteX13" fmla="*/ 118562 w 118720"/>
                  <a:gd name="connsiteY13" fmla="*/ 40194 h 64683"/>
                  <a:gd name="connsiteX14" fmla="*/ 111085 w 118720"/>
                  <a:gd name="connsiteY14" fmla="*/ 22487 h 64683"/>
                  <a:gd name="connsiteX15" fmla="*/ 31050 w 118720"/>
                  <a:gd name="connsiteY15" fmla="*/ -92 h 64683"/>
                  <a:gd name="connsiteX16" fmla="*/ 5320 w 118720"/>
                  <a:gd name="connsiteY16" fmla="*/ 643 h 64683"/>
                  <a:gd name="connsiteX17" fmla="*/ 252 w 118720"/>
                  <a:gd name="connsiteY17" fmla="*/ 4331 h 64683"/>
                  <a:gd name="connsiteX18" fmla="*/ 1696 w 118720"/>
                  <a:gd name="connsiteY18" fmla="*/ 10412 h 64683"/>
                  <a:gd name="connsiteX19" fmla="*/ 32104 w 118720"/>
                  <a:gd name="connsiteY19" fmla="*/ 34985 h 64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720" h="64683">
                    <a:moveTo>
                      <a:pt x="31051" y="11198"/>
                    </a:moveTo>
                    <a:cubicBezTo>
                      <a:pt x="66741" y="11198"/>
                      <a:pt x="90262" y="17465"/>
                      <a:pt x="102970" y="30375"/>
                    </a:cubicBezTo>
                    <a:cubicBezTo>
                      <a:pt x="106032" y="33490"/>
                      <a:pt x="107461" y="36468"/>
                      <a:pt x="107235" y="39247"/>
                    </a:cubicBezTo>
                    <a:cubicBezTo>
                      <a:pt x="106880" y="43259"/>
                      <a:pt x="103183" y="46736"/>
                      <a:pt x="100110" y="48954"/>
                    </a:cubicBezTo>
                    <a:cubicBezTo>
                      <a:pt x="96083" y="51882"/>
                      <a:pt x="91818" y="53303"/>
                      <a:pt x="87101" y="53303"/>
                    </a:cubicBezTo>
                    <a:cubicBezTo>
                      <a:pt x="75622" y="53303"/>
                      <a:pt x="63241" y="44779"/>
                      <a:pt x="52628" y="36443"/>
                    </a:cubicBezTo>
                    <a:cubicBezTo>
                      <a:pt x="48149" y="32928"/>
                      <a:pt x="43570" y="29465"/>
                      <a:pt x="38967" y="25988"/>
                    </a:cubicBezTo>
                    <a:cubicBezTo>
                      <a:pt x="32669" y="21241"/>
                      <a:pt x="26234" y="16394"/>
                      <a:pt x="20087" y="11359"/>
                    </a:cubicBezTo>
                    <a:cubicBezTo>
                      <a:pt x="23625" y="11253"/>
                      <a:pt x="27300" y="11183"/>
                      <a:pt x="31051" y="11183"/>
                    </a:cubicBezTo>
                    <a:close/>
                    <a:moveTo>
                      <a:pt x="32104" y="34985"/>
                    </a:moveTo>
                    <a:cubicBezTo>
                      <a:pt x="36645" y="38401"/>
                      <a:pt x="41161" y="41826"/>
                      <a:pt x="45577" y="45290"/>
                    </a:cubicBezTo>
                    <a:cubicBezTo>
                      <a:pt x="58322" y="55309"/>
                      <a:pt x="72184" y="64592"/>
                      <a:pt x="87100" y="64592"/>
                    </a:cubicBezTo>
                    <a:cubicBezTo>
                      <a:pt x="94213" y="64592"/>
                      <a:pt x="100849" y="62388"/>
                      <a:pt x="106820" y="58075"/>
                    </a:cubicBezTo>
                    <a:cubicBezTo>
                      <a:pt x="115827" y="51545"/>
                      <a:pt x="118173" y="44742"/>
                      <a:pt x="118562" y="40194"/>
                    </a:cubicBezTo>
                    <a:cubicBezTo>
                      <a:pt x="118918" y="35932"/>
                      <a:pt x="117897" y="29415"/>
                      <a:pt x="111085" y="22487"/>
                    </a:cubicBezTo>
                    <a:cubicBezTo>
                      <a:pt x="91177" y="2251"/>
                      <a:pt x="55876" y="-92"/>
                      <a:pt x="31050" y="-92"/>
                    </a:cubicBezTo>
                    <a:cubicBezTo>
                      <a:pt x="21754" y="-92"/>
                      <a:pt x="12948" y="283"/>
                      <a:pt x="5320" y="643"/>
                    </a:cubicBezTo>
                    <a:cubicBezTo>
                      <a:pt x="3037" y="749"/>
                      <a:pt x="1043" y="2200"/>
                      <a:pt x="252" y="4331"/>
                    </a:cubicBezTo>
                    <a:cubicBezTo>
                      <a:pt x="-537" y="6461"/>
                      <a:pt x="39" y="8855"/>
                      <a:pt x="1696" y="10412"/>
                    </a:cubicBezTo>
                    <a:cubicBezTo>
                      <a:pt x="11205" y="19234"/>
                      <a:pt x="21830" y="27247"/>
                      <a:pt x="32104" y="34985"/>
                    </a:cubicBezTo>
                  </a:path>
                </a:pathLst>
              </a:custGeom>
              <a:grpFill/>
              <a:ln w="1250" cap="flat">
                <a:noFill/>
                <a:prstDash val="solid"/>
                <a:miter/>
              </a:ln>
            </p:spPr>
            <p:txBody>
              <a:bodyPr rtlCol="0" anchor="ctr"/>
              <a:lstStyle/>
              <a:p>
                <a:endParaRPr lang="en-LT"/>
              </a:p>
            </p:txBody>
          </p:sp>
          <p:sp>
            <p:nvSpPr>
              <p:cNvPr id="141" name="Freeform 140">
                <a:extLst>
                  <a:ext uri="{FF2B5EF4-FFF2-40B4-BE49-F238E27FC236}">
                    <a16:creationId xmlns:a16="http://schemas.microsoft.com/office/drawing/2014/main" id="{7C8AEE45-59E8-CD4B-953D-3D681B92F530}"/>
                  </a:ext>
                </a:extLst>
              </p:cNvPr>
              <p:cNvSpPr/>
              <p:nvPr/>
            </p:nvSpPr>
            <p:spPr>
              <a:xfrm>
                <a:off x="6204379" y="3152558"/>
                <a:ext cx="67985" cy="26103"/>
              </a:xfrm>
              <a:custGeom>
                <a:avLst/>
                <a:gdLst>
                  <a:gd name="connsiteX0" fmla="*/ 5576 w 67985"/>
                  <a:gd name="connsiteY0" fmla="*/ 26002 h 26103"/>
                  <a:gd name="connsiteX1" fmla="*/ 7031 w 67985"/>
                  <a:gd name="connsiteY1" fmla="*/ 25825 h 26103"/>
                  <a:gd name="connsiteX2" fmla="*/ 63658 w 67985"/>
                  <a:gd name="connsiteY2" fmla="*/ 10996 h 26103"/>
                  <a:gd name="connsiteX3" fmla="*/ 67697 w 67985"/>
                  <a:gd name="connsiteY3" fmla="*/ 4106 h 26103"/>
                  <a:gd name="connsiteX4" fmla="*/ 60760 w 67985"/>
                  <a:gd name="connsiteY4" fmla="*/ 93 h 26103"/>
                  <a:gd name="connsiteX5" fmla="*/ 4121 w 67985"/>
                  <a:gd name="connsiteY5" fmla="*/ 14909 h 26103"/>
                  <a:gd name="connsiteX6" fmla="*/ 93 w 67985"/>
                  <a:gd name="connsiteY6" fmla="*/ 21812 h 26103"/>
                  <a:gd name="connsiteX7" fmla="*/ 5576 w 67985"/>
                  <a:gd name="connsiteY7" fmla="*/ 26012 h 26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85" h="26103">
                    <a:moveTo>
                      <a:pt x="5576" y="26002"/>
                    </a:moveTo>
                    <a:cubicBezTo>
                      <a:pt x="6053" y="26002"/>
                      <a:pt x="6544" y="25931"/>
                      <a:pt x="7031" y="25825"/>
                    </a:cubicBezTo>
                    <a:lnTo>
                      <a:pt x="63658" y="10996"/>
                    </a:lnTo>
                    <a:cubicBezTo>
                      <a:pt x="66695" y="10212"/>
                      <a:pt x="68500" y="7121"/>
                      <a:pt x="67697" y="4106"/>
                    </a:cubicBezTo>
                    <a:cubicBezTo>
                      <a:pt x="66919" y="1089"/>
                      <a:pt x="63846" y="-692"/>
                      <a:pt x="60760" y="93"/>
                    </a:cubicBezTo>
                    <a:lnTo>
                      <a:pt x="4121" y="14909"/>
                    </a:lnTo>
                    <a:cubicBezTo>
                      <a:pt x="1098" y="15708"/>
                      <a:pt x="-709" y="18797"/>
                      <a:pt x="93" y="21812"/>
                    </a:cubicBezTo>
                    <a:cubicBezTo>
                      <a:pt x="759" y="24341"/>
                      <a:pt x="3066" y="26012"/>
                      <a:pt x="5576" y="26012"/>
                    </a:cubicBezTo>
                  </a:path>
                </a:pathLst>
              </a:custGeom>
              <a:grpFill/>
              <a:ln w="1250" cap="flat">
                <a:noFill/>
                <a:prstDash val="solid"/>
                <a:miter/>
              </a:ln>
            </p:spPr>
            <p:txBody>
              <a:bodyPr rtlCol="0" anchor="ctr"/>
              <a:lstStyle/>
              <a:p>
                <a:endParaRPr lang="en-LT"/>
              </a:p>
            </p:txBody>
          </p:sp>
          <p:sp>
            <p:nvSpPr>
              <p:cNvPr id="142" name="Freeform 141">
                <a:extLst>
                  <a:ext uri="{FF2B5EF4-FFF2-40B4-BE49-F238E27FC236}">
                    <a16:creationId xmlns:a16="http://schemas.microsoft.com/office/drawing/2014/main" id="{5E77D061-B89B-3948-9DD1-E7486EB43C05}"/>
                  </a:ext>
                </a:extLst>
              </p:cNvPr>
              <p:cNvSpPr/>
              <p:nvPr/>
            </p:nvSpPr>
            <p:spPr>
              <a:xfrm>
                <a:off x="6215395" y="3174516"/>
                <a:ext cx="65344" cy="31037"/>
              </a:xfrm>
              <a:custGeom>
                <a:avLst/>
                <a:gdLst>
                  <a:gd name="connsiteX0" fmla="*/ 5035 w 65344"/>
                  <a:gd name="connsiteY0" fmla="*/ 19694 h 31037"/>
                  <a:gd name="connsiteX1" fmla="*/ -71 w 65344"/>
                  <a:gd name="connsiteY1" fmla="*/ 25837 h 31037"/>
                  <a:gd name="connsiteX2" fmla="*/ 5575 w 65344"/>
                  <a:gd name="connsiteY2" fmla="*/ 30946 h 31037"/>
                  <a:gd name="connsiteX3" fmla="*/ 6126 w 65344"/>
                  <a:gd name="connsiteY3" fmla="*/ 30920 h 31037"/>
                  <a:gd name="connsiteX4" fmla="*/ 62828 w 65344"/>
                  <a:gd name="connsiteY4" fmla="*/ 10173 h 31037"/>
                  <a:gd name="connsiteX5" fmla="*/ 64208 w 65344"/>
                  <a:gd name="connsiteY5" fmla="*/ 2310 h 31037"/>
                  <a:gd name="connsiteX6" fmla="*/ 56292 w 65344"/>
                  <a:gd name="connsiteY6" fmla="*/ 929 h 31037"/>
                  <a:gd name="connsiteX7" fmla="*/ 5034 w 65344"/>
                  <a:gd name="connsiteY7" fmla="*/ 19695 h 3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4" h="31037">
                    <a:moveTo>
                      <a:pt x="5035" y="19694"/>
                    </a:moveTo>
                    <a:cubicBezTo>
                      <a:pt x="1924" y="19976"/>
                      <a:pt x="-372" y="22735"/>
                      <a:pt x="-71" y="25837"/>
                    </a:cubicBezTo>
                    <a:cubicBezTo>
                      <a:pt x="214" y="28751"/>
                      <a:pt x="2689" y="30946"/>
                      <a:pt x="5575" y="30946"/>
                    </a:cubicBezTo>
                    <a:cubicBezTo>
                      <a:pt x="5752" y="30946"/>
                      <a:pt x="5937" y="30946"/>
                      <a:pt x="6126" y="30920"/>
                    </a:cubicBezTo>
                    <a:cubicBezTo>
                      <a:pt x="26461" y="28988"/>
                      <a:pt x="46081" y="21824"/>
                      <a:pt x="62828" y="10173"/>
                    </a:cubicBezTo>
                    <a:cubicBezTo>
                      <a:pt x="65388" y="8379"/>
                      <a:pt x="66028" y="4865"/>
                      <a:pt x="64208" y="2310"/>
                    </a:cubicBezTo>
                    <a:cubicBezTo>
                      <a:pt x="62401" y="-243"/>
                      <a:pt x="58864" y="-854"/>
                      <a:pt x="56292" y="929"/>
                    </a:cubicBezTo>
                    <a:cubicBezTo>
                      <a:pt x="41163" y="11458"/>
                      <a:pt x="23437" y="17938"/>
                      <a:pt x="5034" y="19695"/>
                    </a:cubicBezTo>
                  </a:path>
                </a:pathLst>
              </a:custGeom>
              <a:grpFill/>
              <a:ln w="1250" cap="flat">
                <a:noFill/>
                <a:prstDash val="solid"/>
                <a:miter/>
              </a:ln>
            </p:spPr>
            <p:txBody>
              <a:bodyPr rtlCol="0" anchor="ctr"/>
              <a:lstStyle/>
              <a:p>
                <a:endParaRPr lang="en-LT"/>
              </a:p>
            </p:txBody>
          </p:sp>
          <p:sp>
            <p:nvSpPr>
              <p:cNvPr id="143" name="Freeform 142">
                <a:extLst>
                  <a:ext uri="{FF2B5EF4-FFF2-40B4-BE49-F238E27FC236}">
                    <a16:creationId xmlns:a16="http://schemas.microsoft.com/office/drawing/2014/main" id="{CB70A925-D786-5F43-9B97-7C4A26D841DF}"/>
                  </a:ext>
                </a:extLst>
              </p:cNvPr>
              <p:cNvSpPr/>
              <p:nvPr/>
            </p:nvSpPr>
            <p:spPr>
              <a:xfrm>
                <a:off x="6223929" y="3199835"/>
                <a:ext cx="88031" cy="34104"/>
              </a:xfrm>
              <a:custGeom>
                <a:avLst/>
                <a:gdLst>
                  <a:gd name="connsiteX0" fmla="*/ -87 w 88031"/>
                  <a:gd name="connsiteY0" fmla="*/ 28730 h 34104"/>
                  <a:gd name="connsiteX1" fmla="*/ 5571 w 88031"/>
                  <a:gd name="connsiteY1" fmla="*/ 34013 h 34104"/>
                  <a:gd name="connsiteX2" fmla="*/ 5948 w 88031"/>
                  <a:gd name="connsiteY2" fmla="*/ 34001 h 34104"/>
                  <a:gd name="connsiteX3" fmla="*/ 85055 w 88031"/>
                  <a:gd name="connsiteY3" fmla="*/ 10462 h 34104"/>
                  <a:gd name="connsiteX4" fmla="*/ 87188 w 88031"/>
                  <a:gd name="connsiteY4" fmla="*/ 2774 h 34104"/>
                  <a:gd name="connsiteX5" fmla="*/ 79449 w 88031"/>
                  <a:gd name="connsiteY5" fmla="*/ 655 h 34104"/>
                  <a:gd name="connsiteX6" fmla="*/ 5221 w 88031"/>
                  <a:gd name="connsiteY6" fmla="*/ 22735 h 34104"/>
                  <a:gd name="connsiteX7" fmla="*/ -85 w 88031"/>
                  <a:gd name="connsiteY7" fmla="*/ 28729 h 3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31" h="34104">
                    <a:moveTo>
                      <a:pt x="-87" y="28730"/>
                    </a:moveTo>
                    <a:cubicBezTo>
                      <a:pt x="126" y="31721"/>
                      <a:pt x="2612" y="34013"/>
                      <a:pt x="5571" y="34013"/>
                    </a:cubicBezTo>
                    <a:cubicBezTo>
                      <a:pt x="5713" y="34013"/>
                      <a:pt x="5820" y="34001"/>
                      <a:pt x="5948" y="34001"/>
                    </a:cubicBezTo>
                    <a:cubicBezTo>
                      <a:pt x="33609" y="32220"/>
                      <a:pt x="60969" y="24082"/>
                      <a:pt x="85055" y="10462"/>
                    </a:cubicBezTo>
                    <a:cubicBezTo>
                      <a:pt x="87789" y="8929"/>
                      <a:pt x="88743" y="5478"/>
                      <a:pt x="87188" y="2774"/>
                    </a:cubicBezTo>
                    <a:cubicBezTo>
                      <a:pt x="85634" y="58"/>
                      <a:pt x="82146" y="-902"/>
                      <a:pt x="79449" y="655"/>
                    </a:cubicBezTo>
                    <a:cubicBezTo>
                      <a:pt x="56843" y="13427"/>
                      <a:pt x="31176" y="21065"/>
                      <a:pt x="5221" y="22735"/>
                    </a:cubicBezTo>
                    <a:cubicBezTo>
                      <a:pt x="2099" y="22947"/>
                      <a:pt x="-286" y="25624"/>
                      <a:pt x="-85" y="28729"/>
                    </a:cubicBezTo>
                  </a:path>
                </a:pathLst>
              </a:custGeom>
              <a:grpFill/>
              <a:ln w="1250" cap="flat">
                <a:noFill/>
                <a:prstDash val="solid"/>
                <a:miter/>
              </a:ln>
            </p:spPr>
            <p:txBody>
              <a:bodyPr rtlCol="0" anchor="ctr"/>
              <a:lstStyle/>
              <a:p>
                <a:endParaRPr lang="en-LT"/>
              </a:p>
            </p:txBody>
          </p:sp>
          <p:sp>
            <p:nvSpPr>
              <p:cNvPr id="144" name="Freeform 143">
                <a:extLst>
                  <a:ext uri="{FF2B5EF4-FFF2-40B4-BE49-F238E27FC236}">
                    <a16:creationId xmlns:a16="http://schemas.microsoft.com/office/drawing/2014/main" id="{9259E23E-7C38-0049-904F-273D77C152F2}"/>
                  </a:ext>
                </a:extLst>
              </p:cNvPr>
              <p:cNvSpPr/>
              <p:nvPr/>
            </p:nvSpPr>
            <p:spPr>
              <a:xfrm>
                <a:off x="6240963" y="3245064"/>
                <a:ext cx="65348" cy="25397"/>
              </a:xfrm>
              <a:custGeom>
                <a:avLst/>
                <a:gdLst>
                  <a:gd name="connsiteX0" fmla="*/ 64534 w 65348"/>
                  <a:gd name="connsiteY0" fmla="*/ 2789 h 25397"/>
                  <a:gd name="connsiteX1" fmla="*/ 56794 w 65348"/>
                  <a:gd name="connsiteY1" fmla="*/ 621 h 25397"/>
                  <a:gd name="connsiteX2" fmla="*/ 5548 w 65348"/>
                  <a:gd name="connsiteY2" fmla="*/ 14016 h 25397"/>
                  <a:gd name="connsiteX3" fmla="*/ -97 w 65348"/>
                  <a:gd name="connsiteY3" fmla="*/ 19698 h 25397"/>
                  <a:gd name="connsiteX4" fmla="*/ 5586 w 65348"/>
                  <a:gd name="connsiteY4" fmla="*/ 25306 h 25397"/>
                  <a:gd name="connsiteX5" fmla="*/ 5611 w 65348"/>
                  <a:gd name="connsiteY5" fmla="*/ 25306 h 25397"/>
                  <a:gd name="connsiteX6" fmla="*/ 62326 w 65348"/>
                  <a:gd name="connsiteY6" fmla="*/ 10477 h 25397"/>
                  <a:gd name="connsiteX7" fmla="*/ 64535 w 65348"/>
                  <a:gd name="connsiteY7" fmla="*/ 2789 h 2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8" h="25397">
                    <a:moveTo>
                      <a:pt x="64534" y="2789"/>
                    </a:moveTo>
                    <a:cubicBezTo>
                      <a:pt x="63005" y="73"/>
                      <a:pt x="59529" y="-887"/>
                      <a:pt x="56794" y="621"/>
                    </a:cubicBezTo>
                    <a:cubicBezTo>
                      <a:pt x="41163" y="9281"/>
                      <a:pt x="23450" y="13904"/>
                      <a:pt x="5548" y="14016"/>
                    </a:cubicBezTo>
                    <a:cubicBezTo>
                      <a:pt x="2412" y="14028"/>
                      <a:pt x="-122" y="16584"/>
                      <a:pt x="-97" y="19698"/>
                    </a:cubicBezTo>
                    <a:cubicBezTo>
                      <a:pt x="-71" y="22800"/>
                      <a:pt x="2463" y="25306"/>
                      <a:pt x="5586" y="25306"/>
                    </a:cubicBezTo>
                    <a:cubicBezTo>
                      <a:pt x="5598" y="25306"/>
                      <a:pt x="5598" y="25306"/>
                      <a:pt x="5611" y="25306"/>
                    </a:cubicBezTo>
                    <a:cubicBezTo>
                      <a:pt x="25419" y="25164"/>
                      <a:pt x="45040" y="20047"/>
                      <a:pt x="62326" y="10477"/>
                    </a:cubicBezTo>
                    <a:cubicBezTo>
                      <a:pt x="65061" y="8958"/>
                      <a:pt x="66064" y="5518"/>
                      <a:pt x="64535" y="2789"/>
                    </a:cubicBezTo>
                  </a:path>
                </a:pathLst>
              </a:custGeom>
              <a:grpFill/>
              <a:ln w="1250" cap="flat">
                <a:noFill/>
                <a:prstDash val="solid"/>
                <a:miter/>
              </a:ln>
            </p:spPr>
            <p:txBody>
              <a:bodyPr rtlCol="0" anchor="ctr"/>
              <a:lstStyle/>
              <a:p>
                <a:endParaRPr lang="en-LT"/>
              </a:p>
            </p:txBody>
          </p:sp>
          <p:sp>
            <p:nvSpPr>
              <p:cNvPr id="145" name="Freeform 144">
                <a:extLst>
                  <a:ext uri="{FF2B5EF4-FFF2-40B4-BE49-F238E27FC236}">
                    <a16:creationId xmlns:a16="http://schemas.microsoft.com/office/drawing/2014/main" id="{A3CCF439-58EF-5C48-BC79-6758EF925B46}"/>
                  </a:ext>
                </a:extLst>
              </p:cNvPr>
              <p:cNvSpPr/>
              <p:nvPr/>
            </p:nvSpPr>
            <p:spPr>
              <a:xfrm>
                <a:off x="6269374" y="3270448"/>
                <a:ext cx="45447" cy="22615"/>
              </a:xfrm>
              <a:custGeom>
                <a:avLst/>
                <a:gdLst>
                  <a:gd name="connsiteX0" fmla="*/ 36110 w 45447"/>
                  <a:gd name="connsiteY0" fmla="*/ 1168 h 22615"/>
                  <a:gd name="connsiteX1" fmla="*/ 5802 w 45447"/>
                  <a:gd name="connsiteY1" fmla="*/ 11211 h 22615"/>
                  <a:gd name="connsiteX2" fmla="*/ -94 w 45447"/>
                  <a:gd name="connsiteY2" fmla="*/ 16632 h 22615"/>
                  <a:gd name="connsiteX3" fmla="*/ 5363 w 45447"/>
                  <a:gd name="connsiteY3" fmla="*/ 22488 h 22615"/>
                  <a:gd name="connsiteX4" fmla="*/ 7407 w 45447"/>
                  <a:gd name="connsiteY4" fmla="*/ 22524 h 22615"/>
                  <a:gd name="connsiteX5" fmla="*/ 43248 w 45447"/>
                  <a:gd name="connsiteY5" fmla="*/ 9950 h 22615"/>
                  <a:gd name="connsiteX6" fmla="*/ 44087 w 45447"/>
                  <a:gd name="connsiteY6" fmla="*/ 2001 h 22615"/>
                  <a:gd name="connsiteX7" fmla="*/ 36109 w 45447"/>
                  <a:gd name="connsiteY7" fmla="*/ 1167 h 2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47" h="22615">
                    <a:moveTo>
                      <a:pt x="36110" y="1168"/>
                    </a:moveTo>
                    <a:cubicBezTo>
                      <a:pt x="27680" y="7946"/>
                      <a:pt x="16641" y="11548"/>
                      <a:pt x="5802" y="11211"/>
                    </a:cubicBezTo>
                    <a:cubicBezTo>
                      <a:pt x="2765" y="10929"/>
                      <a:pt x="44" y="13517"/>
                      <a:pt x="-94" y="16632"/>
                    </a:cubicBezTo>
                    <a:cubicBezTo>
                      <a:pt x="-201" y="19747"/>
                      <a:pt x="2228" y="22376"/>
                      <a:pt x="5363" y="22488"/>
                    </a:cubicBezTo>
                    <a:cubicBezTo>
                      <a:pt x="6053" y="22513"/>
                      <a:pt x="6728" y="22524"/>
                      <a:pt x="7407" y="22524"/>
                    </a:cubicBezTo>
                    <a:cubicBezTo>
                      <a:pt x="20291" y="22524"/>
                      <a:pt x="33250" y="18000"/>
                      <a:pt x="43248" y="9950"/>
                    </a:cubicBezTo>
                    <a:cubicBezTo>
                      <a:pt x="45680" y="7983"/>
                      <a:pt x="46057" y="4430"/>
                      <a:pt x="44087" y="2001"/>
                    </a:cubicBezTo>
                    <a:cubicBezTo>
                      <a:pt x="42117" y="-430"/>
                      <a:pt x="38492" y="-790"/>
                      <a:pt x="36109" y="1167"/>
                    </a:cubicBezTo>
                  </a:path>
                </a:pathLst>
              </a:custGeom>
              <a:grpFill/>
              <a:ln w="1250" cap="flat">
                <a:noFill/>
                <a:prstDash val="solid"/>
                <a:miter/>
              </a:ln>
            </p:spPr>
            <p:txBody>
              <a:bodyPr rtlCol="0" anchor="ctr"/>
              <a:lstStyle/>
              <a:p>
                <a:endParaRPr lang="en-LT"/>
              </a:p>
            </p:txBody>
          </p:sp>
          <p:sp>
            <p:nvSpPr>
              <p:cNvPr id="146" name="Freeform 145">
                <a:extLst>
                  <a:ext uri="{FF2B5EF4-FFF2-40B4-BE49-F238E27FC236}">
                    <a16:creationId xmlns:a16="http://schemas.microsoft.com/office/drawing/2014/main" id="{45F8CAC1-AE42-EB47-9042-15F1C15F707F}"/>
                  </a:ext>
                </a:extLst>
              </p:cNvPr>
              <p:cNvSpPr/>
              <p:nvPr/>
            </p:nvSpPr>
            <p:spPr>
              <a:xfrm>
                <a:off x="5982469" y="2863849"/>
                <a:ext cx="64071" cy="123469"/>
              </a:xfrm>
              <a:custGeom>
                <a:avLst/>
                <a:gdLst>
                  <a:gd name="connsiteX0" fmla="*/ 26086 w 64071"/>
                  <a:gd name="connsiteY0" fmla="*/ 11368 h 123469"/>
                  <a:gd name="connsiteX1" fmla="*/ 47523 w 64071"/>
                  <a:gd name="connsiteY1" fmla="*/ 28654 h 123469"/>
                  <a:gd name="connsiteX2" fmla="*/ 51248 w 64071"/>
                  <a:gd name="connsiteY2" fmla="*/ 40130 h 123469"/>
                  <a:gd name="connsiteX3" fmla="*/ 49108 w 64071"/>
                  <a:gd name="connsiteY3" fmla="*/ 85096 h 123469"/>
                  <a:gd name="connsiteX4" fmla="*/ 46789 w 64071"/>
                  <a:gd name="connsiteY4" fmla="*/ 99902 h 123469"/>
                  <a:gd name="connsiteX5" fmla="*/ 18389 w 64071"/>
                  <a:gd name="connsiteY5" fmla="*/ 46330 h 123469"/>
                  <a:gd name="connsiteX6" fmla="*/ 11775 w 64071"/>
                  <a:gd name="connsiteY6" fmla="*/ 30409 h 123469"/>
                  <a:gd name="connsiteX7" fmla="*/ 6211 w 64071"/>
                  <a:gd name="connsiteY7" fmla="*/ 31554 h 123469"/>
                  <a:gd name="connsiteX8" fmla="*/ 11620 w 64071"/>
                  <a:gd name="connsiteY8" fmla="*/ 29601 h 123469"/>
                  <a:gd name="connsiteX9" fmla="*/ 14586 w 64071"/>
                  <a:gd name="connsiteY9" fmla="*/ 15629 h 123469"/>
                  <a:gd name="connsiteX10" fmla="*/ 26085 w 64071"/>
                  <a:gd name="connsiteY10" fmla="*/ 11366 h 123469"/>
                  <a:gd name="connsiteX11" fmla="*/ 434 w 64071"/>
                  <a:gd name="connsiteY11" fmla="*/ 31559 h 123469"/>
                  <a:gd name="connsiteX12" fmla="*/ 647 w 64071"/>
                  <a:gd name="connsiteY12" fmla="*/ 32698 h 123469"/>
                  <a:gd name="connsiteX13" fmla="*/ 8238 w 64071"/>
                  <a:gd name="connsiteY13" fmla="*/ 51408 h 123469"/>
                  <a:gd name="connsiteX14" fmla="*/ 37383 w 64071"/>
                  <a:gd name="connsiteY14" fmla="*/ 106277 h 123469"/>
                  <a:gd name="connsiteX15" fmla="*/ 46366 w 64071"/>
                  <a:gd name="connsiteY15" fmla="*/ 120794 h 123469"/>
                  <a:gd name="connsiteX16" fmla="*/ 52762 w 64071"/>
                  <a:gd name="connsiteY16" fmla="*/ 123143 h 123469"/>
                  <a:gd name="connsiteX17" fmla="*/ 56834 w 64071"/>
                  <a:gd name="connsiteY17" fmla="*/ 117724 h 123469"/>
                  <a:gd name="connsiteX18" fmla="*/ 60315 w 64071"/>
                  <a:gd name="connsiteY18" fmla="*/ 86977 h 123469"/>
                  <a:gd name="connsiteX19" fmla="*/ 62381 w 64071"/>
                  <a:gd name="connsiteY19" fmla="*/ 37840 h 123469"/>
                  <a:gd name="connsiteX20" fmla="*/ 57899 w 64071"/>
                  <a:gd name="connsiteY20" fmla="*/ 24026 h 123469"/>
                  <a:gd name="connsiteX21" fmla="*/ 27787 w 64071"/>
                  <a:gd name="connsiteY21" fmla="*/ 215 h 123469"/>
                  <a:gd name="connsiteX22" fmla="*/ 6073 w 64071"/>
                  <a:gd name="connsiteY22" fmla="*/ 8144 h 123469"/>
                  <a:gd name="connsiteX23" fmla="*/ 437 w 64071"/>
                  <a:gd name="connsiteY23" fmla="*/ 31560 h 12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071" h="123469">
                    <a:moveTo>
                      <a:pt x="26086" y="11368"/>
                    </a:moveTo>
                    <a:cubicBezTo>
                      <a:pt x="34820" y="12702"/>
                      <a:pt x="44225" y="21380"/>
                      <a:pt x="47523" y="28654"/>
                    </a:cubicBezTo>
                    <a:cubicBezTo>
                      <a:pt x="49187" y="32333"/>
                      <a:pt x="50403" y="36079"/>
                      <a:pt x="51248" y="40130"/>
                    </a:cubicBezTo>
                    <a:cubicBezTo>
                      <a:pt x="54257" y="54564"/>
                      <a:pt x="51753" y="69396"/>
                      <a:pt x="49108" y="85096"/>
                    </a:cubicBezTo>
                    <a:cubicBezTo>
                      <a:pt x="48283" y="89987"/>
                      <a:pt x="47454" y="94929"/>
                      <a:pt x="46789" y="99902"/>
                    </a:cubicBezTo>
                    <a:cubicBezTo>
                      <a:pt x="37860" y="84852"/>
                      <a:pt x="28606" y="67375"/>
                      <a:pt x="18389" y="46330"/>
                    </a:cubicBezTo>
                    <a:cubicBezTo>
                      <a:pt x="15824" y="41474"/>
                      <a:pt x="12925" y="35925"/>
                      <a:pt x="11775" y="30409"/>
                    </a:cubicBezTo>
                    <a:lnTo>
                      <a:pt x="6211" y="31554"/>
                    </a:lnTo>
                    <a:lnTo>
                      <a:pt x="11620" y="29601"/>
                    </a:lnTo>
                    <a:cubicBezTo>
                      <a:pt x="10646" y="24050"/>
                      <a:pt x="11727" y="18823"/>
                      <a:pt x="14586" y="15629"/>
                    </a:cubicBezTo>
                    <a:cubicBezTo>
                      <a:pt x="17736" y="12066"/>
                      <a:pt x="21510" y="10681"/>
                      <a:pt x="26085" y="11366"/>
                    </a:cubicBezTo>
                    <a:close/>
                    <a:moveTo>
                      <a:pt x="434" y="31559"/>
                    </a:moveTo>
                    <a:cubicBezTo>
                      <a:pt x="448" y="31629"/>
                      <a:pt x="647" y="32650"/>
                      <a:pt x="647" y="32698"/>
                    </a:cubicBezTo>
                    <a:cubicBezTo>
                      <a:pt x="2119" y="39763"/>
                      <a:pt x="5411" y="46022"/>
                      <a:pt x="8238" y="51408"/>
                    </a:cubicBezTo>
                    <a:cubicBezTo>
                      <a:pt x="18652" y="72846"/>
                      <a:pt x="28188" y="90811"/>
                      <a:pt x="37383" y="106277"/>
                    </a:cubicBezTo>
                    <a:cubicBezTo>
                      <a:pt x="40320" y="111208"/>
                      <a:pt x="43315" y="116052"/>
                      <a:pt x="46366" y="120794"/>
                    </a:cubicBezTo>
                    <a:cubicBezTo>
                      <a:pt x="47743" y="122902"/>
                      <a:pt x="50336" y="123859"/>
                      <a:pt x="52762" y="123143"/>
                    </a:cubicBezTo>
                    <a:cubicBezTo>
                      <a:pt x="55173" y="122431"/>
                      <a:pt x="56840" y="120215"/>
                      <a:pt x="56834" y="117724"/>
                    </a:cubicBezTo>
                    <a:cubicBezTo>
                      <a:pt x="56817" y="107751"/>
                      <a:pt x="58515" y="97654"/>
                      <a:pt x="60315" y="86977"/>
                    </a:cubicBezTo>
                    <a:cubicBezTo>
                      <a:pt x="63017" y="70935"/>
                      <a:pt x="65820" y="54337"/>
                      <a:pt x="62381" y="37840"/>
                    </a:cubicBezTo>
                    <a:cubicBezTo>
                      <a:pt x="61382" y="33045"/>
                      <a:pt x="59860" y="28395"/>
                      <a:pt x="57899" y="24026"/>
                    </a:cubicBezTo>
                    <a:cubicBezTo>
                      <a:pt x="53337" y="14008"/>
                      <a:pt x="41251" y="2242"/>
                      <a:pt x="27787" y="215"/>
                    </a:cubicBezTo>
                    <a:cubicBezTo>
                      <a:pt x="19346" y="-1065"/>
                      <a:pt x="11834" y="1678"/>
                      <a:pt x="6073" y="8144"/>
                    </a:cubicBezTo>
                    <a:cubicBezTo>
                      <a:pt x="882" y="13971"/>
                      <a:pt x="-1168" y="22512"/>
                      <a:pt x="437" y="31560"/>
                    </a:cubicBezTo>
                  </a:path>
                </a:pathLst>
              </a:custGeom>
              <a:grpFill/>
              <a:ln w="1250" cap="flat">
                <a:noFill/>
                <a:prstDash val="solid"/>
                <a:miter/>
              </a:ln>
            </p:spPr>
            <p:txBody>
              <a:bodyPr rtlCol="0" anchor="ctr"/>
              <a:lstStyle/>
              <a:p>
                <a:endParaRPr lang="en-LT"/>
              </a:p>
            </p:txBody>
          </p:sp>
          <p:sp>
            <p:nvSpPr>
              <p:cNvPr id="147" name="Freeform 146">
                <a:extLst>
                  <a:ext uri="{FF2B5EF4-FFF2-40B4-BE49-F238E27FC236}">
                    <a16:creationId xmlns:a16="http://schemas.microsoft.com/office/drawing/2014/main" id="{9EE6DA69-4C6B-BE41-A1D7-304DADE2B549}"/>
                  </a:ext>
                </a:extLst>
              </p:cNvPr>
              <p:cNvSpPr/>
              <p:nvPr/>
            </p:nvSpPr>
            <p:spPr>
              <a:xfrm>
                <a:off x="6269488" y="2922538"/>
                <a:ext cx="91459" cy="100502"/>
              </a:xfrm>
              <a:custGeom>
                <a:avLst/>
                <a:gdLst>
                  <a:gd name="connsiteX0" fmla="*/ 19193 w 91459"/>
                  <a:gd name="connsiteY0" fmla="*/ 72828 h 100502"/>
                  <a:gd name="connsiteX1" fmla="*/ 62616 w 91459"/>
                  <a:gd name="connsiteY1" fmla="*/ 12738 h 100502"/>
                  <a:gd name="connsiteX2" fmla="*/ 72478 w 91459"/>
                  <a:gd name="connsiteY2" fmla="*/ 11902 h 100502"/>
                  <a:gd name="connsiteX3" fmla="*/ 79111 w 91459"/>
                  <a:gd name="connsiteY3" fmla="*/ 21948 h 100502"/>
                  <a:gd name="connsiteX4" fmla="*/ 78620 w 91459"/>
                  <a:gd name="connsiteY4" fmla="*/ 35573 h 100502"/>
                  <a:gd name="connsiteX5" fmla="*/ 50583 w 91459"/>
                  <a:gd name="connsiteY5" fmla="*/ 61672 h 100502"/>
                  <a:gd name="connsiteX6" fmla="*/ 35917 w 91459"/>
                  <a:gd name="connsiteY6" fmla="*/ 70685 h 100502"/>
                  <a:gd name="connsiteX7" fmla="*/ 15479 w 91459"/>
                  <a:gd name="connsiteY7" fmla="*/ 83077 h 100502"/>
                  <a:gd name="connsiteX8" fmla="*/ 19178 w 91459"/>
                  <a:gd name="connsiteY8" fmla="*/ 72823 h 100502"/>
                  <a:gd name="connsiteX9" fmla="*/ 41975 w 91459"/>
                  <a:gd name="connsiteY9" fmla="*/ 80236 h 100502"/>
                  <a:gd name="connsiteX10" fmla="*/ 56433 w 91459"/>
                  <a:gd name="connsiteY10" fmla="*/ 71346 h 100502"/>
                  <a:gd name="connsiteX11" fmla="*/ 89257 w 91459"/>
                  <a:gd name="connsiteY11" fmla="*/ 39554 h 100502"/>
                  <a:gd name="connsiteX12" fmla="*/ 90071 w 91459"/>
                  <a:gd name="connsiteY12" fmla="*/ 18926 h 100502"/>
                  <a:gd name="connsiteX13" fmla="*/ 77365 w 91459"/>
                  <a:gd name="connsiteY13" fmla="*/ 1707 h 100502"/>
                  <a:gd name="connsiteX14" fmla="*/ 58047 w 91459"/>
                  <a:gd name="connsiteY14" fmla="*/ 2414 h 100502"/>
                  <a:gd name="connsiteX15" fmla="*/ 8558 w 91459"/>
                  <a:gd name="connsiteY15" fmla="*/ 68849 h 100502"/>
                  <a:gd name="connsiteX16" fmla="*/ 179 w 91459"/>
                  <a:gd name="connsiteY16" fmla="*/ 93024 h 100502"/>
                  <a:gd name="connsiteX17" fmla="*/ 1868 w 91459"/>
                  <a:gd name="connsiteY17" fmla="*/ 99035 h 100502"/>
                  <a:gd name="connsiteX18" fmla="*/ 8106 w 91459"/>
                  <a:gd name="connsiteY18" fmla="*/ 99837 h 100502"/>
                  <a:gd name="connsiteX19" fmla="*/ 41977 w 91459"/>
                  <a:gd name="connsiteY19" fmla="*/ 80235 h 10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459" h="100502">
                    <a:moveTo>
                      <a:pt x="19193" y="72828"/>
                    </a:moveTo>
                    <a:cubicBezTo>
                      <a:pt x="31776" y="39653"/>
                      <a:pt x="45974" y="19999"/>
                      <a:pt x="62616" y="12738"/>
                    </a:cubicBezTo>
                    <a:cubicBezTo>
                      <a:pt x="66631" y="10991"/>
                      <a:pt x="69940" y="10712"/>
                      <a:pt x="72478" y="11902"/>
                    </a:cubicBezTo>
                    <a:cubicBezTo>
                      <a:pt x="76133" y="13647"/>
                      <a:pt x="78105" y="18309"/>
                      <a:pt x="79111" y="21948"/>
                    </a:cubicBezTo>
                    <a:cubicBezTo>
                      <a:pt x="80448" y="26723"/>
                      <a:pt x="80284" y="31188"/>
                      <a:pt x="78620" y="35573"/>
                    </a:cubicBezTo>
                    <a:cubicBezTo>
                      <a:pt x="74573" y="46242"/>
                      <a:pt x="62178" y="54746"/>
                      <a:pt x="50583" y="61672"/>
                    </a:cubicBezTo>
                    <a:cubicBezTo>
                      <a:pt x="45693" y="64596"/>
                      <a:pt x="40816" y="67631"/>
                      <a:pt x="35917" y="70685"/>
                    </a:cubicBezTo>
                    <a:cubicBezTo>
                      <a:pt x="29224" y="74865"/>
                      <a:pt x="22389" y="79137"/>
                      <a:pt x="15479" y="83077"/>
                    </a:cubicBezTo>
                    <a:cubicBezTo>
                      <a:pt x="16627" y="79750"/>
                      <a:pt x="17854" y="76309"/>
                      <a:pt x="19178" y="72823"/>
                    </a:cubicBezTo>
                    <a:close/>
                    <a:moveTo>
                      <a:pt x="41975" y="80236"/>
                    </a:moveTo>
                    <a:cubicBezTo>
                      <a:pt x="46794" y="77219"/>
                      <a:pt x="51613" y="74229"/>
                      <a:pt x="56433" y="71346"/>
                    </a:cubicBezTo>
                    <a:cubicBezTo>
                      <a:pt x="70365" y="63030"/>
                      <a:pt x="83998" y="53418"/>
                      <a:pt x="89257" y="39554"/>
                    </a:cubicBezTo>
                    <a:cubicBezTo>
                      <a:pt x="91764" y="32942"/>
                      <a:pt x="92027" y="25997"/>
                      <a:pt x="90071" y="18926"/>
                    </a:cubicBezTo>
                    <a:cubicBezTo>
                      <a:pt x="87095" y="8252"/>
                      <a:pt x="81512" y="3672"/>
                      <a:pt x="77365" y="1707"/>
                    </a:cubicBezTo>
                    <a:cubicBezTo>
                      <a:pt x="73476" y="-126"/>
                      <a:pt x="66976" y="-1475"/>
                      <a:pt x="58047" y="2414"/>
                    </a:cubicBezTo>
                    <a:cubicBezTo>
                      <a:pt x="31964" y="13785"/>
                      <a:pt x="17311" y="45772"/>
                      <a:pt x="8558" y="68849"/>
                    </a:cubicBezTo>
                    <a:cubicBezTo>
                      <a:pt x="5280" y="77489"/>
                      <a:pt x="2529" y="85807"/>
                      <a:pt x="179" y="93024"/>
                    </a:cubicBezTo>
                    <a:cubicBezTo>
                      <a:pt x="-525" y="95183"/>
                      <a:pt x="144" y="97549"/>
                      <a:pt x="1868" y="99035"/>
                    </a:cubicBezTo>
                    <a:cubicBezTo>
                      <a:pt x="3597" y="100520"/>
                      <a:pt x="6055" y="100828"/>
                      <a:pt x="8106" y="99837"/>
                    </a:cubicBezTo>
                    <a:cubicBezTo>
                      <a:pt x="19770" y="94108"/>
                      <a:pt x="31065" y="87057"/>
                      <a:pt x="41977" y="80235"/>
                    </a:cubicBezTo>
                  </a:path>
                </a:pathLst>
              </a:custGeom>
              <a:grpFill/>
              <a:ln w="1250" cap="flat">
                <a:noFill/>
                <a:prstDash val="solid"/>
                <a:miter/>
              </a:ln>
            </p:spPr>
            <p:txBody>
              <a:bodyPr rtlCol="0" anchor="ctr"/>
              <a:lstStyle/>
              <a:p>
                <a:endParaRPr lang="en-LT"/>
              </a:p>
            </p:txBody>
          </p:sp>
        </p:grpSp>
        <p:sp>
          <p:nvSpPr>
            <p:cNvPr id="133" name="TextBox 132">
              <a:extLst>
                <a:ext uri="{FF2B5EF4-FFF2-40B4-BE49-F238E27FC236}">
                  <a16:creationId xmlns:a16="http://schemas.microsoft.com/office/drawing/2014/main" id="{8AD64A62-E3DB-694F-A62D-D9F8F6BEC32F}"/>
                </a:ext>
              </a:extLst>
            </p:cNvPr>
            <p:cNvSpPr txBox="1"/>
            <p:nvPr/>
          </p:nvSpPr>
          <p:spPr>
            <a:xfrm>
              <a:off x="2595308" y="2633577"/>
              <a:ext cx="1303562" cy="400110"/>
            </a:xfrm>
            <a:prstGeom prst="rect">
              <a:avLst/>
            </a:prstGeom>
            <a:noFill/>
          </p:spPr>
          <p:txBody>
            <a:bodyPr wrap="none" rtlCol="0">
              <a:spAutoFit/>
            </a:bodyPr>
            <a:lstStyle/>
            <a:p>
              <a:pPr algn="ctr"/>
              <a:r>
                <a:rPr lang="en-LT" sz="2000" b="1" spc="300">
                  <a:solidFill>
                    <a:schemeClr val="bg1"/>
                  </a:solidFill>
                  <a:latin typeface="Montserrat" pitchFamily="2" charset="77"/>
                </a:rPr>
                <a:t>IDEA 3</a:t>
              </a:r>
            </a:p>
          </p:txBody>
        </p:sp>
        <p:sp>
          <p:nvSpPr>
            <p:cNvPr id="134" name="TextBox 133">
              <a:extLst>
                <a:ext uri="{FF2B5EF4-FFF2-40B4-BE49-F238E27FC236}">
                  <a16:creationId xmlns:a16="http://schemas.microsoft.com/office/drawing/2014/main" id="{F9A4D1D6-2173-4949-83B6-3D2B6F7BC412}"/>
                </a:ext>
              </a:extLst>
            </p:cNvPr>
            <p:cNvSpPr txBox="1"/>
            <p:nvPr/>
          </p:nvSpPr>
          <p:spPr>
            <a:xfrm>
              <a:off x="2630574" y="2957463"/>
              <a:ext cx="1233030" cy="523220"/>
            </a:xfrm>
            <a:prstGeom prst="rect">
              <a:avLst/>
            </a:prstGeom>
            <a:noFill/>
          </p:spPr>
          <p:txBody>
            <a:bodyPr wrap="none" rtlCol="0">
              <a:spAutoFit/>
            </a:bodyPr>
            <a:lstStyle/>
            <a:p>
              <a:pPr algn="ctr"/>
              <a:r>
                <a:rPr lang="en-LT" sz="1400">
                  <a:solidFill>
                    <a:schemeClr val="bg1"/>
                  </a:solidFill>
                  <a:latin typeface="Montserrat" pitchFamily="2" charset="77"/>
                </a:rPr>
                <a:t>Insert more</a:t>
              </a:r>
            </a:p>
            <a:p>
              <a:pPr algn="ctr"/>
              <a:r>
                <a:rPr lang="en-GB" sz="1400">
                  <a:solidFill>
                    <a:schemeClr val="bg1"/>
                  </a:solidFill>
                  <a:latin typeface="Montserrat" pitchFamily="2" charset="77"/>
                </a:rPr>
                <a:t>info</a:t>
              </a:r>
              <a:r>
                <a:rPr lang="en-LT" sz="1400">
                  <a:solidFill>
                    <a:schemeClr val="bg1"/>
                  </a:solidFill>
                  <a:latin typeface="Montserrat" pitchFamily="2" charset="77"/>
                </a:rPr>
                <a:t> here</a:t>
              </a:r>
            </a:p>
          </p:txBody>
        </p:sp>
      </p:grpSp>
      <p:grpSp>
        <p:nvGrpSpPr>
          <p:cNvPr id="148" name="Group 147">
            <a:extLst>
              <a:ext uri="{FF2B5EF4-FFF2-40B4-BE49-F238E27FC236}">
                <a16:creationId xmlns:a16="http://schemas.microsoft.com/office/drawing/2014/main" id="{542861A4-CE81-1B45-8FFB-D9C1A823AC35}"/>
              </a:ext>
            </a:extLst>
          </p:cNvPr>
          <p:cNvGrpSpPr/>
          <p:nvPr/>
        </p:nvGrpSpPr>
        <p:grpSpPr>
          <a:xfrm>
            <a:off x="8888945" y="3931887"/>
            <a:ext cx="1327608" cy="2028117"/>
            <a:chOff x="2583286" y="1452566"/>
            <a:chExt cx="1327608" cy="2028117"/>
          </a:xfrm>
        </p:grpSpPr>
        <p:grpSp>
          <p:nvGrpSpPr>
            <p:cNvPr id="149" name="Graphic 4">
              <a:extLst>
                <a:ext uri="{FF2B5EF4-FFF2-40B4-BE49-F238E27FC236}">
                  <a16:creationId xmlns:a16="http://schemas.microsoft.com/office/drawing/2014/main" id="{97B32BDD-A9EE-AC4A-8457-E9FB11925409}"/>
                </a:ext>
              </a:extLst>
            </p:cNvPr>
            <p:cNvGrpSpPr/>
            <p:nvPr/>
          </p:nvGrpSpPr>
          <p:grpSpPr>
            <a:xfrm>
              <a:off x="2791854" y="1452566"/>
              <a:ext cx="910470" cy="1143028"/>
              <a:chOff x="5651500" y="2863849"/>
              <a:chExt cx="887355" cy="1114011"/>
            </a:xfrm>
            <a:solidFill>
              <a:schemeClr val="bg1"/>
            </a:solidFill>
          </p:grpSpPr>
          <p:sp>
            <p:nvSpPr>
              <p:cNvPr id="152" name="Freeform 151">
                <a:extLst>
                  <a:ext uri="{FF2B5EF4-FFF2-40B4-BE49-F238E27FC236}">
                    <a16:creationId xmlns:a16="http://schemas.microsoft.com/office/drawing/2014/main" id="{428B57BE-DAA5-AD4B-95EC-4DB9DBE4594F}"/>
                  </a:ext>
                </a:extLst>
              </p:cNvPr>
              <p:cNvSpPr/>
              <p:nvPr/>
            </p:nvSpPr>
            <p:spPr>
              <a:xfrm>
                <a:off x="5818376" y="3028309"/>
                <a:ext cx="555527" cy="949552"/>
              </a:xfrm>
              <a:custGeom>
                <a:avLst/>
                <a:gdLst>
                  <a:gd name="connsiteX0" fmla="*/ 152752 w 555527"/>
                  <a:gd name="connsiteY0" fmla="*/ 394768 h 949552"/>
                  <a:gd name="connsiteX1" fmla="*/ 134073 w 555527"/>
                  <a:gd name="connsiteY1" fmla="*/ 390120 h 949552"/>
                  <a:gd name="connsiteX2" fmla="*/ 119257 w 555527"/>
                  <a:gd name="connsiteY2" fmla="*/ 362955 h 949552"/>
                  <a:gd name="connsiteX3" fmla="*/ 123008 w 555527"/>
                  <a:gd name="connsiteY3" fmla="*/ 353111 h 949552"/>
                  <a:gd name="connsiteX4" fmla="*/ 124061 w 555527"/>
                  <a:gd name="connsiteY4" fmla="*/ 352935 h 949552"/>
                  <a:gd name="connsiteX5" fmla="*/ 133081 w 555527"/>
                  <a:gd name="connsiteY5" fmla="*/ 358019 h 949552"/>
                  <a:gd name="connsiteX6" fmla="*/ 147746 w 555527"/>
                  <a:gd name="connsiteY6" fmla="*/ 382616 h 949552"/>
                  <a:gd name="connsiteX7" fmla="*/ 152751 w 555527"/>
                  <a:gd name="connsiteY7" fmla="*/ 394778 h 949552"/>
                  <a:gd name="connsiteX8" fmla="*/ 385106 w 555527"/>
                  <a:gd name="connsiteY8" fmla="*/ 380488 h 949552"/>
                  <a:gd name="connsiteX9" fmla="*/ 405128 w 555527"/>
                  <a:gd name="connsiteY9" fmla="*/ 352177 h 949552"/>
                  <a:gd name="connsiteX10" fmla="*/ 426291 w 555527"/>
                  <a:gd name="connsiteY10" fmla="*/ 346420 h 949552"/>
                  <a:gd name="connsiteX11" fmla="*/ 433190 w 555527"/>
                  <a:gd name="connsiteY11" fmla="*/ 351479 h 949552"/>
                  <a:gd name="connsiteX12" fmla="*/ 419015 w 555527"/>
                  <a:gd name="connsiteY12" fmla="*/ 373971 h 949552"/>
                  <a:gd name="connsiteX13" fmla="*/ 385106 w 555527"/>
                  <a:gd name="connsiteY13" fmla="*/ 380488 h 949552"/>
                  <a:gd name="connsiteX14" fmla="*/ 139693 w 555527"/>
                  <a:gd name="connsiteY14" fmla="*/ 51424 h 949552"/>
                  <a:gd name="connsiteX15" fmla="*/ 498185 w 555527"/>
                  <a:gd name="connsiteY15" fmla="*/ 104344 h 949552"/>
                  <a:gd name="connsiteX16" fmla="*/ 502375 w 555527"/>
                  <a:gd name="connsiteY16" fmla="*/ 409696 h 949552"/>
                  <a:gd name="connsiteX17" fmla="*/ 457653 w 555527"/>
                  <a:gd name="connsiteY17" fmla="*/ 470093 h 949552"/>
                  <a:gd name="connsiteX18" fmla="*/ 441482 w 555527"/>
                  <a:gd name="connsiteY18" fmla="*/ 489183 h 949552"/>
                  <a:gd name="connsiteX19" fmla="*/ 399784 w 555527"/>
                  <a:gd name="connsiteY19" fmla="*/ 587536 h 949552"/>
                  <a:gd name="connsiteX20" fmla="*/ 392595 w 555527"/>
                  <a:gd name="connsiteY20" fmla="*/ 625566 h 949552"/>
                  <a:gd name="connsiteX21" fmla="*/ 331377 w 555527"/>
                  <a:gd name="connsiteY21" fmla="*/ 772753 h 949552"/>
                  <a:gd name="connsiteX22" fmla="*/ 330172 w 555527"/>
                  <a:gd name="connsiteY22" fmla="*/ 774409 h 949552"/>
                  <a:gd name="connsiteX23" fmla="*/ 304856 w 555527"/>
                  <a:gd name="connsiteY23" fmla="*/ 780453 h 949552"/>
                  <a:gd name="connsiteX24" fmla="*/ 374981 w 555527"/>
                  <a:gd name="connsiteY24" fmla="*/ 411689 h 949552"/>
                  <a:gd name="connsiteX25" fmla="*/ 380990 w 555527"/>
                  <a:gd name="connsiteY25" fmla="*/ 391415 h 949552"/>
                  <a:gd name="connsiteX26" fmla="*/ 424094 w 555527"/>
                  <a:gd name="connsiteY26" fmla="*/ 384076 h 949552"/>
                  <a:gd name="connsiteX27" fmla="*/ 443413 w 555527"/>
                  <a:gd name="connsiteY27" fmla="*/ 346556 h 949552"/>
                  <a:gd name="connsiteX28" fmla="*/ 428761 w 555527"/>
                  <a:gd name="connsiteY28" fmla="*/ 335391 h 949552"/>
                  <a:gd name="connsiteX29" fmla="*/ 398014 w 555527"/>
                  <a:gd name="connsiteY29" fmla="*/ 343391 h 949552"/>
                  <a:gd name="connsiteX30" fmla="*/ 373526 w 555527"/>
                  <a:gd name="connsiteY30" fmla="*/ 378780 h 949552"/>
                  <a:gd name="connsiteX31" fmla="*/ 346856 w 555527"/>
                  <a:gd name="connsiteY31" fmla="*/ 365833 h 949552"/>
                  <a:gd name="connsiteX32" fmla="*/ 333320 w 555527"/>
                  <a:gd name="connsiteY32" fmla="*/ 350382 h 949552"/>
                  <a:gd name="connsiteX33" fmla="*/ 357670 w 555527"/>
                  <a:gd name="connsiteY33" fmla="*/ 305722 h 949552"/>
                  <a:gd name="connsiteX34" fmla="*/ 353154 w 555527"/>
                  <a:gd name="connsiteY34" fmla="*/ 278832 h 949552"/>
                  <a:gd name="connsiteX35" fmla="*/ 340810 w 555527"/>
                  <a:gd name="connsiteY35" fmla="*/ 271057 h 949552"/>
                  <a:gd name="connsiteX36" fmla="*/ 314102 w 555527"/>
                  <a:gd name="connsiteY36" fmla="*/ 293984 h 949552"/>
                  <a:gd name="connsiteX37" fmla="*/ 319120 w 555527"/>
                  <a:gd name="connsiteY37" fmla="*/ 347890 h 949552"/>
                  <a:gd name="connsiteX38" fmla="*/ 279930 w 555527"/>
                  <a:gd name="connsiteY38" fmla="*/ 362157 h 949552"/>
                  <a:gd name="connsiteX39" fmla="*/ 279574 w 555527"/>
                  <a:gd name="connsiteY39" fmla="*/ 362157 h 949552"/>
                  <a:gd name="connsiteX40" fmla="*/ 238804 w 555527"/>
                  <a:gd name="connsiteY40" fmla="*/ 344737 h 949552"/>
                  <a:gd name="connsiteX41" fmla="*/ 249090 w 555527"/>
                  <a:gd name="connsiteY41" fmla="*/ 318843 h 949552"/>
                  <a:gd name="connsiteX42" fmla="*/ 245051 w 555527"/>
                  <a:gd name="connsiteY42" fmla="*/ 287430 h 949552"/>
                  <a:gd name="connsiteX43" fmla="*/ 225745 w 555527"/>
                  <a:gd name="connsiteY43" fmla="*/ 281723 h 949552"/>
                  <a:gd name="connsiteX44" fmla="*/ 209072 w 555527"/>
                  <a:gd name="connsiteY44" fmla="*/ 292900 h 949552"/>
                  <a:gd name="connsiteX45" fmla="*/ 214065 w 555527"/>
                  <a:gd name="connsiteY45" fmla="*/ 327616 h 949552"/>
                  <a:gd name="connsiteX46" fmla="*/ 224954 w 555527"/>
                  <a:gd name="connsiteY46" fmla="*/ 346444 h 949552"/>
                  <a:gd name="connsiteX47" fmla="*/ 183908 w 555527"/>
                  <a:gd name="connsiteY47" fmla="*/ 387752 h 949552"/>
                  <a:gd name="connsiteX48" fmla="*/ 164702 w 555527"/>
                  <a:gd name="connsiteY48" fmla="*/ 394069 h 949552"/>
                  <a:gd name="connsiteX49" fmla="*/ 158242 w 555527"/>
                  <a:gd name="connsiteY49" fmla="*/ 378281 h 949552"/>
                  <a:gd name="connsiteX50" fmla="*/ 140767 w 555527"/>
                  <a:gd name="connsiteY50" fmla="*/ 349696 h 949552"/>
                  <a:gd name="connsiteX51" fmla="*/ 118613 w 555527"/>
                  <a:gd name="connsiteY51" fmla="*/ 342706 h 949552"/>
                  <a:gd name="connsiteX52" fmla="*/ 107887 w 555527"/>
                  <a:gd name="connsiteY52" fmla="*/ 362618 h 949552"/>
                  <a:gd name="connsiteX53" fmla="*/ 129063 w 555527"/>
                  <a:gd name="connsiteY53" fmla="*/ 400237 h 949552"/>
                  <a:gd name="connsiteX54" fmla="*/ 157288 w 555527"/>
                  <a:gd name="connsiteY54" fmla="*/ 406081 h 949552"/>
                  <a:gd name="connsiteX55" fmla="*/ 252491 w 555527"/>
                  <a:gd name="connsiteY55" fmla="*/ 779768 h 949552"/>
                  <a:gd name="connsiteX56" fmla="*/ 221957 w 555527"/>
                  <a:gd name="connsiteY56" fmla="*/ 775120 h 949552"/>
                  <a:gd name="connsiteX57" fmla="*/ 220751 w 555527"/>
                  <a:gd name="connsiteY57" fmla="*/ 772803 h 949552"/>
                  <a:gd name="connsiteX58" fmla="*/ 162632 w 555527"/>
                  <a:gd name="connsiteY58" fmla="*/ 632008 h 949552"/>
                  <a:gd name="connsiteX59" fmla="*/ 147929 w 555527"/>
                  <a:gd name="connsiteY59" fmla="*/ 567275 h 949552"/>
                  <a:gd name="connsiteX60" fmla="*/ 86974 w 555527"/>
                  <a:gd name="connsiteY60" fmla="*/ 467676 h 949552"/>
                  <a:gd name="connsiteX61" fmla="*/ 35064 w 555527"/>
                  <a:gd name="connsiteY61" fmla="*/ 391466 h 949552"/>
                  <a:gd name="connsiteX62" fmla="*/ 139687 w 555527"/>
                  <a:gd name="connsiteY62" fmla="*/ 51424 h 949552"/>
                  <a:gd name="connsiteX63" fmla="*/ 325055 w 555527"/>
                  <a:gd name="connsiteY63" fmla="*/ 297026 h 949552"/>
                  <a:gd name="connsiteX64" fmla="*/ 338051 w 555527"/>
                  <a:gd name="connsiteY64" fmla="*/ 282135 h 949552"/>
                  <a:gd name="connsiteX65" fmla="*/ 339068 w 555527"/>
                  <a:gd name="connsiteY65" fmla="*/ 282241 h 949552"/>
                  <a:gd name="connsiteX66" fmla="*/ 343885 w 555527"/>
                  <a:gd name="connsiteY66" fmla="*/ 285367 h 949552"/>
                  <a:gd name="connsiteX67" fmla="*/ 346506 w 555527"/>
                  <a:gd name="connsiteY67" fmla="*/ 303647 h 949552"/>
                  <a:gd name="connsiteX68" fmla="*/ 327915 w 555527"/>
                  <a:gd name="connsiteY68" fmla="*/ 339858 h 949552"/>
                  <a:gd name="connsiteX69" fmla="*/ 325056 w 555527"/>
                  <a:gd name="connsiteY69" fmla="*/ 297042 h 949552"/>
                  <a:gd name="connsiteX70" fmla="*/ 230831 w 555527"/>
                  <a:gd name="connsiteY70" fmla="*/ 335255 h 949552"/>
                  <a:gd name="connsiteX71" fmla="*/ 224683 w 555527"/>
                  <a:gd name="connsiteY71" fmla="*/ 323580 h 949552"/>
                  <a:gd name="connsiteX72" fmla="*/ 219239 w 555527"/>
                  <a:gd name="connsiteY72" fmla="*/ 297960 h 949552"/>
                  <a:gd name="connsiteX73" fmla="*/ 227469 w 555527"/>
                  <a:gd name="connsiteY73" fmla="*/ 292876 h 949552"/>
                  <a:gd name="connsiteX74" fmla="*/ 229688 w 555527"/>
                  <a:gd name="connsiteY74" fmla="*/ 292699 h 949552"/>
                  <a:gd name="connsiteX75" fmla="*/ 236876 w 555527"/>
                  <a:gd name="connsiteY75" fmla="*/ 295278 h 949552"/>
                  <a:gd name="connsiteX76" fmla="*/ 238181 w 555527"/>
                  <a:gd name="connsiteY76" fmla="*/ 315726 h 949552"/>
                  <a:gd name="connsiteX77" fmla="*/ 230829 w 555527"/>
                  <a:gd name="connsiteY77" fmla="*/ 335252 h 949552"/>
                  <a:gd name="connsiteX78" fmla="*/ 233078 w 555527"/>
                  <a:gd name="connsiteY78" fmla="*/ 355030 h 949552"/>
                  <a:gd name="connsiteX79" fmla="*/ 280033 w 555527"/>
                  <a:gd name="connsiteY79" fmla="*/ 373435 h 949552"/>
                  <a:gd name="connsiteX80" fmla="*/ 324642 w 555527"/>
                  <a:gd name="connsiteY80" fmla="*/ 357797 h 949552"/>
                  <a:gd name="connsiteX81" fmla="*/ 339621 w 555527"/>
                  <a:gd name="connsiteY81" fmla="*/ 374544 h 949552"/>
                  <a:gd name="connsiteX82" fmla="*/ 369640 w 555527"/>
                  <a:gd name="connsiteY82" fmla="*/ 389397 h 949552"/>
                  <a:gd name="connsiteX83" fmla="*/ 364020 w 555527"/>
                  <a:gd name="connsiteY83" fmla="*/ 408749 h 949552"/>
                  <a:gd name="connsiteX84" fmla="*/ 293456 w 555527"/>
                  <a:gd name="connsiteY84" fmla="*/ 781301 h 949552"/>
                  <a:gd name="connsiteX85" fmla="*/ 286368 w 555527"/>
                  <a:gd name="connsiteY85" fmla="*/ 781823 h 949552"/>
                  <a:gd name="connsiteX86" fmla="*/ 264152 w 555527"/>
                  <a:gd name="connsiteY86" fmla="*/ 780926 h 949552"/>
                  <a:gd name="connsiteX87" fmla="*/ 168974 w 555527"/>
                  <a:gd name="connsiteY87" fmla="*/ 404761 h 949552"/>
                  <a:gd name="connsiteX88" fmla="*/ 189071 w 555527"/>
                  <a:gd name="connsiteY88" fmla="*/ 397808 h 949552"/>
                  <a:gd name="connsiteX89" fmla="*/ 233078 w 555527"/>
                  <a:gd name="connsiteY89" fmla="*/ 355030 h 949552"/>
                  <a:gd name="connsiteX90" fmla="*/ 356932 w 555527"/>
                  <a:gd name="connsiteY90" fmla="*/ 775893 h 949552"/>
                  <a:gd name="connsiteX91" fmla="*/ 291587 w 555527"/>
                  <a:gd name="connsiteY91" fmla="*/ 799033 h 949552"/>
                  <a:gd name="connsiteX92" fmla="*/ 286193 w 555527"/>
                  <a:gd name="connsiteY92" fmla="*/ 804964 h 949552"/>
                  <a:gd name="connsiteX93" fmla="*/ 291863 w 555527"/>
                  <a:gd name="connsiteY93" fmla="*/ 810310 h 949552"/>
                  <a:gd name="connsiteX94" fmla="*/ 292147 w 555527"/>
                  <a:gd name="connsiteY94" fmla="*/ 810310 h 949552"/>
                  <a:gd name="connsiteX95" fmla="*/ 353291 w 555527"/>
                  <a:gd name="connsiteY95" fmla="*/ 791731 h 949552"/>
                  <a:gd name="connsiteX96" fmla="*/ 346818 w 555527"/>
                  <a:gd name="connsiteY96" fmla="*/ 799593 h 949552"/>
                  <a:gd name="connsiteX97" fmla="*/ 310663 w 555527"/>
                  <a:gd name="connsiteY97" fmla="*/ 812316 h 949552"/>
                  <a:gd name="connsiteX98" fmla="*/ 240036 w 555527"/>
                  <a:gd name="connsiteY98" fmla="*/ 812976 h 949552"/>
                  <a:gd name="connsiteX99" fmla="*/ 209703 w 555527"/>
                  <a:gd name="connsiteY99" fmla="*/ 801974 h 949552"/>
                  <a:gd name="connsiteX100" fmla="*/ 204510 w 555527"/>
                  <a:gd name="connsiteY100" fmla="*/ 786983 h 949552"/>
                  <a:gd name="connsiteX101" fmla="*/ 205552 w 555527"/>
                  <a:gd name="connsiteY101" fmla="*/ 783033 h 949552"/>
                  <a:gd name="connsiteX102" fmla="*/ 212275 w 555527"/>
                  <a:gd name="connsiteY102" fmla="*/ 784902 h 949552"/>
                  <a:gd name="connsiteX103" fmla="*/ 283329 w 555527"/>
                  <a:gd name="connsiteY103" fmla="*/ 793126 h 949552"/>
                  <a:gd name="connsiteX104" fmla="*/ 286540 w 555527"/>
                  <a:gd name="connsiteY104" fmla="*/ 793100 h 949552"/>
                  <a:gd name="connsiteX105" fmla="*/ 356703 w 555527"/>
                  <a:gd name="connsiteY105" fmla="*/ 774559 h 949552"/>
                  <a:gd name="connsiteX106" fmla="*/ 356916 w 555527"/>
                  <a:gd name="connsiteY106" fmla="*/ 775891 h 949552"/>
                  <a:gd name="connsiteX107" fmla="*/ 359290 w 555527"/>
                  <a:gd name="connsiteY107" fmla="*/ 802908 h 949552"/>
                  <a:gd name="connsiteX108" fmla="*/ 359667 w 555527"/>
                  <a:gd name="connsiteY108" fmla="*/ 810908 h 949552"/>
                  <a:gd name="connsiteX109" fmla="*/ 356442 w 555527"/>
                  <a:gd name="connsiteY109" fmla="*/ 812116 h 949552"/>
                  <a:gd name="connsiteX110" fmla="*/ 284096 w 555527"/>
                  <a:gd name="connsiteY110" fmla="*/ 832975 h 949552"/>
                  <a:gd name="connsiteX111" fmla="*/ 277698 w 555527"/>
                  <a:gd name="connsiteY111" fmla="*/ 837810 h 949552"/>
                  <a:gd name="connsiteX112" fmla="*/ 282566 w 555527"/>
                  <a:gd name="connsiteY112" fmla="*/ 844165 h 949552"/>
                  <a:gd name="connsiteX113" fmla="*/ 296089 w 555527"/>
                  <a:gd name="connsiteY113" fmla="*/ 845062 h 949552"/>
                  <a:gd name="connsiteX114" fmla="*/ 352729 w 555527"/>
                  <a:gd name="connsiteY114" fmla="*/ 828639 h 949552"/>
                  <a:gd name="connsiteX115" fmla="*/ 347573 w 555527"/>
                  <a:gd name="connsiteY115" fmla="*/ 834445 h 949552"/>
                  <a:gd name="connsiteX116" fmla="*/ 306689 w 555527"/>
                  <a:gd name="connsiteY116" fmla="*/ 849336 h 949552"/>
                  <a:gd name="connsiteX117" fmla="*/ 249723 w 555527"/>
                  <a:gd name="connsiteY117" fmla="*/ 846793 h 949552"/>
                  <a:gd name="connsiteX118" fmla="*/ 218826 w 555527"/>
                  <a:gd name="connsiteY118" fmla="*/ 836974 h 949552"/>
                  <a:gd name="connsiteX119" fmla="*/ 210772 w 555527"/>
                  <a:gd name="connsiteY119" fmla="*/ 816613 h 949552"/>
                  <a:gd name="connsiteX120" fmla="*/ 238734 w 555527"/>
                  <a:gd name="connsiteY120" fmla="*/ 824177 h 949552"/>
                  <a:gd name="connsiteX121" fmla="*/ 272730 w 555527"/>
                  <a:gd name="connsiteY121" fmla="*/ 826119 h 949552"/>
                  <a:gd name="connsiteX122" fmla="*/ 312172 w 555527"/>
                  <a:gd name="connsiteY122" fmla="*/ 823502 h 949552"/>
                  <a:gd name="connsiteX123" fmla="*/ 354146 w 555527"/>
                  <a:gd name="connsiteY123" fmla="*/ 808238 h 949552"/>
                  <a:gd name="connsiteX124" fmla="*/ 359290 w 555527"/>
                  <a:gd name="connsiteY124" fmla="*/ 802904 h 949552"/>
                  <a:gd name="connsiteX125" fmla="*/ 345717 w 555527"/>
                  <a:gd name="connsiteY125" fmla="*/ 866047 h 949552"/>
                  <a:gd name="connsiteX126" fmla="*/ 285590 w 555527"/>
                  <a:gd name="connsiteY126" fmla="*/ 875367 h 949552"/>
                  <a:gd name="connsiteX127" fmla="*/ 279129 w 555527"/>
                  <a:gd name="connsiteY127" fmla="*/ 880115 h 949552"/>
                  <a:gd name="connsiteX128" fmla="*/ 283909 w 555527"/>
                  <a:gd name="connsiteY128" fmla="*/ 886532 h 949552"/>
                  <a:gd name="connsiteX129" fmla="*/ 300543 w 555527"/>
                  <a:gd name="connsiteY129" fmla="*/ 887740 h 949552"/>
                  <a:gd name="connsiteX130" fmla="*/ 335769 w 555527"/>
                  <a:gd name="connsiteY130" fmla="*/ 882008 h 949552"/>
                  <a:gd name="connsiteX131" fmla="*/ 311081 w 555527"/>
                  <a:gd name="connsiteY131" fmla="*/ 895341 h 949552"/>
                  <a:gd name="connsiteX132" fmla="*/ 269884 w 555527"/>
                  <a:gd name="connsiteY132" fmla="*/ 900862 h 949552"/>
                  <a:gd name="connsiteX133" fmla="*/ 229389 w 555527"/>
                  <a:gd name="connsiteY133" fmla="*/ 886133 h 949552"/>
                  <a:gd name="connsiteX134" fmla="*/ 223355 w 555527"/>
                  <a:gd name="connsiteY134" fmla="*/ 852152 h 949552"/>
                  <a:gd name="connsiteX135" fmla="*/ 248231 w 555527"/>
                  <a:gd name="connsiteY135" fmla="*/ 857984 h 949552"/>
                  <a:gd name="connsiteX136" fmla="*/ 290808 w 555527"/>
                  <a:gd name="connsiteY136" fmla="*/ 861325 h 949552"/>
                  <a:gd name="connsiteX137" fmla="*/ 307756 w 555527"/>
                  <a:gd name="connsiteY137" fmla="*/ 860577 h 949552"/>
                  <a:gd name="connsiteX138" fmla="*/ 345127 w 555527"/>
                  <a:gd name="connsiteY138" fmla="*/ 849885 h 949552"/>
                  <a:gd name="connsiteX139" fmla="*/ 345717 w 555527"/>
                  <a:gd name="connsiteY139" fmla="*/ 866047 h 949552"/>
                  <a:gd name="connsiteX140" fmla="*/ 298636 w 555527"/>
                  <a:gd name="connsiteY140" fmla="*/ 935204 h 949552"/>
                  <a:gd name="connsiteX141" fmla="*/ 258468 w 555527"/>
                  <a:gd name="connsiteY141" fmla="*/ 929273 h 949552"/>
                  <a:gd name="connsiteX142" fmla="*/ 249059 w 555527"/>
                  <a:gd name="connsiteY142" fmla="*/ 908899 h 949552"/>
                  <a:gd name="connsiteX143" fmla="*/ 269394 w 555527"/>
                  <a:gd name="connsiteY143" fmla="*/ 912138 h 949552"/>
                  <a:gd name="connsiteX144" fmla="*/ 275027 w 555527"/>
                  <a:gd name="connsiteY144" fmla="*/ 912244 h 949552"/>
                  <a:gd name="connsiteX145" fmla="*/ 314581 w 555527"/>
                  <a:gd name="connsiteY145" fmla="*/ 906076 h 949552"/>
                  <a:gd name="connsiteX146" fmla="*/ 321782 w 555527"/>
                  <a:gd name="connsiteY146" fmla="*/ 903321 h 949552"/>
                  <a:gd name="connsiteX147" fmla="*/ 298636 w 555527"/>
                  <a:gd name="connsiteY147" fmla="*/ 935196 h 949552"/>
                  <a:gd name="connsiteX148" fmla="*/ 24683 w 555527"/>
                  <a:gd name="connsiteY148" fmla="*/ 396064 h 949552"/>
                  <a:gd name="connsiteX149" fmla="*/ 78149 w 555527"/>
                  <a:gd name="connsiteY149" fmla="*/ 474791 h 949552"/>
                  <a:gd name="connsiteX150" fmla="*/ 137009 w 555527"/>
                  <a:gd name="connsiteY150" fmla="*/ 570415 h 949552"/>
                  <a:gd name="connsiteX151" fmla="*/ 151499 w 555527"/>
                  <a:gd name="connsiteY151" fmla="*/ 634139 h 949552"/>
                  <a:gd name="connsiteX152" fmla="*/ 200047 w 555527"/>
                  <a:gd name="connsiteY152" fmla="*/ 765426 h 949552"/>
                  <a:gd name="connsiteX153" fmla="*/ 198653 w 555527"/>
                  <a:gd name="connsiteY153" fmla="*/ 767644 h 949552"/>
                  <a:gd name="connsiteX154" fmla="*/ 197899 w 555527"/>
                  <a:gd name="connsiteY154" fmla="*/ 774049 h 949552"/>
                  <a:gd name="connsiteX155" fmla="*/ 193207 w 555527"/>
                  <a:gd name="connsiteY155" fmla="*/ 785775 h 949552"/>
                  <a:gd name="connsiteX156" fmla="*/ 201436 w 555527"/>
                  <a:gd name="connsiteY156" fmla="*/ 809662 h 949552"/>
                  <a:gd name="connsiteX157" fmla="*/ 211811 w 555527"/>
                  <a:gd name="connsiteY157" fmla="*/ 845873 h 949552"/>
                  <a:gd name="connsiteX158" fmla="*/ 213379 w 555527"/>
                  <a:gd name="connsiteY158" fmla="*/ 846833 h 949552"/>
                  <a:gd name="connsiteX159" fmla="*/ 221307 w 555527"/>
                  <a:gd name="connsiteY159" fmla="*/ 894085 h 949552"/>
                  <a:gd name="connsiteX160" fmla="*/ 238143 w 555527"/>
                  <a:gd name="connsiteY160" fmla="*/ 905113 h 949552"/>
                  <a:gd name="connsiteX161" fmla="*/ 251139 w 555527"/>
                  <a:gd name="connsiteY161" fmla="*/ 937897 h 949552"/>
                  <a:gd name="connsiteX162" fmla="*/ 283718 w 555527"/>
                  <a:gd name="connsiteY162" fmla="*/ 949460 h 949552"/>
                  <a:gd name="connsiteX163" fmla="*/ 303124 w 555527"/>
                  <a:gd name="connsiteY163" fmla="*/ 945573 h 949552"/>
                  <a:gd name="connsiteX164" fmla="*/ 333282 w 555527"/>
                  <a:gd name="connsiteY164" fmla="*/ 902820 h 949552"/>
                  <a:gd name="connsiteX165" fmla="*/ 331675 w 555527"/>
                  <a:gd name="connsiteY165" fmla="*/ 898596 h 949552"/>
                  <a:gd name="connsiteX166" fmla="*/ 349978 w 555527"/>
                  <a:gd name="connsiteY166" fmla="*/ 883294 h 949552"/>
                  <a:gd name="connsiteX167" fmla="*/ 358107 w 555527"/>
                  <a:gd name="connsiteY167" fmla="*/ 862297 h 949552"/>
                  <a:gd name="connsiteX168" fmla="*/ 354732 w 555527"/>
                  <a:gd name="connsiteY168" fmla="*/ 843170 h 949552"/>
                  <a:gd name="connsiteX169" fmla="*/ 355120 w 555527"/>
                  <a:gd name="connsiteY169" fmla="*/ 842888 h 949552"/>
                  <a:gd name="connsiteX170" fmla="*/ 367978 w 555527"/>
                  <a:gd name="connsiteY170" fmla="*/ 793406 h 949552"/>
                  <a:gd name="connsiteX171" fmla="*/ 366008 w 555527"/>
                  <a:gd name="connsiteY171" fmla="*/ 791213 h 949552"/>
                  <a:gd name="connsiteX172" fmla="*/ 364579 w 555527"/>
                  <a:gd name="connsiteY172" fmla="*/ 763712 h 949552"/>
                  <a:gd name="connsiteX173" fmla="*/ 356813 w 555527"/>
                  <a:gd name="connsiteY173" fmla="*/ 761730 h 949552"/>
                  <a:gd name="connsiteX174" fmla="*/ 403781 w 555527"/>
                  <a:gd name="connsiteY174" fmla="*/ 627502 h 949552"/>
                  <a:gd name="connsiteX175" fmla="*/ 410881 w 555527"/>
                  <a:gd name="connsiteY175" fmla="*/ 589871 h 949552"/>
                  <a:gd name="connsiteX176" fmla="*/ 450285 w 555527"/>
                  <a:gd name="connsiteY176" fmla="*/ 496328 h 949552"/>
                  <a:gd name="connsiteX177" fmla="*/ 466279 w 555527"/>
                  <a:gd name="connsiteY177" fmla="*/ 477413 h 949552"/>
                  <a:gd name="connsiteX178" fmla="*/ 512381 w 555527"/>
                  <a:gd name="connsiteY178" fmla="*/ 415034 h 949552"/>
                  <a:gd name="connsiteX179" fmla="*/ 507189 w 555527"/>
                  <a:gd name="connsiteY179" fmla="*/ 97472 h 949552"/>
                  <a:gd name="connsiteX180" fmla="*/ 133781 w 555527"/>
                  <a:gd name="connsiteY180" fmla="*/ 41773 h 949552"/>
                  <a:gd name="connsiteX181" fmla="*/ 24679 w 555527"/>
                  <a:gd name="connsiteY181" fmla="*/ 396057 h 949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55527" h="949552">
                    <a:moveTo>
                      <a:pt x="152752" y="394768"/>
                    </a:moveTo>
                    <a:cubicBezTo>
                      <a:pt x="146116" y="394450"/>
                      <a:pt x="139756" y="392899"/>
                      <a:pt x="134073" y="390120"/>
                    </a:cubicBezTo>
                    <a:cubicBezTo>
                      <a:pt x="123485" y="384936"/>
                      <a:pt x="118969" y="372401"/>
                      <a:pt x="119257" y="362955"/>
                    </a:cubicBezTo>
                    <a:cubicBezTo>
                      <a:pt x="119435" y="357199"/>
                      <a:pt x="121316" y="353822"/>
                      <a:pt x="123008" y="353111"/>
                    </a:cubicBezTo>
                    <a:cubicBezTo>
                      <a:pt x="123293" y="352970"/>
                      <a:pt x="123648" y="352935"/>
                      <a:pt x="124061" y="352935"/>
                    </a:cubicBezTo>
                    <a:cubicBezTo>
                      <a:pt x="125917" y="352935"/>
                      <a:pt x="128978" y="354256"/>
                      <a:pt x="133081" y="358019"/>
                    </a:cubicBezTo>
                    <a:cubicBezTo>
                      <a:pt x="139667" y="364038"/>
                      <a:pt x="143618" y="372710"/>
                      <a:pt x="147746" y="382616"/>
                    </a:cubicBezTo>
                    <a:cubicBezTo>
                      <a:pt x="149438" y="386654"/>
                      <a:pt x="151095" y="390716"/>
                      <a:pt x="152751" y="394778"/>
                    </a:cubicBezTo>
                    <a:close/>
                    <a:moveTo>
                      <a:pt x="385106" y="380488"/>
                    </a:moveTo>
                    <a:cubicBezTo>
                      <a:pt x="389911" y="369149"/>
                      <a:pt x="396083" y="359429"/>
                      <a:pt x="405128" y="352177"/>
                    </a:cubicBezTo>
                    <a:cubicBezTo>
                      <a:pt x="411074" y="347429"/>
                      <a:pt x="419955" y="345012"/>
                      <a:pt x="426291" y="346420"/>
                    </a:cubicBezTo>
                    <a:cubicBezTo>
                      <a:pt x="429616" y="347155"/>
                      <a:pt x="431886" y="348825"/>
                      <a:pt x="433190" y="351479"/>
                    </a:cubicBezTo>
                    <a:cubicBezTo>
                      <a:pt x="437155" y="359603"/>
                      <a:pt x="427508" y="369759"/>
                      <a:pt x="419015" y="373971"/>
                    </a:cubicBezTo>
                    <a:cubicBezTo>
                      <a:pt x="408615" y="379142"/>
                      <a:pt x="396685" y="381248"/>
                      <a:pt x="385106" y="380488"/>
                    </a:cubicBezTo>
                    <a:close/>
                    <a:moveTo>
                      <a:pt x="139693" y="51424"/>
                    </a:moveTo>
                    <a:cubicBezTo>
                      <a:pt x="244354" y="-11740"/>
                      <a:pt x="413357" y="-5547"/>
                      <a:pt x="498185" y="104344"/>
                    </a:cubicBezTo>
                    <a:cubicBezTo>
                      <a:pt x="567143" y="193700"/>
                      <a:pt x="549982" y="322084"/>
                      <a:pt x="502375" y="409696"/>
                    </a:cubicBezTo>
                    <a:cubicBezTo>
                      <a:pt x="490031" y="432424"/>
                      <a:pt x="474300" y="450717"/>
                      <a:pt x="457653" y="470093"/>
                    </a:cubicBezTo>
                    <a:cubicBezTo>
                      <a:pt x="452271" y="476348"/>
                      <a:pt x="446864" y="482654"/>
                      <a:pt x="441482" y="489183"/>
                    </a:cubicBezTo>
                    <a:cubicBezTo>
                      <a:pt x="416807" y="519188"/>
                      <a:pt x="406558" y="555736"/>
                      <a:pt x="399784" y="587536"/>
                    </a:cubicBezTo>
                    <a:cubicBezTo>
                      <a:pt x="397113" y="600009"/>
                      <a:pt x="394853" y="612756"/>
                      <a:pt x="392595" y="625566"/>
                    </a:cubicBezTo>
                    <a:cubicBezTo>
                      <a:pt x="383137" y="679110"/>
                      <a:pt x="373352" y="734461"/>
                      <a:pt x="331377" y="772753"/>
                    </a:cubicBezTo>
                    <a:cubicBezTo>
                      <a:pt x="330851" y="773226"/>
                      <a:pt x="330474" y="773813"/>
                      <a:pt x="330172" y="774409"/>
                    </a:cubicBezTo>
                    <a:cubicBezTo>
                      <a:pt x="322268" y="777101"/>
                      <a:pt x="313914" y="779281"/>
                      <a:pt x="304856" y="780453"/>
                    </a:cubicBezTo>
                    <a:cubicBezTo>
                      <a:pt x="309272" y="654736"/>
                      <a:pt x="342641" y="531188"/>
                      <a:pt x="374981" y="411689"/>
                    </a:cubicBezTo>
                    <a:cubicBezTo>
                      <a:pt x="376902" y="404623"/>
                      <a:pt x="378820" y="397820"/>
                      <a:pt x="380990" y="391415"/>
                    </a:cubicBezTo>
                    <a:cubicBezTo>
                      <a:pt x="395693" y="392948"/>
                      <a:pt x="410885" y="390631"/>
                      <a:pt x="424094" y="384076"/>
                    </a:cubicBezTo>
                    <a:cubicBezTo>
                      <a:pt x="438998" y="376687"/>
                      <a:pt x="450288" y="360625"/>
                      <a:pt x="443413" y="346556"/>
                    </a:cubicBezTo>
                    <a:cubicBezTo>
                      <a:pt x="440579" y="340762"/>
                      <a:pt x="435510" y="336899"/>
                      <a:pt x="428761" y="335391"/>
                    </a:cubicBezTo>
                    <a:cubicBezTo>
                      <a:pt x="419001" y="333247"/>
                      <a:pt x="406644" y="336462"/>
                      <a:pt x="398014" y="343391"/>
                    </a:cubicBezTo>
                    <a:cubicBezTo>
                      <a:pt x="386359" y="352712"/>
                      <a:pt x="378858" y="365609"/>
                      <a:pt x="373526" y="378780"/>
                    </a:cubicBezTo>
                    <a:cubicBezTo>
                      <a:pt x="363767" y="376487"/>
                      <a:pt x="354533" y="372138"/>
                      <a:pt x="346856" y="365833"/>
                    </a:cubicBezTo>
                    <a:cubicBezTo>
                      <a:pt x="341524" y="361472"/>
                      <a:pt x="336971" y="356213"/>
                      <a:pt x="333320" y="350382"/>
                    </a:cubicBezTo>
                    <a:cubicBezTo>
                      <a:pt x="345489" y="338532"/>
                      <a:pt x="354408" y="322968"/>
                      <a:pt x="357670" y="305722"/>
                    </a:cubicBezTo>
                    <a:cubicBezTo>
                      <a:pt x="359149" y="297872"/>
                      <a:pt x="358747" y="286682"/>
                      <a:pt x="353154" y="278832"/>
                    </a:cubicBezTo>
                    <a:cubicBezTo>
                      <a:pt x="350092" y="274520"/>
                      <a:pt x="345828" y="271842"/>
                      <a:pt x="340810" y="271057"/>
                    </a:cubicBezTo>
                    <a:cubicBezTo>
                      <a:pt x="327399" y="269050"/>
                      <a:pt x="317614" y="281499"/>
                      <a:pt x="314102" y="293984"/>
                    </a:cubicBezTo>
                    <a:cubicBezTo>
                      <a:pt x="309134" y="311691"/>
                      <a:pt x="311292" y="331167"/>
                      <a:pt x="319120" y="347890"/>
                    </a:cubicBezTo>
                    <a:cubicBezTo>
                      <a:pt x="307754" y="356712"/>
                      <a:pt x="294055" y="362045"/>
                      <a:pt x="279930" y="362157"/>
                    </a:cubicBezTo>
                    <a:cubicBezTo>
                      <a:pt x="279823" y="362157"/>
                      <a:pt x="279681" y="362157"/>
                      <a:pt x="279574" y="362157"/>
                    </a:cubicBezTo>
                    <a:cubicBezTo>
                      <a:pt x="264658" y="362157"/>
                      <a:pt x="249805" y="355466"/>
                      <a:pt x="238804" y="344737"/>
                    </a:cubicBezTo>
                    <a:cubicBezTo>
                      <a:pt x="243295" y="335903"/>
                      <a:pt x="246719" y="327030"/>
                      <a:pt x="249090" y="318843"/>
                    </a:cubicBezTo>
                    <a:cubicBezTo>
                      <a:pt x="253117" y="304888"/>
                      <a:pt x="251761" y="294321"/>
                      <a:pt x="245051" y="287430"/>
                    </a:cubicBezTo>
                    <a:cubicBezTo>
                      <a:pt x="240459" y="282720"/>
                      <a:pt x="233246" y="280564"/>
                      <a:pt x="225745" y="281723"/>
                    </a:cubicBezTo>
                    <a:cubicBezTo>
                      <a:pt x="218268" y="282857"/>
                      <a:pt x="212045" y="287031"/>
                      <a:pt x="209072" y="292900"/>
                    </a:cubicBezTo>
                    <a:cubicBezTo>
                      <a:pt x="204883" y="301212"/>
                      <a:pt x="209250" y="315118"/>
                      <a:pt x="214065" y="327616"/>
                    </a:cubicBezTo>
                    <a:cubicBezTo>
                      <a:pt x="216725" y="334482"/>
                      <a:pt x="220438" y="340812"/>
                      <a:pt x="224954" y="346444"/>
                    </a:cubicBezTo>
                    <a:cubicBezTo>
                      <a:pt x="214203" y="364824"/>
                      <a:pt x="199601" y="379814"/>
                      <a:pt x="183908" y="387752"/>
                    </a:cubicBezTo>
                    <a:cubicBezTo>
                      <a:pt x="177648" y="390917"/>
                      <a:pt x="171150" y="393023"/>
                      <a:pt x="164702" y="394069"/>
                    </a:cubicBezTo>
                    <a:cubicBezTo>
                      <a:pt x="162568" y="388798"/>
                      <a:pt x="160425" y="383528"/>
                      <a:pt x="158242" y="378281"/>
                    </a:cubicBezTo>
                    <a:cubicBezTo>
                      <a:pt x="153601" y="367129"/>
                      <a:pt x="149059" y="357285"/>
                      <a:pt x="140767" y="349696"/>
                    </a:cubicBezTo>
                    <a:cubicBezTo>
                      <a:pt x="130669" y="340463"/>
                      <a:pt x="123129" y="340812"/>
                      <a:pt x="118613" y="342706"/>
                    </a:cubicBezTo>
                    <a:cubicBezTo>
                      <a:pt x="112190" y="345383"/>
                      <a:pt x="108188" y="352836"/>
                      <a:pt x="107887" y="362618"/>
                    </a:cubicBezTo>
                    <a:cubicBezTo>
                      <a:pt x="107499" y="375989"/>
                      <a:pt x="113883" y="392811"/>
                      <a:pt x="129063" y="400237"/>
                    </a:cubicBezTo>
                    <a:cubicBezTo>
                      <a:pt x="137581" y="404424"/>
                      <a:pt x="147391" y="406430"/>
                      <a:pt x="157288" y="406081"/>
                    </a:cubicBezTo>
                    <a:cubicBezTo>
                      <a:pt x="203340" y="522378"/>
                      <a:pt x="235292" y="647958"/>
                      <a:pt x="252491" y="779768"/>
                    </a:cubicBezTo>
                    <a:cubicBezTo>
                      <a:pt x="242242" y="778521"/>
                      <a:pt x="232043" y="776864"/>
                      <a:pt x="221957" y="775120"/>
                    </a:cubicBezTo>
                    <a:cubicBezTo>
                      <a:pt x="221743" y="774286"/>
                      <a:pt x="221381" y="773474"/>
                      <a:pt x="220751" y="772803"/>
                    </a:cubicBezTo>
                    <a:cubicBezTo>
                      <a:pt x="181486" y="729477"/>
                      <a:pt x="172341" y="682138"/>
                      <a:pt x="162632" y="632008"/>
                    </a:cubicBezTo>
                    <a:cubicBezTo>
                      <a:pt x="158592" y="611087"/>
                      <a:pt x="154415" y="589455"/>
                      <a:pt x="147929" y="567275"/>
                    </a:cubicBezTo>
                    <a:cubicBezTo>
                      <a:pt x="136601" y="528472"/>
                      <a:pt x="111361" y="497569"/>
                      <a:pt x="86974" y="467676"/>
                    </a:cubicBezTo>
                    <a:cubicBezTo>
                      <a:pt x="67630" y="444000"/>
                      <a:pt x="47646" y="419490"/>
                      <a:pt x="35064" y="391466"/>
                    </a:cubicBezTo>
                    <a:cubicBezTo>
                      <a:pt x="-20635" y="267257"/>
                      <a:pt x="24338" y="121067"/>
                      <a:pt x="139687" y="51424"/>
                    </a:cubicBezTo>
                    <a:close/>
                    <a:moveTo>
                      <a:pt x="325055" y="297026"/>
                    </a:moveTo>
                    <a:cubicBezTo>
                      <a:pt x="327149" y="289574"/>
                      <a:pt x="332318" y="282135"/>
                      <a:pt x="338051" y="282135"/>
                    </a:cubicBezTo>
                    <a:cubicBezTo>
                      <a:pt x="338407" y="282135"/>
                      <a:pt x="338730" y="282160"/>
                      <a:pt x="339068" y="282241"/>
                    </a:cubicBezTo>
                    <a:cubicBezTo>
                      <a:pt x="341049" y="282523"/>
                      <a:pt x="342581" y="283537"/>
                      <a:pt x="343885" y="285367"/>
                    </a:cubicBezTo>
                    <a:cubicBezTo>
                      <a:pt x="346708" y="289342"/>
                      <a:pt x="347799" y="296868"/>
                      <a:pt x="346506" y="303647"/>
                    </a:cubicBezTo>
                    <a:cubicBezTo>
                      <a:pt x="343896" y="317416"/>
                      <a:pt x="337173" y="329952"/>
                      <a:pt x="327915" y="339858"/>
                    </a:cubicBezTo>
                    <a:cubicBezTo>
                      <a:pt x="322407" y="326325"/>
                      <a:pt x="321115" y="311036"/>
                      <a:pt x="325056" y="297042"/>
                    </a:cubicBezTo>
                    <a:close/>
                    <a:moveTo>
                      <a:pt x="230831" y="335255"/>
                    </a:moveTo>
                    <a:cubicBezTo>
                      <a:pt x="228359" y="331617"/>
                      <a:pt x="226290" y="327704"/>
                      <a:pt x="224683" y="323580"/>
                    </a:cubicBezTo>
                    <a:cubicBezTo>
                      <a:pt x="217495" y="304950"/>
                      <a:pt x="218486" y="299455"/>
                      <a:pt x="219239" y="297960"/>
                    </a:cubicBezTo>
                    <a:cubicBezTo>
                      <a:pt x="220544" y="295406"/>
                      <a:pt x="223680" y="293461"/>
                      <a:pt x="227469" y="292876"/>
                    </a:cubicBezTo>
                    <a:cubicBezTo>
                      <a:pt x="228223" y="292770"/>
                      <a:pt x="228962" y="292699"/>
                      <a:pt x="229688" y="292699"/>
                    </a:cubicBezTo>
                    <a:cubicBezTo>
                      <a:pt x="232621" y="292699"/>
                      <a:pt x="235257" y="293621"/>
                      <a:pt x="236876" y="295278"/>
                    </a:cubicBezTo>
                    <a:cubicBezTo>
                      <a:pt x="241467" y="299988"/>
                      <a:pt x="240111" y="308997"/>
                      <a:pt x="238181" y="315726"/>
                    </a:cubicBezTo>
                    <a:cubicBezTo>
                      <a:pt x="236225" y="322430"/>
                      <a:pt x="233752" y="328972"/>
                      <a:pt x="230829" y="335252"/>
                    </a:cubicBezTo>
                    <a:close/>
                    <a:moveTo>
                      <a:pt x="233078" y="355030"/>
                    </a:moveTo>
                    <a:cubicBezTo>
                      <a:pt x="245962" y="366631"/>
                      <a:pt x="262483" y="373772"/>
                      <a:pt x="280033" y="373435"/>
                    </a:cubicBezTo>
                    <a:cubicBezTo>
                      <a:pt x="296040" y="373294"/>
                      <a:pt x="311621" y="367491"/>
                      <a:pt x="324642" y="357797"/>
                    </a:cubicBezTo>
                    <a:cubicBezTo>
                      <a:pt x="328757" y="364089"/>
                      <a:pt x="333800" y="369771"/>
                      <a:pt x="339621" y="374544"/>
                    </a:cubicBezTo>
                    <a:cubicBezTo>
                      <a:pt x="348314" y="381659"/>
                      <a:pt x="358676" y="386656"/>
                      <a:pt x="369640" y="389397"/>
                    </a:cubicBezTo>
                    <a:cubicBezTo>
                      <a:pt x="367421" y="396176"/>
                      <a:pt x="365626" y="402793"/>
                      <a:pt x="364020" y="408749"/>
                    </a:cubicBezTo>
                    <a:cubicBezTo>
                      <a:pt x="331404" y="529269"/>
                      <a:pt x="297734" y="653852"/>
                      <a:pt x="293456" y="781301"/>
                    </a:cubicBezTo>
                    <a:cubicBezTo>
                      <a:pt x="291073" y="781442"/>
                      <a:pt x="288802" y="781788"/>
                      <a:pt x="286368" y="781823"/>
                    </a:cubicBezTo>
                    <a:cubicBezTo>
                      <a:pt x="278967" y="781965"/>
                      <a:pt x="271553" y="781541"/>
                      <a:pt x="264152" y="780926"/>
                    </a:cubicBezTo>
                    <a:cubicBezTo>
                      <a:pt x="247053" y="648294"/>
                      <a:pt x="215101" y="521917"/>
                      <a:pt x="168974" y="404761"/>
                    </a:cubicBezTo>
                    <a:cubicBezTo>
                      <a:pt x="175761" y="403426"/>
                      <a:pt x="182535" y="401109"/>
                      <a:pt x="189071" y="397808"/>
                    </a:cubicBezTo>
                    <a:cubicBezTo>
                      <a:pt x="207926" y="388275"/>
                      <a:pt x="222578" y="372213"/>
                      <a:pt x="233078" y="355030"/>
                    </a:cubicBezTo>
                    <a:close/>
                    <a:moveTo>
                      <a:pt x="356932" y="775893"/>
                    </a:moveTo>
                    <a:cubicBezTo>
                      <a:pt x="338078" y="789612"/>
                      <a:pt x="314933" y="797837"/>
                      <a:pt x="291587" y="799033"/>
                    </a:cubicBezTo>
                    <a:cubicBezTo>
                      <a:pt x="288440" y="799209"/>
                      <a:pt x="286030" y="801848"/>
                      <a:pt x="286193" y="804964"/>
                    </a:cubicBezTo>
                    <a:cubicBezTo>
                      <a:pt x="286371" y="807980"/>
                      <a:pt x="288863" y="810310"/>
                      <a:pt x="291863" y="810310"/>
                    </a:cubicBezTo>
                    <a:cubicBezTo>
                      <a:pt x="291969" y="810310"/>
                      <a:pt x="292076" y="810310"/>
                      <a:pt x="292147" y="810310"/>
                    </a:cubicBezTo>
                    <a:cubicBezTo>
                      <a:pt x="313574" y="809215"/>
                      <a:pt x="334812" y="802659"/>
                      <a:pt x="353291" y="791731"/>
                    </a:cubicBezTo>
                    <a:cubicBezTo>
                      <a:pt x="351534" y="794747"/>
                      <a:pt x="349339" y="797488"/>
                      <a:pt x="346818" y="799593"/>
                    </a:cubicBezTo>
                    <a:cubicBezTo>
                      <a:pt x="336920" y="807868"/>
                      <a:pt x="322982" y="810671"/>
                      <a:pt x="310663" y="812316"/>
                    </a:cubicBezTo>
                    <a:cubicBezTo>
                      <a:pt x="287280" y="815442"/>
                      <a:pt x="263507" y="815668"/>
                      <a:pt x="240036" y="812976"/>
                    </a:cubicBezTo>
                    <a:cubicBezTo>
                      <a:pt x="229223" y="811719"/>
                      <a:pt x="217142" y="809451"/>
                      <a:pt x="209703" y="801974"/>
                    </a:cubicBezTo>
                    <a:cubicBezTo>
                      <a:pt x="206027" y="798285"/>
                      <a:pt x="203932" y="792267"/>
                      <a:pt x="204510" y="786983"/>
                    </a:cubicBezTo>
                    <a:cubicBezTo>
                      <a:pt x="204652" y="785786"/>
                      <a:pt x="204947" y="784390"/>
                      <a:pt x="205552" y="783033"/>
                    </a:cubicBezTo>
                    <a:cubicBezTo>
                      <a:pt x="207998" y="784079"/>
                      <a:pt x="210469" y="784580"/>
                      <a:pt x="212275" y="784902"/>
                    </a:cubicBezTo>
                    <a:cubicBezTo>
                      <a:pt x="235383" y="788952"/>
                      <a:pt x="259218" y="793126"/>
                      <a:pt x="283329" y="793126"/>
                    </a:cubicBezTo>
                    <a:cubicBezTo>
                      <a:pt x="284396" y="793126"/>
                      <a:pt x="285473" y="793126"/>
                      <a:pt x="286540" y="793100"/>
                    </a:cubicBezTo>
                    <a:cubicBezTo>
                      <a:pt x="313700" y="792677"/>
                      <a:pt x="337773" y="786160"/>
                      <a:pt x="356703" y="774559"/>
                    </a:cubicBezTo>
                    <a:cubicBezTo>
                      <a:pt x="356810" y="774993"/>
                      <a:pt x="356881" y="775442"/>
                      <a:pt x="356916" y="775891"/>
                    </a:cubicBezTo>
                    <a:close/>
                    <a:moveTo>
                      <a:pt x="359290" y="802908"/>
                    </a:moveTo>
                    <a:cubicBezTo>
                      <a:pt x="359880" y="805536"/>
                      <a:pt x="359916" y="808229"/>
                      <a:pt x="359667" y="810908"/>
                    </a:cubicBezTo>
                    <a:cubicBezTo>
                      <a:pt x="358536" y="810978"/>
                      <a:pt x="357395" y="811317"/>
                      <a:pt x="356442" y="812116"/>
                    </a:cubicBezTo>
                    <a:cubicBezTo>
                      <a:pt x="336696" y="828626"/>
                      <a:pt x="309600" y="836414"/>
                      <a:pt x="284096" y="832975"/>
                    </a:cubicBezTo>
                    <a:cubicBezTo>
                      <a:pt x="281024" y="832590"/>
                      <a:pt x="278125" y="834720"/>
                      <a:pt x="277698" y="837810"/>
                    </a:cubicBezTo>
                    <a:cubicBezTo>
                      <a:pt x="277286" y="840900"/>
                      <a:pt x="279465" y="843741"/>
                      <a:pt x="282566" y="844165"/>
                    </a:cubicBezTo>
                    <a:cubicBezTo>
                      <a:pt x="287044" y="844762"/>
                      <a:pt x="291573" y="845062"/>
                      <a:pt x="296089" y="845062"/>
                    </a:cubicBezTo>
                    <a:cubicBezTo>
                      <a:pt x="315997" y="845062"/>
                      <a:pt x="335906" y="839230"/>
                      <a:pt x="352729" y="828639"/>
                    </a:cubicBezTo>
                    <a:cubicBezTo>
                      <a:pt x="351161" y="830793"/>
                      <a:pt x="349443" y="832801"/>
                      <a:pt x="347573" y="834445"/>
                    </a:cubicBezTo>
                    <a:cubicBezTo>
                      <a:pt x="338265" y="842657"/>
                      <a:pt x="324503" y="847679"/>
                      <a:pt x="306689" y="849336"/>
                    </a:cubicBezTo>
                    <a:cubicBezTo>
                      <a:pt x="287270" y="851141"/>
                      <a:pt x="267850" y="849159"/>
                      <a:pt x="249723" y="846793"/>
                    </a:cubicBezTo>
                    <a:cubicBezTo>
                      <a:pt x="238120" y="845249"/>
                      <a:pt x="227030" y="843352"/>
                      <a:pt x="218826" y="836974"/>
                    </a:cubicBezTo>
                    <a:cubicBezTo>
                      <a:pt x="212817" y="832313"/>
                      <a:pt x="208790" y="823566"/>
                      <a:pt x="210772" y="816613"/>
                    </a:cubicBezTo>
                    <a:cubicBezTo>
                      <a:pt x="219403" y="821285"/>
                      <a:pt x="229476" y="823117"/>
                      <a:pt x="238734" y="824177"/>
                    </a:cubicBezTo>
                    <a:cubicBezTo>
                      <a:pt x="250025" y="825473"/>
                      <a:pt x="261377" y="826119"/>
                      <a:pt x="272730" y="826119"/>
                    </a:cubicBezTo>
                    <a:cubicBezTo>
                      <a:pt x="285915" y="826119"/>
                      <a:pt x="299099" y="825247"/>
                      <a:pt x="312172" y="823502"/>
                    </a:cubicBezTo>
                    <a:cubicBezTo>
                      <a:pt x="326121" y="821644"/>
                      <a:pt x="342016" y="818368"/>
                      <a:pt x="354146" y="808238"/>
                    </a:cubicBezTo>
                    <a:cubicBezTo>
                      <a:pt x="356002" y="806680"/>
                      <a:pt x="357695" y="804847"/>
                      <a:pt x="359290" y="802904"/>
                    </a:cubicBezTo>
                    <a:close/>
                    <a:moveTo>
                      <a:pt x="345717" y="866047"/>
                    </a:moveTo>
                    <a:cubicBezTo>
                      <a:pt x="327150" y="875043"/>
                      <a:pt x="306000" y="878383"/>
                      <a:pt x="285590" y="875367"/>
                    </a:cubicBezTo>
                    <a:cubicBezTo>
                      <a:pt x="282517" y="874943"/>
                      <a:pt x="279593" y="877013"/>
                      <a:pt x="279129" y="880115"/>
                    </a:cubicBezTo>
                    <a:cubicBezTo>
                      <a:pt x="278663" y="883191"/>
                      <a:pt x="280811" y="886059"/>
                      <a:pt x="283909" y="886532"/>
                    </a:cubicBezTo>
                    <a:cubicBezTo>
                      <a:pt x="289428" y="887341"/>
                      <a:pt x="294998" y="887740"/>
                      <a:pt x="300543" y="887740"/>
                    </a:cubicBezTo>
                    <a:cubicBezTo>
                      <a:pt x="312511" y="887740"/>
                      <a:pt x="324390" y="885660"/>
                      <a:pt x="335769" y="882008"/>
                    </a:cubicBezTo>
                    <a:cubicBezTo>
                      <a:pt x="329735" y="887503"/>
                      <a:pt x="321505" y="892002"/>
                      <a:pt x="311081" y="895341"/>
                    </a:cubicBezTo>
                    <a:cubicBezTo>
                      <a:pt x="297745" y="899603"/>
                      <a:pt x="283946" y="901447"/>
                      <a:pt x="269884" y="900862"/>
                    </a:cubicBezTo>
                    <a:cubicBezTo>
                      <a:pt x="257590" y="900325"/>
                      <a:pt x="240566" y="897347"/>
                      <a:pt x="229389" y="886133"/>
                    </a:cubicBezTo>
                    <a:cubicBezTo>
                      <a:pt x="220947" y="877684"/>
                      <a:pt x="217007" y="862619"/>
                      <a:pt x="223355" y="852152"/>
                    </a:cubicBezTo>
                    <a:cubicBezTo>
                      <a:pt x="231271" y="855317"/>
                      <a:pt x="239839" y="856875"/>
                      <a:pt x="248231" y="857984"/>
                    </a:cubicBezTo>
                    <a:cubicBezTo>
                      <a:pt x="261817" y="859768"/>
                      <a:pt x="276156" y="861325"/>
                      <a:pt x="290808" y="861325"/>
                    </a:cubicBezTo>
                    <a:cubicBezTo>
                      <a:pt x="296416" y="861325"/>
                      <a:pt x="302086" y="861113"/>
                      <a:pt x="307756" y="860577"/>
                    </a:cubicBezTo>
                    <a:cubicBezTo>
                      <a:pt x="322622" y="859192"/>
                      <a:pt x="335091" y="855567"/>
                      <a:pt x="345127" y="849885"/>
                    </a:cubicBezTo>
                    <a:cubicBezTo>
                      <a:pt x="347133" y="854733"/>
                      <a:pt x="347271" y="860390"/>
                      <a:pt x="345717" y="866047"/>
                    </a:cubicBezTo>
                    <a:close/>
                    <a:moveTo>
                      <a:pt x="298636" y="935204"/>
                    </a:moveTo>
                    <a:cubicBezTo>
                      <a:pt x="285502" y="940799"/>
                      <a:pt x="269394" y="938432"/>
                      <a:pt x="258468" y="929273"/>
                    </a:cubicBezTo>
                    <a:cubicBezTo>
                      <a:pt x="252647" y="924400"/>
                      <a:pt x="248093" y="916201"/>
                      <a:pt x="249059" y="908899"/>
                    </a:cubicBezTo>
                    <a:cubicBezTo>
                      <a:pt x="255344" y="910581"/>
                      <a:pt x="262006" y="911813"/>
                      <a:pt x="269394" y="912138"/>
                    </a:cubicBezTo>
                    <a:cubicBezTo>
                      <a:pt x="271265" y="912209"/>
                      <a:pt x="273158" y="912244"/>
                      <a:pt x="275027" y="912244"/>
                    </a:cubicBezTo>
                    <a:cubicBezTo>
                      <a:pt x="288450" y="912244"/>
                      <a:pt x="301722" y="910174"/>
                      <a:pt x="314581" y="906076"/>
                    </a:cubicBezTo>
                    <a:cubicBezTo>
                      <a:pt x="317141" y="905267"/>
                      <a:pt x="319423" y="904268"/>
                      <a:pt x="321782" y="903321"/>
                    </a:cubicBezTo>
                    <a:cubicBezTo>
                      <a:pt x="320526" y="917028"/>
                      <a:pt x="311395" y="929750"/>
                      <a:pt x="298636" y="935196"/>
                    </a:cubicBezTo>
                    <a:close/>
                    <a:moveTo>
                      <a:pt x="24683" y="396064"/>
                    </a:moveTo>
                    <a:cubicBezTo>
                      <a:pt x="37881" y="425446"/>
                      <a:pt x="58353" y="450530"/>
                      <a:pt x="78149" y="474791"/>
                    </a:cubicBezTo>
                    <a:cubicBezTo>
                      <a:pt x="102938" y="505145"/>
                      <a:pt x="126334" y="533805"/>
                      <a:pt x="137009" y="570415"/>
                    </a:cubicBezTo>
                    <a:cubicBezTo>
                      <a:pt x="143344" y="592097"/>
                      <a:pt x="147484" y="613467"/>
                      <a:pt x="151499" y="634139"/>
                    </a:cubicBezTo>
                    <a:cubicBezTo>
                      <a:pt x="160405" y="680269"/>
                      <a:pt x="168948" y="724093"/>
                      <a:pt x="200047" y="765426"/>
                    </a:cubicBezTo>
                    <a:cubicBezTo>
                      <a:pt x="199506" y="766086"/>
                      <a:pt x="199044" y="766821"/>
                      <a:pt x="198653" y="767644"/>
                    </a:cubicBezTo>
                    <a:cubicBezTo>
                      <a:pt x="197750" y="769661"/>
                      <a:pt x="197547" y="771906"/>
                      <a:pt x="197899" y="774049"/>
                    </a:cubicBezTo>
                    <a:cubicBezTo>
                      <a:pt x="195389" y="777302"/>
                      <a:pt x="193696" y="781251"/>
                      <a:pt x="193207" y="785775"/>
                    </a:cubicBezTo>
                    <a:cubicBezTo>
                      <a:pt x="192279" y="794410"/>
                      <a:pt x="195451" y="803519"/>
                      <a:pt x="201436" y="809662"/>
                    </a:cubicBezTo>
                    <a:cubicBezTo>
                      <a:pt x="195164" y="822222"/>
                      <a:pt x="201411" y="837786"/>
                      <a:pt x="211811" y="845873"/>
                    </a:cubicBezTo>
                    <a:cubicBezTo>
                      <a:pt x="212313" y="846258"/>
                      <a:pt x="212878" y="846470"/>
                      <a:pt x="213379" y="846833"/>
                    </a:cubicBezTo>
                    <a:cubicBezTo>
                      <a:pt x="204385" y="862198"/>
                      <a:pt x="209880" y="882634"/>
                      <a:pt x="221307" y="894085"/>
                    </a:cubicBezTo>
                    <a:cubicBezTo>
                      <a:pt x="225887" y="898670"/>
                      <a:pt x="231670" y="902222"/>
                      <a:pt x="238143" y="905113"/>
                    </a:cubicBezTo>
                    <a:cubicBezTo>
                      <a:pt x="235369" y="917200"/>
                      <a:pt x="242019" y="930259"/>
                      <a:pt x="251139" y="937897"/>
                    </a:cubicBezTo>
                    <a:cubicBezTo>
                      <a:pt x="260159" y="945461"/>
                      <a:pt x="271951" y="949460"/>
                      <a:pt x="283718" y="949460"/>
                    </a:cubicBezTo>
                    <a:cubicBezTo>
                      <a:pt x="290367" y="949460"/>
                      <a:pt x="297003" y="948189"/>
                      <a:pt x="303124" y="945573"/>
                    </a:cubicBezTo>
                    <a:cubicBezTo>
                      <a:pt x="320098" y="938321"/>
                      <a:pt x="332216" y="921137"/>
                      <a:pt x="333282" y="902820"/>
                    </a:cubicBezTo>
                    <a:cubicBezTo>
                      <a:pt x="333389" y="901174"/>
                      <a:pt x="332731" y="899694"/>
                      <a:pt x="331675" y="898596"/>
                    </a:cubicBezTo>
                    <a:cubicBezTo>
                      <a:pt x="333481" y="900478"/>
                      <a:pt x="348623" y="885263"/>
                      <a:pt x="349978" y="883294"/>
                    </a:cubicBezTo>
                    <a:cubicBezTo>
                      <a:pt x="353929" y="877487"/>
                      <a:pt x="356965" y="869238"/>
                      <a:pt x="358107" y="862297"/>
                    </a:cubicBezTo>
                    <a:cubicBezTo>
                      <a:pt x="358462" y="860252"/>
                      <a:pt x="355386" y="842609"/>
                      <a:pt x="354732" y="843170"/>
                    </a:cubicBezTo>
                    <a:cubicBezTo>
                      <a:pt x="354874" y="843064"/>
                      <a:pt x="354981" y="842994"/>
                      <a:pt x="355120" y="842888"/>
                    </a:cubicBezTo>
                    <a:cubicBezTo>
                      <a:pt x="367778" y="831698"/>
                      <a:pt x="376271" y="811112"/>
                      <a:pt x="367978" y="793406"/>
                    </a:cubicBezTo>
                    <a:cubicBezTo>
                      <a:pt x="367527" y="792445"/>
                      <a:pt x="366822" y="791760"/>
                      <a:pt x="366008" y="791213"/>
                    </a:cubicBezTo>
                    <a:cubicBezTo>
                      <a:pt x="369394" y="782291"/>
                      <a:pt x="369696" y="772285"/>
                      <a:pt x="364579" y="763712"/>
                    </a:cubicBezTo>
                    <a:cubicBezTo>
                      <a:pt x="363000" y="761020"/>
                      <a:pt x="359498" y="760147"/>
                      <a:pt x="356813" y="761730"/>
                    </a:cubicBezTo>
                    <a:cubicBezTo>
                      <a:pt x="386795" y="723127"/>
                      <a:pt x="395464" y="674654"/>
                      <a:pt x="403781" y="627502"/>
                    </a:cubicBezTo>
                    <a:cubicBezTo>
                      <a:pt x="406039" y="614830"/>
                      <a:pt x="408247" y="602220"/>
                      <a:pt x="410881" y="589871"/>
                    </a:cubicBezTo>
                    <a:cubicBezTo>
                      <a:pt x="417379" y="559404"/>
                      <a:pt x="427139" y="524452"/>
                      <a:pt x="450285" y="496328"/>
                    </a:cubicBezTo>
                    <a:cubicBezTo>
                      <a:pt x="455604" y="489848"/>
                      <a:pt x="460973" y="483606"/>
                      <a:pt x="466279" y="477413"/>
                    </a:cubicBezTo>
                    <a:cubicBezTo>
                      <a:pt x="483340" y="457575"/>
                      <a:pt x="499460" y="438834"/>
                      <a:pt x="512381" y="415034"/>
                    </a:cubicBezTo>
                    <a:cubicBezTo>
                      <a:pt x="561720" y="324246"/>
                      <a:pt x="579258" y="190841"/>
                      <a:pt x="507189" y="97472"/>
                    </a:cubicBezTo>
                    <a:cubicBezTo>
                      <a:pt x="418673" y="-17242"/>
                      <a:pt x="242644" y="-23958"/>
                      <a:pt x="133781" y="41773"/>
                    </a:cubicBezTo>
                    <a:cubicBezTo>
                      <a:pt x="13564" y="114357"/>
                      <a:pt x="-33341" y="266665"/>
                      <a:pt x="24679" y="396057"/>
                    </a:cubicBezTo>
                  </a:path>
                </a:pathLst>
              </a:custGeom>
              <a:grpFill/>
              <a:ln w="1250" cap="flat">
                <a:noFill/>
                <a:prstDash val="solid"/>
                <a:miter/>
              </a:ln>
            </p:spPr>
            <p:txBody>
              <a:bodyPr rtlCol="0" anchor="ctr"/>
              <a:lstStyle/>
              <a:p>
                <a:endParaRPr lang="en-LT"/>
              </a:p>
            </p:txBody>
          </p:sp>
          <p:sp>
            <p:nvSpPr>
              <p:cNvPr id="153" name="Freeform 152">
                <a:extLst>
                  <a:ext uri="{FF2B5EF4-FFF2-40B4-BE49-F238E27FC236}">
                    <a16:creationId xmlns:a16="http://schemas.microsoft.com/office/drawing/2014/main" id="{8C4C6BED-8035-644C-AEA0-82039A0A96F8}"/>
                  </a:ext>
                </a:extLst>
              </p:cNvPr>
              <p:cNvSpPr/>
              <p:nvPr/>
            </p:nvSpPr>
            <p:spPr>
              <a:xfrm>
                <a:off x="5859545" y="3128279"/>
                <a:ext cx="142589" cy="204679"/>
              </a:xfrm>
              <a:custGeom>
                <a:avLst/>
                <a:gdLst>
                  <a:gd name="connsiteX0" fmla="*/ 69207 w 142589"/>
                  <a:gd name="connsiteY0" fmla="*/ 32523 h 204679"/>
                  <a:gd name="connsiteX1" fmla="*/ 97684 w 142589"/>
                  <a:gd name="connsiteY1" fmla="*/ 11352 h 204679"/>
                  <a:gd name="connsiteX2" fmla="*/ 127753 w 142589"/>
                  <a:gd name="connsiteY2" fmla="*/ 23626 h 204679"/>
                  <a:gd name="connsiteX3" fmla="*/ 33065 w 142589"/>
                  <a:gd name="connsiteY3" fmla="*/ 192233 h 204679"/>
                  <a:gd name="connsiteX4" fmla="*/ 11501 w 142589"/>
                  <a:gd name="connsiteY4" fmla="*/ 187959 h 204679"/>
                  <a:gd name="connsiteX5" fmla="*/ 69207 w 142589"/>
                  <a:gd name="connsiteY5" fmla="*/ 32523 h 204679"/>
                  <a:gd name="connsiteX6" fmla="*/ 4488 w 142589"/>
                  <a:gd name="connsiteY6" fmla="*/ 198077 h 204679"/>
                  <a:gd name="connsiteX7" fmla="*/ 36816 w 142589"/>
                  <a:gd name="connsiteY7" fmla="*/ 204482 h 204679"/>
                  <a:gd name="connsiteX8" fmla="*/ 37933 w 142589"/>
                  <a:gd name="connsiteY8" fmla="*/ 204588 h 204679"/>
                  <a:gd name="connsiteX9" fmla="*/ 41268 w 142589"/>
                  <a:gd name="connsiteY9" fmla="*/ 203503 h 204679"/>
                  <a:gd name="connsiteX10" fmla="*/ 43576 w 142589"/>
                  <a:gd name="connsiteY10" fmla="*/ 199591 h 204679"/>
                  <a:gd name="connsiteX11" fmla="*/ 140309 w 142589"/>
                  <a:gd name="connsiteY11" fmla="*/ 28067 h 204679"/>
                  <a:gd name="connsiteX12" fmla="*/ 142492 w 142589"/>
                  <a:gd name="connsiteY12" fmla="*/ 23706 h 204679"/>
                  <a:gd name="connsiteX13" fmla="*/ 140433 w 142589"/>
                  <a:gd name="connsiteY13" fmla="*/ 19282 h 204679"/>
                  <a:gd name="connsiteX14" fmla="*/ 96401 w 142589"/>
                  <a:gd name="connsiteY14" fmla="*/ 130 h 204679"/>
                  <a:gd name="connsiteX15" fmla="*/ 60185 w 142589"/>
                  <a:gd name="connsiteY15" fmla="*/ 25675 h 204679"/>
                  <a:gd name="connsiteX16" fmla="*/ -93 w 142589"/>
                  <a:gd name="connsiteY16" fmla="*/ 192312 h 204679"/>
                  <a:gd name="connsiteX17" fmla="*/ 4486 w 142589"/>
                  <a:gd name="connsiteY17" fmla="*/ 198070 h 20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589" h="204679">
                    <a:moveTo>
                      <a:pt x="69207" y="32523"/>
                    </a:moveTo>
                    <a:cubicBezTo>
                      <a:pt x="76244" y="23364"/>
                      <a:pt x="85804" y="12686"/>
                      <a:pt x="97684" y="11352"/>
                    </a:cubicBezTo>
                    <a:cubicBezTo>
                      <a:pt x="108221" y="10131"/>
                      <a:pt x="118232" y="16262"/>
                      <a:pt x="127753" y="23626"/>
                    </a:cubicBezTo>
                    <a:cubicBezTo>
                      <a:pt x="76445" y="65868"/>
                      <a:pt x="42298" y="126664"/>
                      <a:pt x="33065" y="192233"/>
                    </a:cubicBezTo>
                    <a:lnTo>
                      <a:pt x="11501" y="187959"/>
                    </a:lnTo>
                    <a:cubicBezTo>
                      <a:pt x="14687" y="132060"/>
                      <a:pt x="35098" y="77046"/>
                      <a:pt x="69207" y="32523"/>
                    </a:cubicBezTo>
                    <a:close/>
                    <a:moveTo>
                      <a:pt x="4488" y="198077"/>
                    </a:moveTo>
                    <a:lnTo>
                      <a:pt x="36816" y="204482"/>
                    </a:lnTo>
                    <a:cubicBezTo>
                      <a:pt x="37193" y="204552"/>
                      <a:pt x="37570" y="204588"/>
                      <a:pt x="37933" y="204588"/>
                    </a:cubicBezTo>
                    <a:cubicBezTo>
                      <a:pt x="39124" y="204588"/>
                      <a:pt x="40305" y="204213"/>
                      <a:pt x="41268" y="203503"/>
                    </a:cubicBezTo>
                    <a:cubicBezTo>
                      <a:pt x="42548" y="202581"/>
                      <a:pt x="43388" y="201161"/>
                      <a:pt x="43576" y="199591"/>
                    </a:cubicBezTo>
                    <a:cubicBezTo>
                      <a:pt x="51404" y="132364"/>
                      <a:pt x="86680" y="69836"/>
                      <a:pt x="140309" y="28067"/>
                    </a:cubicBezTo>
                    <a:cubicBezTo>
                      <a:pt x="141664" y="27022"/>
                      <a:pt x="142467" y="25414"/>
                      <a:pt x="142492" y="23706"/>
                    </a:cubicBezTo>
                    <a:cubicBezTo>
                      <a:pt x="142504" y="21999"/>
                      <a:pt x="141753" y="20366"/>
                      <a:pt x="140433" y="19282"/>
                    </a:cubicBezTo>
                    <a:cubicBezTo>
                      <a:pt x="127525" y="8653"/>
                      <a:pt x="113261" y="-1752"/>
                      <a:pt x="96401" y="130"/>
                    </a:cubicBezTo>
                    <a:cubicBezTo>
                      <a:pt x="80256" y="1950"/>
                      <a:pt x="68564" y="14734"/>
                      <a:pt x="60185" y="25675"/>
                    </a:cubicBezTo>
                    <a:cubicBezTo>
                      <a:pt x="23667" y="73312"/>
                      <a:pt x="2253" y="132488"/>
                      <a:pt x="-93" y="192312"/>
                    </a:cubicBezTo>
                    <a:cubicBezTo>
                      <a:pt x="-200" y="195078"/>
                      <a:pt x="1738" y="197521"/>
                      <a:pt x="4486" y="198070"/>
                    </a:cubicBezTo>
                  </a:path>
                </a:pathLst>
              </a:custGeom>
              <a:grpFill/>
              <a:ln w="1250" cap="flat">
                <a:noFill/>
                <a:prstDash val="solid"/>
                <a:miter/>
              </a:ln>
            </p:spPr>
            <p:txBody>
              <a:bodyPr rtlCol="0" anchor="ctr"/>
              <a:lstStyle/>
              <a:p>
                <a:endParaRPr lang="en-LT"/>
              </a:p>
            </p:txBody>
          </p:sp>
          <p:sp>
            <p:nvSpPr>
              <p:cNvPr id="154" name="Freeform 153">
                <a:extLst>
                  <a:ext uri="{FF2B5EF4-FFF2-40B4-BE49-F238E27FC236}">
                    <a16:creationId xmlns:a16="http://schemas.microsoft.com/office/drawing/2014/main" id="{24D74A73-8658-5C41-9846-095197434B7C}"/>
                  </a:ext>
                </a:extLst>
              </p:cNvPr>
              <p:cNvSpPr/>
              <p:nvPr/>
            </p:nvSpPr>
            <p:spPr>
              <a:xfrm>
                <a:off x="5651500" y="3281988"/>
                <a:ext cx="127873" cy="59002"/>
              </a:xfrm>
              <a:custGeom>
                <a:avLst/>
                <a:gdLst>
                  <a:gd name="connsiteX0" fmla="*/ 12156 w 127873"/>
                  <a:gd name="connsiteY0" fmla="*/ 29839 h 59002"/>
                  <a:gd name="connsiteX1" fmla="*/ 33545 w 127873"/>
                  <a:gd name="connsiteY1" fmla="*/ 12493 h 59002"/>
                  <a:gd name="connsiteX2" fmla="*/ 45613 w 127873"/>
                  <a:gd name="connsiteY2" fmla="*/ 11197 h 59002"/>
                  <a:gd name="connsiteX3" fmla="*/ 89507 w 127873"/>
                  <a:gd name="connsiteY3" fmla="*/ 22399 h 59002"/>
                  <a:gd name="connsiteX4" fmla="*/ 103632 w 127873"/>
                  <a:gd name="connsiteY4" fmla="*/ 27658 h 59002"/>
                  <a:gd name="connsiteX5" fmla="*/ 45061 w 127873"/>
                  <a:gd name="connsiteY5" fmla="*/ 44418 h 59002"/>
                  <a:gd name="connsiteX6" fmla="*/ 28025 w 127873"/>
                  <a:gd name="connsiteY6" fmla="*/ 47621 h 59002"/>
                  <a:gd name="connsiteX7" fmla="*/ 28025 w 127873"/>
                  <a:gd name="connsiteY7" fmla="*/ 53266 h 59002"/>
                  <a:gd name="connsiteX8" fmla="*/ 27197 w 127873"/>
                  <a:gd name="connsiteY8" fmla="*/ 47609 h 59002"/>
                  <a:gd name="connsiteX9" fmla="*/ 14025 w 127873"/>
                  <a:gd name="connsiteY9" fmla="*/ 41889 h 59002"/>
                  <a:gd name="connsiteX10" fmla="*/ 12156 w 127873"/>
                  <a:gd name="connsiteY10" fmla="*/ 29840 h 59002"/>
                  <a:gd name="connsiteX11" fmla="*/ 26858 w 127873"/>
                  <a:gd name="connsiteY11" fmla="*/ 58885 h 59002"/>
                  <a:gd name="connsiteX12" fmla="*/ 28025 w 127873"/>
                  <a:gd name="connsiteY12" fmla="*/ 58910 h 59002"/>
                  <a:gd name="connsiteX13" fmla="*/ 48009 w 127873"/>
                  <a:gd name="connsiteY13" fmla="*/ 55321 h 59002"/>
                  <a:gd name="connsiteX14" fmla="*/ 108011 w 127873"/>
                  <a:gd name="connsiteY14" fmla="*/ 38101 h 59002"/>
                  <a:gd name="connsiteX15" fmla="*/ 124143 w 127873"/>
                  <a:gd name="connsiteY15" fmla="*/ 32306 h 59002"/>
                  <a:gd name="connsiteX16" fmla="*/ 127756 w 127873"/>
                  <a:gd name="connsiteY16" fmla="*/ 26562 h 59002"/>
                  <a:gd name="connsiteX17" fmla="*/ 123240 w 127873"/>
                  <a:gd name="connsiteY17" fmla="*/ 21503 h 59002"/>
                  <a:gd name="connsiteX18" fmla="*/ 93634 w 127873"/>
                  <a:gd name="connsiteY18" fmla="*/ 11883 h 59002"/>
                  <a:gd name="connsiteX19" fmla="*/ 45613 w 127873"/>
                  <a:gd name="connsiteY19" fmla="*/ -92 h 59002"/>
                  <a:gd name="connsiteX20" fmla="*/ 31086 w 127873"/>
                  <a:gd name="connsiteY20" fmla="*/ 1466 h 59002"/>
                  <a:gd name="connsiteX21" fmla="*/ 1505 w 127873"/>
                  <a:gd name="connsiteY21" fmla="*/ 25926 h 59002"/>
                  <a:gd name="connsiteX22" fmla="*/ 4917 w 127873"/>
                  <a:gd name="connsiteY22" fmla="*/ 48655 h 59002"/>
                  <a:gd name="connsiteX23" fmla="*/ 26858 w 127873"/>
                  <a:gd name="connsiteY23" fmla="*/ 58885 h 59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873" h="59002">
                    <a:moveTo>
                      <a:pt x="12156" y="29839"/>
                    </a:moveTo>
                    <a:cubicBezTo>
                      <a:pt x="15242" y="21614"/>
                      <a:pt x="25704" y="14226"/>
                      <a:pt x="33545" y="12493"/>
                    </a:cubicBezTo>
                    <a:cubicBezTo>
                      <a:pt x="37509" y="11621"/>
                      <a:pt x="41448" y="11197"/>
                      <a:pt x="45613" y="11197"/>
                    </a:cubicBezTo>
                    <a:cubicBezTo>
                      <a:pt x="60453" y="11197"/>
                      <a:pt x="74566" y="16642"/>
                      <a:pt x="89507" y="22399"/>
                    </a:cubicBezTo>
                    <a:cubicBezTo>
                      <a:pt x="94161" y="24194"/>
                      <a:pt x="98865" y="26000"/>
                      <a:pt x="103632" y="27658"/>
                    </a:cubicBezTo>
                    <a:cubicBezTo>
                      <a:pt x="86985" y="33290"/>
                      <a:pt x="67880" y="38748"/>
                      <a:pt x="45061" y="44418"/>
                    </a:cubicBezTo>
                    <a:cubicBezTo>
                      <a:pt x="39754" y="45926"/>
                      <a:pt x="33695" y="47621"/>
                      <a:pt x="28025" y="47621"/>
                    </a:cubicBezTo>
                    <a:lnTo>
                      <a:pt x="28025" y="53266"/>
                    </a:lnTo>
                    <a:lnTo>
                      <a:pt x="27197" y="47609"/>
                    </a:lnTo>
                    <a:cubicBezTo>
                      <a:pt x="21527" y="47432"/>
                      <a:pt x="16597" y="45302"/>
                      <a:pt x="14025" y="41889"/>
                    </a:cubicBezTo>
                    <a:cubicBezTo>
                      <a:pt x="11152" y="38101"/>
                      <a:pt x="10550" y="34151"/>
                      <a:pt x="12156" y="29840"/>
                    </a:cubicBezTo>
                    <a:close/>
                    <a:moveTo>
                      <a:pt x="26858" y="58885"/>
                    </a:moveTo>
                    <a:cubicBezTo>
                      <a:pt x="26922" y="58885"/>
                      <a:pt x="27975" y="58910"/>
                      <a:pt x="28025" y="58910"/>
                    </a:cubicBezTo>
                    <a:cubicBezTo>
                      <a:pt x="35288" y="58910"/>
                      <a:pt x="42125" y="56978"/>
                      <a:pt x="48009" y="55321"/>
                    </a:cubicBezTo>
                    <a:cubicBezTo>
                      <a:pt x="71254" y="49540"/>
                      <a:pt x="90899" y="43907"/>
                      <a:pt x="108011" y="38101"/>
                    </a:cubicBezTo>
                    <a:cubicBezTo>
                      <a:pt x="113468" y="36243"/>
                      <a:pt x="118849" y="34312"/>
                      <a:pt x="124143" y="32306"/>
                    </a:cubicBezTo>
                    <a:cubicBezTo>
                      <a:pt x="126501" y="31395"/>
                      <a:pt x="127969" y="29067"/>
                      <a:pt x="127756" y="26562"/>
                    </a:cubicBezTo>
                    <a:cubicBezTo>
                      <a:pt x="127542" y="24072"/>
                      <a:pt x="125697" y="22001"/>
                      <a:pt x="123240" y="21503"/>
                    </a:cubicBezTo>
                    <a:cubicBezTo>
                      <a:pt x="113405" y="19496"/>
                      <a:pt x="103796" y="15796"/>
                      <a:pt x="93634" y="11883"/>
                    </a:cubicBezTo>
                    <a:cubicBezTo>
                      <a:pt x="78367" y="6002"/>
                      <a:pt x="62573" y="-92"/>
                      <a:pt x="45613" y="-92"/>
                    </a:cubicBezTo>
                    <a:cubicBezTo>
                      <a:pt x="40683" y="-92"/>
                      <a:pt x="35790" y="445"/>
                      <a:pt x="31086" y="1466"/>
                    </a:cubicBezTo>
                    <a:cubicBezTo>
                      <a:pt x="20285" y="3871"/>
                      <a:pt x="6235" y="13241"/>
                      <a:pt x="1505" y="25926"/>
                    </a:cubicBezTo>
                    <a:cubicBezTo>
                      <a:pt x="-1468" y="33876"/>
                      <a:pt x="-289" y="41739"/>
                      <a:pt x="4917" y="48655"/>
                    </a:cubicBezTo>
                    <a:cubicBezTo>
                      <a:pt x="9609" y="54885"/>
                      <a:pt x="17613" y="58611"/>
                      <a:pt x="26858" y="58885"/>
                    </a:cubicBezTo>
                  </a:path>
                </a:pathLst>
              </a:custGeom>
              <a:grpFill/>
              <a:ln w="1250" cap="flat">
                <a:noFill/>
                <a:prstDash val="solid"/>
                <a:miter/>
              </a:ln>
            </p:spPr>
            <p:txBody>
              <a:bodyPr rtlCol="0" anchor="ctr"/>
              <a:lstStyle/>
              <a:p>
                <a:endParaRPr lang="en-LT"/>
              </a:p>
            </p:txBody>
          </p:sp>
          <p:sp>
            <p:nvSpPr>
              <p:cNvPr id="155" name="Freeform 154">
                <a:extLst>
                  <a:ext uri="{FF2B5EF4-FFF2-40B4-BE49-F238E27FC236}">
                    <a16:creationId xmlns:a16="http://schemas.microsoft.com/office/drawing/2014/main" id="{25296D81-E449-0749-844D-F0F6C8105563}"/>
                  </a:ext>
                </a:extLst>
              </p:cNvPr>
              <p:cNvSpPr/>
              <p:nvPr/>
            </p:nvSpPr>
            <p:spPr>
              <a:xfrm>
                <a:off x="5764013" y="3003228"/>
                <a:ext cx="109098" cy="87325"/>
              </a:xfrm>
              <a:custGeom>
                <a:avLst/>
                <a:gdLst>
                  <a:gd name="connsiteX0" fmla="*/ 11742 w 109098"/>
                  <a:gd name="connsiteY0" fmla="*/ 17827 h 87325"/>
                  <a:gd name="connsiteX1" fmla="*/ 23848 w 109098"/>
                  <a:gd name="connsiteY1" fmla="*/ 11186 h 87325"/>
                  <a:gd name="connsiteX2" fmla="*/ 29342 w 109098"/>
                  <a:gd name="connsiteY2" fmla="*/ 12083 h 87325"/>
                  <a:gd name="connsiteX3" fmla="*/ 49477 w 109098"/>
                  <a:gd name="connsiteY3" fmla="*/ 28631 h 87325"/>
                  <a:gd name="connsiteX4" fmla="*/ 75369 w 109098"/>
                  <a:gd name="connsiteY4" fmla="*/ 58250 h 87325"/>
                  <a:gd name="connsiteX5" fmla="*/ 38575 w 109098"/>
                  <a:gd name="connsiteY5" fmla="*/ 41403 h 87325"/>
                  <a:gd name="connsiteX6" fmla="*/ 35013 w 109098"/>
                  <a:gd name="connsiteY6" fmla="*/ 40219 h 87325"/>
                  <a:gd name="connsiteX7" fmla="*/ 18027 w 109098"/>
                  <a:gd name="connsiteY7" fmla="*/ 32556 h 87325"/>
                  <a:gd name="connsiteX8" fmla="*/ 11742 w 109098"/>
                  <a:gd name="connsiteY8" fmla="*/ 17827 h 87325"/>
                  <a:gd name="connsiteX9" fmla="*/ 11102 w 109098"/>
                  <a:gd name="connsiteY9" fmla="*/ 41503 h 87325"/>
                  <a:gd name="connsiteX10" fmla="*/ 31412 w 109098"/>
                  <a:gd name="connsiteY10" fmla="*/ 50923 h 87325"/>
                  <a:gd name="connsiteX11" fmla="*/ 34851 w 109098"/>
                  <a:gd name="connsiteY11" fmla="*/ 52082 h 87325"/>
                  <a:gd name="connsiteX12" fmla="*/ 100309 w 109098"/>
                  <a:gd name="connsiteY12" fmla="*/ 86374 h 87325"/>
                  <a:gd name="connsiteX13" fmla="*/ 103321 w 109098"/>
                  <a:gd name="connsiteY13" fmla="*/ 87234 h 87325"/>
                  <a:gd name="connsiteX14" fmla="*/ 107636 w 109098"/>
                  <a:gd name="connsiteY14" fmla="*/ 85265 h 87325"/>
                  <a:gd name="connsiteX15" fmla="*/ 107611 w 109098"/>
                  <a:gd name="connsiteY15" fmla="*/ 77888 h 87325"/>
                  <a:gd name="connsiteX16" fmla="*/ 58047 w 109098"/>
                  <a:gd name="connsiteY16" fmla="*/ 21229 h 87325"/>
                  <a:gd name="connsiteX17" fmla="*/ 33070 w 109098"/>
                  <a:gd name="connsiteY17" fmla="*/ 1416 h 87325"/>
                  <a:gd name="connsiteX18" fmla="*/ 23850 w 109098"/>
                  <a:gd name="connsiteY18" fmla="*/ -92 h 87325"/>
                  <a:gd name="connsiteX19" fmla="*/ 1043 w 109098"/>
                  <a:gd name="connsiteY19" fmla="*/ 14051 h 87325"/>
                  <a:gd name="connsiteX20" fmla="*/ 11104 w 109098"/>
                  <a:gd name="connsiteY20" fmla="*/ 41502 h 8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098" h="87325">
                    <a:moveTo>
                      <a:pt x="11742" y="17827"/>
                    </a:moveTo>
                    <a:cubicBezTo>
                      <a:pt x="13399" y="13241"/>
                      <a:pt x="19005" y="11186"/>
                      <a:pt x="23848" y="11186"/>
                    </a:cubicBezTo>
                    <a:cubicBezTo>
                      <a:pt x="25754" y="11186"/>
                      <a:pt x="27661" y="11496"/>
                      <a:pt x="29342" y="12083"/>
                    </a:cubicBezTo>
                    <a:cubicBezTo>
                      <a:pt x="37434" y="14874"/>
                      <a:pt x="43832" y="22176"/>
                      <a:pt x="49477" y="28631"/>
                    </a:cubicBezTo>
                    <a:lnTo>
                      <a:pt x="75369" y="58250"/>
                    </a:lnTo>
                    <a:cubicBezTo>
                      <a:pt x="63615" y="51720"/>
                      <a:pt x="51434" y="45839"/>
                      <a:pt x="38575" y="41403"/>
                    </a:cubicBezTo>
                    <a:lnTo>
                      <a:pt x="35013" y="40219"/>
                    </a:lnTo>
                    <a:cubicBezTo>
                      <a:pt x="28715" y="38126"/>
                      <a:pt x="22731" y="36132"/>
                      <a:pt x="18027" y="32556"/>
                    </a:cubicBezTo>
                    <a:cubicBezTo>
                      <a:pt x="13523" y="29104"/>
                      <a:pt x="9910" y="22961"/>
                      <a:pt x="11742" y="17827"/>
                    </a:cubicBezTo>
                    <a:close/>
                    <a:moveTo>
                      <a:pt x="11102" y="41503"/>
                    </a:moveTo>
                    <a:cubicBezTo>
                      <a:pt x="17312" y="46250"/>
                      <a:pt x="24487" y="48618"/>
                      <a:pt x="31412" y="50923"/>
                    </a:cubicBezTo>
                    <a:lnTo>
                      <a:pt x="34851" y="52082"/>
                    </a:lnTo>
                    <a:cubicBezTo>
                      <a:pt x="58096" y="60069"/>
                      <a:pt x="79548" y="73439"/>
                      <a:pt x="100309" y="86374"/>
                    </a:cubicBezTo>
                    <a:cubicBezTo>
                      <a:pt x="101238" y="86960"/>
                      <a:pt x="102279" y="87234"/>
                      <a:pt x="103321" y="87234"/>
                    </a:cubicBezTo>
                    <a:cubicBezTo>
                      <a:pt x="104939" y="87234"/>
                      <a:pt x="106533" y="86548"/>
                      <a:pt x="107636" y="85265"/>
                    </a:cubicBezTo>
                    <a:cubicBezTo>
                      <a:pt x="109468" y="83134"/>
                      <a:pt x="109454" y="80006"/>
                      <a:pt x="107611" y="77888"/>
                    </a:cubicBezTo>
                    <a:lnTo>
                      <a:pt x="58047" y="21229"/>
                    </a:lnTo>
                    <a:cubicBezTo>
                      <a:pt x="51799" y="14089"/>
                      <a:pt x="44022" y="5192"/>
                      <a:pt x="33070" y="1416"/>
                    </a:cubicBezTo>
                    <a:cubicBezTo>
                      <a:pt x="30161" y="407"/>
                      <a:pt x="27061" y="-92"/>
                      <a:pt x="23850" y="-92"/>
                    </a:cubicBezTo>
                    <a:cubicBezTo>
                      <a:pt x="13061" y="-92"/>
                      <a:pt x="4130" y="5453"/>
                      <a:pt x="1043" y="14051"/>
                    </a:cubicBezTo>
                    <a:cubicBezTo>
                      <a:pt x="-2770" y="24718"/>
                      <a:pt x="3589" y="35758"/>
                      <a:pt x="11104" y="41502"/>
                    </a:cubicBezTo>
                  </a:path>
                </a:pathLst>
              </a:custGeom>
              <a:grpFill/>
              <a:ln w="1250" cap="flat">
                <a:noFill/>
                <a:prstDash val="solid"/>
                <a:miter/>
              </a:ln>
            </p:spPr>
            <p:txBody>
              <a:bodyPr rtlCol="0" anchor="ctr"/>
              <a:lstStyle/>
              <a:p>
                <a:endParaRPr lang="en-LT"/>
              </a:p>
            </p:txBody>
          </p:sp>
          <p:sp>
            <p:nvSpPr>
              <p:cNvPr id="156" name="Freeform 155">
                <a:extLst>
                  <a:ext uri="{FF2B5EF4-FFF2-40B4-BE49-F238E27FC236}">
                    <a16:creationId xmlns:a16="http://schemas.microsoft.com/office/drawing/2014/main" id="{B0B13E42-7BC7-924E-89EA-7C17E455C298}"/>
                  </a:ext>
                </a:extLst>
              </p:cNvPr>
              <p:cNvSpPr/>
              <p:nvPr/>
            </p:nvSpPr>
            <p:spPr>
              <a:xfrm>
                <a:off x="6405855" y="3140991"/>
                <a:ext cx="132999" cy="67590"/>
              </a:xfrm>
              <a:custGeom>
                <a:avLst/>
                <a:gdLst>
                  <a:gd name="connsiteX0" fmla="*/ 88554 w 132999"/>
                  <a:gd name="connsiteY0" fmla="*/ 11214 h 67590"/>
                  <a:gd name="connsiteX1" fmla="*/ 109804 w 132999"/>
                  <a:gd name="connsiteY1" fmla="*/ 15849 h 67590"/>
                  <a:gd name="connsiteX2" fmla="*/ 120304 w 132999"/>
                  <a:gd name="connsiteY2" fmla="*/ 25107 h 67590"/>
                  <a:gd name="connsiteX3" fmla="*/ 119703 w 132999"/>
                  <a:gd name="connsiteY3" fmla="*/ 35711 h 67590"/>
                  <a:gd name="connsiteX4" fmla="*/ 107710 w 132999"/>
                  <a:gd name="connsiteY4" fmla="*/ 40310 h 67590"/>
                  <a:gd name="connsiteX5" fmla="*/ 48524 w 132999"/>
                  <a:gd name="connsiteY5" fmla="*/ 50826 h 67590"/>
                  <a:gd name="connsiteX6" fmla="*/ 31062 w 132999"/>
                  <a:gd name="connsiteY6" fmla="*/ 52921 h 67590"/>
                  <a:gd name="connsiteX7" fmla="*/ 20750 w 132999"/>
                  <a:gd name="connsiteY7" fmla="*/ 54094 h 67590"/>
                  <a:gd name="connsiteX8" fmla="*/ 88555 w 132999"/>
                  <a:gd name="connsiteY8" fmla="*/ 11216 h 67590"/>
                  <a:gd name="connsiteX9" fmla="*/ 5595 w 132999"/>
                  <a:gd name="connsiteY9" fmla="*/ 67499 h 67590"/>
                  <a:gd name="connsiteX10" fmla="*/ 7526 w 132999"/>
                  <a:gd name="connsiteY10" fmla="*/ 67146 h 67590"/>
                  <a:gd name="connsiteX11" fmla="*/ 32352 w 132999"/>
                  <a:gd name="connsiteY11" fmla="*/ 64105 h 67590"/>
                  <a:gd name="connsiteX12" fmla="*/ 50529 w 132999"/>
                  <a:gd name="connsiteY12" fmla="*/ 61925 h 67590"/>
                  <a:gd name="connsiteX13" fmla="*/ 109715 w 132999"/>
                  <a:gd name="connsiteY13" fmla="*/ 51408 h 67590"/>
                  <a:gd name="connsiteX14" fmla="*/ 128269 w 132999"/>
                  <a:gd name="connsiteY14" fmla="*/ 43109 h 67590"/>
                  <a:gd name="connsiteX15" fmla="*/ 130488 w 132999"/>
                  <a:gd name="connsiteY15" fmla="*/ 20082 h 67590"/>
                  <a:gd name="connsiteX16" fmla="*/ 114581 w 132999"/>
                  <a:gd name="connsiteY16" fmla="*/ 5590 h 67590"/>
                  <a:gd name="connsiteX17" fmla="*/ 88551 w 132999"/>
                  <a:gd name="connsiteY17" fmla="*/ -92 h 67590"/>
                  <a:gd name="connsiteX18" fmla="*/ 9920 w 132999"/>
                  <a:gd name="connsiteY18" fmla="*/ 49041 h 67590"/>
                  <a:gd name="connsiteX19" fmla="*/ 1490 w 132999"/>
                  <a:gd name="connsiteY19" fmla="*/ 57926 h 67590"/>
                  <a:gd name="connsiteX20" fmla="*/ 1632 w 132999"/>
                  <a:gd name="connsiteY20" fmla="*/ 65900 h 67590"/>
                  <a:gd name="connsiteX21" fmla="*/ 5584 w 132999"/>
                  <a:gd name="connsiteY21" fmla="*/ 67483 h 67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999" h="67590">
                    <a:moveTo>
                      <a:pt x="88554" y="11214"/>
                    </a:moveTo>
                    <a:cubicBezTo>
                      <a:pt x="95566" y="11214"/>
                      <a:pt x="102792" y="12797"/>
                      <a:pt x="109804" y="15849"/>
                    </a:cubicBezTo>
                    <a:cubicBezTo>
                      <a:pt x="113342" y="17569"/>
                      <a:pt x="118033" y="20572"/>
                      <a:pt x="120304" y="25107"/>
                    </a:cubicBezTo>
                    <a:cubicBezTo>
                      <a:pt x="122150" y="28771"/>
                      <a:pt x="121883" y="33232"/>
                      <a:pt x="119703" y="35711"/>
                    </a:cubicBezTo>
                    <a:cubicBezTo>
                      <a:pt x="117332" y="38417"/>
                      <a:pt x="112879" y="39400"/>
                      <a:pt x="107710" y="40310"/>
                    </a:cubicBezTo>
                    <a:lnTo>
                      <a:pt x="48524" y="50826"/>
                    </a:lnTo>
                    <a:cubicBezTo>
                      <a:pt x="46643" y="51180"/>
                      <a:pt x="39229" y="51985"/>
                      <a:pt x="31062" y="52921"/>
                    </a:cubicBezTo>
                    <a:cubicBezTo>
                      <a:pt x="27085" y="53370"/>
                      <a:pt x="23660" y="53755"/>
                      <a:pt x="20750" y="54094"/>
                    </a:cubicBezTo>
                    <a:cubicBezTo>
                      <a:pt x="40194" y="33446"/>
                      <a:pt x="62173" y="11216"/>
                      <a:pt x="88555" y="11216"/>
                    </a:cubicBezTo>
                    <a:close/>
                    <a:moveTo>
                      <a:pt x="5595" y="67499"/>
                    </a:moveTo>
                    <a:cubicBezTo>
                      <a:pt x="6246" y="67499"/>
                      <a:pt x="6886" y="67393"/>
                      <a:pt x="7526" y="67146"/>
                    </a:cubicBezTo>
                    <a:cubicBezTo>
                      <a:pt x="10186" y="66623"/>
                      <a:pt x="23470" y="65115"/>
                      <a:pt x="32352" y="64105"/>
                    </a:cubicBezTo>
                    <a:cubicBezTo>
                      <a:pt x="40844" y="63144"/>
                      <a:pt x="48585" y="62261"/>
                      <a:pt x="50529" y="61925"/>
                    </a:cubicBezTo>
                    <a:lnTo>
                      <a:pt x="109715" y="51408"/>
                    </a:lnTo>
                    <a:cubicBezTo>
                      <a:pt x="115022" y="50472"/>
                      <a:pt x="123076" y="49042"/>
                      <a:pt x="128269" y="43109"/>
                    </a:cubicBezTo>
                    <a:cubicBezTo>
                      <a:pt x="133500" y="37153"/>
                      <a:pt x="134391" y="27895"/>
                      <a:pt x="130488" y="20082"/>
                    </a:cubicBezTo>
                    <a:cubicBezTo>
                      <a:pt x="127554" y="14238"/>
                      <a:pt x="122146" y="9266"/>
                      <a:pt x="114581" y="5590"/>
                    </a:cubicBezTo>
                    <a:cubicBezTo>
                      <a:pt x="105900" y="1827"/>
                      <a:pt x="97144" y="-92"/>
                      <a:pt x="88551" y="-92"/>
                    </a:cubicBezTo>
                    <a:cubicBezTo>
                      <a:pt x="56085" y="-92"/>
                      <a:pt x="31560" y="26013"/>
                      <a:pt x="9920" y="49041"/>
                    </a:cubicBezTo>
                    <a:cubicBezTo>
                      <a:pt x="7061" y="52093"/>
                      <a:pt x="4237" y="55072"/>
                      <a:pt x="1490" y="57926"/>
                    </a:cubicBezTo>
                    <a:cubicBezTo>
                      <a:pt x="-679" y="60168"/>
                      <a:pt x="-619" y="63745"/>
                      <a:pt x="1632" y="65900"/>
                    </a:cubicBezTo>
                    <a:cubicBezTo>
                      <a:pt x="2735" y="66960"/>
                      <a:pt x="4168" y="67483"/>
                      <a:pt x="5584" y="67483"/>
                    </a:cubicBezTo>
                  </a:path>
                </a:pathLst>
              </a:custGeom>
              <a:grpFill/>
              <a:ln w="1250" cap="flat">
                <a:noFill/>
                <a:prstDash val="solid"/>
                <a:miter/>
              </a:ln>
            </p:spPr>
            <p:txBody>
              <a:bodyPr rtlCol="0" anchor="ctr"/>
              <a:lstStyle/>
              <a:p>
                <a:endParaRPr lang="en-LT"/>
              </a:p>
            </p:txBody>
          </p:sp>
          <p:sp>
            <p:nvSpPr>
              <p:cNvPr id="157" name="Freeform 156">
                <a:extLst>
                  <a:ext uri="{FF2B5EF4-FFF2-40B4-BE49-F238E27FC236}">
                    <a16:creationId xmlns:a16="http://schemas.microsoft.com/office/drawing/2014/main" id="{CBCED58F-277E-D242-BD82-E0575EECCB66}"/>
                  </a:ext>
                </a:extLst>
              </p:cNvPr>
              <p:cNvSpPr/>
              <p:nvPr/>
            </p:nvSpPr>
            <p:spPr>
              <a:xfrm>
                <a:off x="6405626" y="3324716"/>
                <a:ext cx="118720" cy="64683"/>
              </a:xfrm>
              <a:custGeom>
                <a:avLst/>
                <a:gdLst>
                  <a:gd name="connsiteX0" fmla="*/ 31051 w 118720"/>
                  <a:gd name="connsiteY0" fmla="*/ 11198 h 64683"/>
                  <a:gd name="connsiteX1" fmla="*/ 102970 w 118720"/>
                  <a:gd name="connsiteY1" fmla="*/ 30375 h 64683"/>
                  <a:gd name="connsiteX2" fmla="*/ 107235 w 118720"/>
                  <a:gd name="connsiteY2" fmla="*/ 39247 h 64683"/>
                  <a:gd name="connsiteX3" fmla="*/ 100110 w 118720"/>
                  <a:gd name="connsiteY3" fmla="*/ 48954 h 64683"/>
                  <a:gd name="connsiteX4" fmla="*/ 87101 w 118720"/>
                  <a:gd name="connsiteY4" fmla="*/ 53303 h 64683"/>
                  <a:gd name="connsiteX5" fmla="*/ 52628 w 118720"/>
                  <a:gd name="connsiteY5" fmla="*/ 36443 h 64683"/>
                  <a:gd name="connsiteX6" fmla="*/ 38967 w 118720"/>
                  <a:gd name="connsiteY6" fmla="*/ 25988 h 64683"/>
                  <a:gd name="connsiteX7" fmla="*/ 20087 w 118720"/>
                  <a:gd name="connsiteY7" fmla="*/ 11359 h 64683"/>
                  <a:gd name="connsiteX8" fmla="*/ 31051 w 118720"/>
                  <a:gd name="connsiteY8" fmla="*/ 11183 h 64683"/>
                  <a:gd name="connsiteX9" fmla="*/ 32104 w 118720"/>
                  <a:gd name="connsiteY9" fmla="*/ 34985 h 64683"/>
                  <a:gd name="connsiteX10" fmla="*/ 45577 w 118720"/>
                  <a:gd name="connsiteY10" fmla="*/ 45290 h 64683"/>
                  <a:gd name="connsiteX11" fmla="*/ 87100 w 118720"/>
                  <a:gd name="connsiteY11" fmla="*/ 64592 h 64683"/>
                  <a:gd name="connsiteX12" fmla="*/ 106820 w 118720"/>
                  <a:gd name="connsiteY12" fmla="*/ 58075 h 64683"/>
                  <a:gd name="connsiteX13" fmla="*/ 118562 w 118720"/>
                  <a:gd name="connsiteY13" fmla="*/ 40194 h 64683"/>
                  <a:gd name="connsiteX14" fmla="*/ 111085 w 118720"/>
                  <a:gd name="connsiteY14" fmla="*/ 22487 h 64683"/>
                  <a:gd name="connsiteX15" fmla="*/ 31050 w 118720"/>
                  <a:gd name="connsiteY15" fmla="*/ -92 h 64683"/>
                  <a:gd name="connsiteX16" fmla="*/ 5320 w 118720"/>
                  <a:gd name="connsiteY16" fmla="*/ 643 h 64683"/>
                  <a:gd name="connsiteX17" fmla="*/ 252 w 118720"/>
                  <a:gd name="connsiteY17" fmla="*/ 4331 h 64683"/>
                  <a:gd name="connsiteX18" fmla="*/ 1696 w 118720"/>
                  <a:gd name="connsiteY18" fmla="*/ 10412 h 64683"/>
                  <a:gd name="connsiteX19" fmla="*/ 32104 w 118720"/>
                  <a:gd name="connsiteY19" fmla="*/ 34985 h 64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720" h="64683">
                    <a:moveTo>
                      <a:pt x="31051" y="11198"/>
                    </a:moveTo>
                    <a:cubicBezTo>
                      <a:pt x="66741" y="11198"/>
                      <a:pt x="90262" y="17465"/>
                      <a:pt x="102970" y="30375"/>
                    </a:cubicBezTo>
                    <a:cubicBezTo>
                      <a:pt x="106032" y="33490"/>
                      <a:pt x="107461" y="36468"/>
                      <a:pt x="107235" y="39247"/>
                    </a:cubicBezTo>
                    <a:cubicBezTo>
                      <a:pt x="106880" y="43259"/>
                      <a:pt x="103183" y="46736"/>
                      <a:pt x="100110" y="48954"/>
                    </a:cubicBezTo>
                    <a:cubicBezTo>
                      <a:pt x="96083" y="51882"/>
                      <a:pt x="91818" y="53303"/>
                      <a:pt x="87101" y="53303"/>
                    </a:cubicBezTo>
                    <a:cubicBezTo>
                      <a:pt x="75622" y="53303"/>
                      <a:pt x="63241" y="44779"/>
                      <a:pt x="52628" y="36443"/>
                    </a:cubicBezTo>
                    <a:cubicBezTo>
                      <a:pt x="48149" y="32928"/>
                      <a:pt x="43570" y="29465"/>
                      <a:pt x="38967" y="25988"/>
                    </a:cubicBezTo>
                    <a:cubicBezTo>
                      <a:pt x="32669" y="21241"/>
                      <a:pt x="26234" y="16394"/>
                      <a:pt x="20087" y="11359"/>
                    </a:cubicBezTo>
                    <a:cubicBezTo>
                      <a:pt x="23625" y="11253"/>
                      <a:pt x="27300" y="11183"/>
                      <a:pt x="31051" y="11183"/>
                    </a:cubicBezTo>
                    <a:close/>
                    <a:moveTo>
                      <a:pt x="32104" y="34985"/>
                    </a:moveTo>
                    <a:cubicBezTo>
                      <a:pt x="36645" y="38401"/>
                      <a:pt x="41161" y="41826"/>
                      <a:pt x="45577" y="45290"/>
                    </a:cubicBezTo>
                    <a:cubicBezTo>
                      <a:pt x="58322" y="55309"/>
                      <a:pt x="72184" y="64592"/>
                      <a:pt x="87100" y="64592"/>
                    </a:cubicBezTo>
                    <a:cubicBezTo>
                      <a:pt x="94213" y="64592"/>
                      <a:pt x="100849" y="62388"/>
                      <a:pt x="106820" y="58075"/>
                    </a:cubicBezTo>
                    <a:cubicBezTo>
                      <a:pt x="115827" y="51545"/>
                      <a:pt x="118173" y="44742"/>
                      <a:pt x="118562" y="40194"/>
                    </a:cubicBezTo>
                    <a:cubicBezTo>
                      <a:pt x="118918" y="35932"/>
                      <a:pt x="117897" y="29415"/>
                      <a:pt x="111085" y="22487"/>
                    </a:cubicBezTo>
                    <a:cubicBezTo>
                      <a:pt x="91177" y="2251"/>
                      <a:pt x="55876" y="-92"/>
                      <a:pt x="31050" y="-92"/>
                    </a:cubicBezTo>
                    <a:cubicBezTo>
                      <a:pt x="21754" y="-92"/>
                      <a:pt x="12948" y="283"/>
                      <a:pt x="5320" y="643"/>
                    </a:cubicBezTo>
                    <a:cubicBezTo>
                      <a:pt x="3037" y="749"/>
                      <a:pt x="1043" y="2200"/>
                      <a:pt x="252" y="4331"/>
                    </a:cubicBezTo>
                    <a:cubicBezTo>
                      <a:pt x="-537" y="6461"/>
                      <a:pt x="39" y="8855"/>
                      <a:pt x="1696" y="10412"/>
                    </a:cubicBezTo>
                    <a:cubicBezTo>
                      <a:pt x="11205" y="19234"/>
                      <a:pt x="21830" y="27247"/>
                      <a:pt x="32104" y="34985"/>
                    </a:cubicBezTo>
                  </a:path>
                </a:pathLst>
              </a:custGeom>
              <a:grpFill/>
              <a:ln w="1250" cap="flat">
                <a:noFill/>
                <a:prstDash val="solid"/>
                <a:miter/>
              </a:ln>
            </p:spPr>
            <p:txBody>
              <a:bodyPr rtlCol="0" anchor="ctr"/>
              <a:lstStyle/>
              <a:p>
                <a:endParaRPr lang="en-LT"/>
              </a:p>
            </p:txBody>
          </p:sp>
          <p:sp>
            <p:nvSpPr>
              <p:cNvPr id="158" name="Freeform 157">
                <a:extLst>
                  <a:ext uri="{FF2B5EF4-FFF2-40B4-BE49-F238E27FC236}">
                    <a16:creationId xmlns:a16="http://schemas.microsoft.com/office/drawing/2014/main" id="{2797CB9C-4F24-434E-8E6A-06B3572C76F7}"/>
                  </a:ext>
                </a:extLst>
              </p:cNvPr>
              <p:cNvSpPr/>
              <p:nvPr/>
            </p:nvSpPr>
            <p:spPr>
              <a:xfrm>
                <a:off x="6204379" y="3152558"/>
                <a:ext cx="67985" cy="26103"/>
              </a:xfrm>
              <a:custGeom>
                <a:avLst/>
                <a:gdLst>
                  <a:gd name="connsiteX0" fmla="*/ 5576 w 67985"/>
                  <a:gd name="connsiteY0" fmla="*/ 26002 h 26103"/>
                  <a:gd name="connsiteX1" fmla="*/ 7031 w 67985"/>
                  <a:gd name="connsiteY1" fmla="*/ 25825 h 26103"/>
                  <a:gd name="connsiteX2" fmla="*/ 63658 w 67985"/>
                  <a:gd name="connsiteY2" fmla="*/ 10996 h 26103"/>
                  <a:gd name="connsiteX3" fmla="*/ 67697 w 67985"/>
                  <a:gd name="connsiteY3" fmla="*/ 4106 h 26103"/>
                  <a:gd name="connsiteX4" fmla="*/ 60760 w 67985"/>
                  <a:gd name="connsiteY4" fmla="*/ 93 h 26103"/>
                  <a:gd name="connsiteX5" fmla="*/ 4121 w 67985"/>
                  <a:gd name="connsiteY5" fmla="*/ 14909 h 26103"/>
                  <a:gd name="connsiteX6" fmla="*/ 93 w 67985"/>
                  <a:gd name="connsiteY6" fmla="*/ 21812 h 26103"/>
                  <a:gd name="connsiteX7" fmla="*/ 5576 w 67985"/>
                  <a:gd name="connsiteY7" fmla="*/ 26012 h 26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85" h="26103">
                    <a:moveTo>
                      <a:pt x="5576" y="26002"/>
                    </a:moveTo>
                    <a:cubicBezTo>
                      <a:pt x="6053" y="26002"/>
                      <a:pt x="6544" y="25931"/>
                      <a:pt x="7031" y="25825"/>
                    </a:cubicBezTo>
                    <a:lnTo>
                      <a:pt x="63658" y="10996"/>
                    </a:lnTo>
                    <a:cubicBezTo>
                      <a:pt x="66695" y="10212"/>
                      <a:pt x="68500" y="7121"/>
                      <a:pt x="67697" y="4106"/>
                    </a:cubicBezTo>
                    <a:cubicBezTo>
                      <a:pt x="66919" y="1089"/>
                      <a:pt x="63846" y="-692"/>
                      <a:pt x="60760" y="93"/>
                    </a:cubicBezTo>
                    <a:lnTo>
                      <a:pt x="4121" y="14909"/>
                    </a:lnTo>
                    <a:cubicBezTo>
                      <a:pt x="1098" y="15708"/>
                      <a:pt x="-709" y="18797"/>
                      <a:pt x="93" y="21812"/>
                    </a:cubicBezTo>
                    <a:cubicBezTo>
                      <a:pt x="759" y="24341"/>
                      <a:pt x="3066" y="26012"/>
                      <a:pt x="5576" y="26012"/>
                    </a:cubicBezTo>
                  </a:path>
                </a:pathLst>
              </a:custGeom>
              <a:grpFill/>
              <a:ln w="1250" cap="flat">
                <a:noFill/>
                <a:prstDash val="solid"/>
                <a:miter/>
              </a:ln>
            </p:spPr>
            <p:txBody>
              <a:bodyPr rtlCol="0" anchor="ctr"/>
              <a:lstStyle/>
              <a:p>
                <a:endParaRPr lang="en-LT"/>
              </a:p>
            </p:txBody>
          </p:sp>
          <p:sp>
            <p:nvSpPr>
              <p:cNvPr id="159" name="Freeform 158">
                <a:extLst>
                  <a:ext uri="{FF2B5EF4-FFF2-40B4-BE49-F238E27FC236}">
                    <a16:creationId xmlns:a16="http://schemas.microsoft.com/office/drawing/2014/main" id="{B704116D-F473-EE4F-945E-CBCCAD68677A}"/>
                  </a:ext>
                </a:extLst>
              </p:cNvPr>
              <p:cNvSpPr/>
              <p:nvPr/>
            </p:nvSpPr>
            <p:spPr>
              <a:xfrm>
                <a:off x="6215395" y="3174516"/>
                <a:ext cx="65344" cy="31037"/>
              </a:xfrm>
              <a:custGeom>
                <a:avLst/>
                <a:gdLst>
                  <a:gd name="connsiteX0" fmla="*/ 5035 w 65344"/>
                  <a:gd name="connsiteY0" fmla="*/ 19694 h 31037"/>
                  <a:gd name="connsiteX1" fmla="*/ -71 w 65344"/>
                  <a:gd name="connsiteY1" fmla="*/ 25837 h 31037"/>
                  <a:gd name="connsiteX2" fmla="*/ 5575 w 65344"/>
                  <a:gd name="connsiteY2" fmla="*/ 30946 h 31037"/>
                  <a:gd name="connsiteX3" fmla="*/ 6126 w 65344"/>
                  <a:gd name="connsiteY3" fmla="*/ 30920 h 31037"/>
                  <a:gd name="connsiteX4" fmla="*/ 62828 w 65344"/>
                  <a:gd name="connsiteY4" fmla="*/ 10173 h 31037"/>
                  <a:gd name="connsiteX5" fmla="*/ 64208 w 65344"/>
                  <a:gd name="connsiteY5" fmla="*/ 2310 h 31037"/>
                  <a:gd name="connsiteX6" fmla="*/ 56292 w 65344"/>
                  <a:gd name="connsiteY6" fmla="*/ 929 h 31037"/>
                  <a:gd name="connsiteX7" fmla="*/ 5034 w 65344"/>
                  <a:gd name="connsiteY7" fmla="*/ 19695 h 3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4" h="31037">
                    <a:moveTo>
                      <a:pt x="5035" y="19694"/>
                    </a:moveTo>
                    <a:cubicBezTo>
                      <a:pt x="1924" y="19976"/>
                      <a:pt x="-372" y="22735"/>
                      <a:pt x="-71" y="25837"/>
                    </a:cubicBezTo>
                    <a:cubicBezTo>
                      <a:pt x="214" y="28751"/>
                      <a:pt x="2689" y="30946"/>
                      <a:pt x="5575" y="30946"/>
                    </a:cubicBezTo>
                    <a:cubicBezTo>
                      <a:pt x="5752" y="30946"/>
                      <a:pt x="5937" y="30946"/>
                      <a:pt x="6126" y="30920"/>
                    </a:cubicBezTo>
                    <a:cubicBezTo>
                      <a:pt x="26461" y="28988"/>
                      <a:pt x="46081" y="21824"/>
                      <a:pt x="62828" y="10173"/>
                    </a:cubicBezTo>
                    <a:cubicBezTo>
                      <a:pt x="65388" y="8379"/>
                      <a:pt x="66028" y="4865"/>
                      <a:pt x="64208" y="2310"/>
                    </a:cubicBezTo>
                    <a:cubicBezTo>
                      <a:pt x="62401" y="-243"/>
                      <a:pt x="58864" y="-854"/>
                      <a:pt x="56292" y="929"/>
                    </a:cubicBezTo>
                    <a:cubicBezTo>
                      <a:pt x="41163" y="11458"/>
                      <a:pt x="23437" y="17938"/>
                      <a:pt x="5034" y="19695"/>
                    </a:cubicBezTo>
                  </a:path>
                </a:pathLst>
              </a:custGeom>
              <a:grpFill/>
              <a:ln w="1250" cap="flat">
                <a:noFill/>
                <a:prstDash val="solid"/>
                <a:miter/>
              </a:ln>
            </p:spPr>
            <p:txBody>
              <a:bodyPr rtlCol="0" anchor="ctr"/>
              <a:lstStyle/>
              <a:p>
                <a:endParaRPr lang="en-LT"/>
              </a:p>
            </p:txBody>
          </p:sp>
          <p:sp>
            <p:nvSpPr>
              <p:cNvPr id="160" name="Freeform 159">
                <a:extLst>
                  <a:ext uri="{FF2B5EF4-FFF2-40B4-BE49-F238E27FC236}">
                    <a16:creationId xmlns:a16="http://schemas.microsoft.com/office/drawing/2014/main" id="{C4CA4BED-B448-8C44-95DF-C02D67CD99F9}"/>
                  </a:ext>
                </a:extLst>
              </p:cNvPr>
              <p:cNvSpPr/>
              <p:nvPr/>
            </p:nvSpPr>
            <p:spPr>
              <a:xfrm>
                <a:off x="6223929" y="3199835"/>
                <a:ext cx="88031" cy="34104"/>
              </a:xfrm>
              <a:custGeom>
                <a:avLst/>
                <a:gdLst>
                  <a:gd name="connsiteX0" fmla="*/ -87 w 88031"/>
                  <a:gd name="connsiteY0" fmla="*/ 28730 h 34104"/>
                  <a:gd name="connsiteX1" fmla="*/ 5571 w 88031"/>
                  <a:gd name="connsiteY1" fmla="*/ 34013 h 34104"/>
                  <a:gd name="connsiteX2" fmla="*/ 5948 w 88031"/>
                  <a:gd name="connsiteY2" fmla="*/ 34001 h 34104"/>
                  <a:gd name="connsiteX3" fmla="*/ 85055 w 88031"/>
                  <a:gd name="connsiteY3" fmla="*/ 10462 h 34104"/>
                  <a:gd name="connsiteX4" fmla="*/ 87188 w 88031"/>
                  <a:gd name="connsiteY4" fmla="*/ 2774 h 34104"/>
                  <a:gd name="connsiteX5" fmla="*/ 79449 w 88031"/>
                  <a:gd name="connsiteY5" fmla="*/ 655 h 34104"/>
                  <a:gd name="connsiteX6" fmla="*/ 5221 w 88031"/>
                  <a:gd name="connsiteY6" fmla="*/ 22735 h 34104"/>
                  <a:gd name="connsiteX7" fmla="*/ -85 w 88031"/>
                  <a:gd name="connsiteY7" fmla="*/ 28729 h 3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31" h="34104">
                    <a:moveTo>
                      <a:pt x="-87" y="28730"/>
                    </a:moveTo>
                    <a:cubicBezTo>
                      <a:pt x="126" y="31721"/>
                      <a:pt x="2612" y="34013"/>
                      <a:pt x="5571" y="34013"/>
                    </a:cubicBezTo>
                    <a:cubicBezTo>
                      <a:pt x="5713" y="34013"/>
                      <a:pt x="5820" y="34001"/>
                      <a:pt x="5948" y="34001"/>
                    </a:cubicBezTo>
                    <a:cubicBezTo>
                      <a:pt x="33609" y="32220"/>
                      <a:pt x="60969" y="24082"/>
                      <a:pt x="85055" y="10462"/>
                    </a:cubicBezTo>
                    <a:cubicBezTo>
                      <a:pt x="87789" y="8929"/>
                      <a:pt x="88743" y="5478"/>
                      <a:pt x="87188" y="2774"/>
                    </a:cubicBezTo>
                    <a:cubicBezTo>
                      <a:pt x="85634" y="58"/>
                      <a:pt x="82146" y="-902"/>
                      <a:pt x="79449" y="655"/>
                    </a:cubicBezTo>
                    <a:cubicBezTo>
                      <a:pt x="56843" y="13427"/>
                      <a:pt x="31176" y="21065"/>
                      <a:pt x="5221" y="22735"/>
                    </a:cubicBezTo>
                    <a:cubicBezTo>
                      <a:pt x="2099" y="22947"/>
                      <a:pt x="-286" y="25624"/>
                      <a:pt x="-85" y="28729"/>
                    </a:cubicBezTo>
                  </a:path>
                </a:pathLst>
              </a:custGeom>
              <a:grpFill/>
              <a:ln w="1250" cap="flat">
                <a:noFill/>
                <a:prstDash val="solid"/>
                <a:miter/>
              </a:ln>
            </p:spPr>
            <p:txBody>
              <a:bodyPr rtlCol="0" anchor="ctr"/>
              <a:lstStyle/>
              <a:p>
                <a:endParaRPr lang="en-LT"/>
              </a:p>
            </p:txBody>
          </p:sp>
          <p:sp>
            <p:nvSpPr>
              <p:cNvPr id="161" name="Freeform 160">
                <a:extLst>
                  <a:ext uri="{FF2B5EF4-FFF2-40B4-BE49-F238E27FC236}">
                    <a16:creationId xmlns:a16="http://schemas.microsoft.com/office/drawing/2014/main" id="{0C92CF32-2A08-9C4E-AE45-A19B1009138C}"/>
                  </a:ext>
                </a:extLst>
              </p:cNvPr>
              <p:cNvSpPr/>
              <p:nvPr/>
            </p:nvSpPr>
            <p:spPr>
              <a:xfrm>
                <a:off x="6240963" y="3245064"/>
                <a:ext cx="65348" cy="25397"/>
              </a:xfrm>
              <a:custGeom>
                <a:avLst/>
                <a:gdLst>
                  <a:gd name="connsiteX0" fmla="*/ 64534 w 65348"/>
                  <a:gd name="connsiteY0" fmla="*/ 2789 h 25397"/>
                  <a:gd name="connsiteX1" fmla="*/ 56794 w 65348"/>
                  <a:gd name="connsiteY1" fmla="*/ 621 h 25397"/>
                  <a:gd name="connsiteX2" fmla="*/ 5548 w 65348"/>
                  <a:gd name="connsiteY2" fmla="*/ 14016 h 25397"/>
                  <a:gd name="connsiteX3" fmla="*/ -97 w 65348"/>
                  <a:gd name="connsiteY3" fmla="*/ 19698 h 25397"/>
                  <a:gd name="connsiteX4" fmla="*/ 5586 w 65348"/>
                  <a:gd name="connsiteY4" fmla="*/ 25306 h 25397"/>
                  <a:gd name="connsiteX5" fmla="*/ 5611 w 65348"/>
                  <a:gd name="connsiteY5" fmla="*/ 25306 h 25397"/>
                  <a:gd name="connsiteX6" fmla="*/ 62326 w 65348"/>
                  <a:gd name="connsiteY6" fmla="*/ 10477 h 25397"/>
                  <a:gd name="connsiteX7" fmla="*/ 64535 w 65348"/>
                  <a:gd name="connsiteY7" fmla="*/ 2789 h 2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48" h="25397">
                    <a:moveTo>
                      <a:pt x="64534" y="2789"/>
                    </a:moveTo>
                    <a:cubicBezTo>
                      <a:pt x="63005" y="73"/>
                      <a:pt x="59529" y="-887"/>
                      <a:pt x="56794" y="621"/>
                    </a:cubicBezTo>
                    <a:cubicBezTo>
                      <a:pt x="41163" y="9281"/>
                      <a:pt x="23450" y="13904"/>
                      <a:pt x="5548" y="14016"/>
                    </a:cubicBezTo>
                    <a:cubicBezTo>
                      <a:pt x="2412" y="14028"/>
                      <a:pt x="-122" y="16584"/>
                      <a:pt x="-97" y="19698"/>
                    </a:cubicBezTo>
                    <a:cubicBezTo>
                      <a:pt x="-71" y="22800"/>
                      <a:pt x="2463" y="25306"/>
                      <a:pt x="5586" y="25306"/>
                    </a:cubicBezTo>
                    <a:cubicBezTo>
                      <a:pt x="5598" y="25306"/>
                      <a:pt x="5598" y="25306"/>
                      <a:pt x="5611" y="25306"/>
                    </a:cubicBezTo>
                    <a:cubicBezTo>
                      <a:pt x="25419" y="25164"/>
                      <a:pt x="45040" y="20047"/>
                      <a:pt x="62326" y="10477"/>
                    </a:cubicBezTo>
                    <a:cubicBezTo>
                      <a:pt x="65061" y="8958"/>
                      <a:pt x="66064" y="5518"/>
                      <a:pt x="64535" y="2789"/>
                    </a:cubicBezTo>
                  </a:path>
                </a:pathLst>
              </a:custGeom>
              <a:grpFill/>
              <a:ln w="1250" cap="flat">
                <a:noFill/>
                <a:prstDash val="solid"/>
                <a:miter/>
              </a:ln>
            </p:spPr>
            <p:txBody>
              <a:bodyPr rtlCol="0" anchor="ctr"/>
              <a:lstStyle/>
              <a:p>
                <a:endParaRPr lang="en-LT"/>
              </a:p>
            </p:txBody>
          </p:sp>
          <p:sp>
            <p:nvSpPr>
              <p:cNvPr id="162" name="Freeform 161">
                <a:extLst>
                  <a:ext uri="{FF2B5EF4-FFF2-40B4-BE49-F238E27FC236}">
                    <a16:creationId xmlns:a16="http://schemas.microsoft.com/office/drawing/2014/main" id="{BB411E04-768D-834B-BFEA-795463D274DA}"/>
                  </a:ext>
                </a:extLst>
              </p:cNvPr>
              <p:cNvSpPr/>
              <p:nvPr/>
            </p:nvSpPr>
            <p:spPr>
              <a:xfrm>
                <a:off x="6269374" y="3270448"/>
                <a:ext cx="45447" cy="22615"/>
              </a:xfrm>
              <a:custGeom>
                <a:avLst/>
                <a:gdLst>
                  <a:gd name="connsiteX0" fmla="*/ 36110 w 45447"/>
                  <a:gd name="connsiteY0" fmla="*/ 1168 h 22615"/>
                  <a:gd name="connsiteX1" fmla="*/ 5802 w 45447"/>
                  <a:gd name="connsiteY1" fmla="*/ 11211 h 22615"/>
                  <a:gd name="connsiteX2" fmla="*/ -94 w 45447"/>
                  <a:gd name="connsiteY2" fmla="*/ 16632 h 22615"/>
                  <a:gd name="connsiteX3" fmla="*/ 5363 w 45447"/>
                  <a:gd name="connsiteY3" fmla="*/ 22488 h 22615"/>
                  <a:gd name="connsiteX4" fmla="*/ 7407 w 45447"/>
                  <a:gd name="connsiteY4" fmla="*/ 22524 h 22615"/>
                  <a:gd name="connsiteX5" fmla="*/ 43248 w 45447"/>
                  <a:gd name="connsiteY5" fmla="*/ 9950 h 22615"/>
                  <a:gd name="connsiteX6" fmla="*/ 44087 w 45447"/>
                  <a:gd name="connsiteY6" fmla="*/ 2001 h 22615"/>
                  <a:gd name="connsiteX7" fmla="*/ 36109 w 45447"/>
                  <a:gd name="connsiteY7" fmla="*/ 1167 h 2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47" h="22615">
                    <a:moveTo>
                      <a:pt x="36110" y="1168"/>
                    </a:moveTo>
                    <a:cubicBezTo>
                      <a:pt x="27680" y="7946"/>
                      <a:pt x="16641" y="11548"/>
                      <a:pt x="5802" y="11211"/>
                    </a:cubicBezTo>
                    <a:cubicBezTo>
                      <a:pt x="2765" y="10929"/>
                      <a:pt x="44" y="13517"/>
                      <a:pt x="-94" y="16632"/>
                    </a:cubicBezTo>
                    <a:cubicBezTo>
                      <a:pt x="-201" y="19747"/>
                      <a:pt x="2228" y="22376"/>
                      <a:pt x="5363" y="22488"/>
                    </a:cubicBezTo>
                    <a:cubicBezTo>
                      <a:pt x="6053" y="22513"/>
                      <a:pt x="6728" y="22524"/>
                      <a:pt x="7407" y="22524"/>
                    </a:cubicBezTo>
                    <a:cubicBezTo>
                      <a:pt x="20291" y="22524"/>
                      <a:pt x="33250" y="18000"/>
                      <a:pt x="43248" y="9950"/>
                    </a:cubicBezTo>
                    <a:cubicBezTo>
                      <a:pt x="45680" y="7983"/>
                      <a:pt x="46057" y="4430"/>
                      <a:pt x="44087" y="2001"/>
                    </a:cubicBezTo>
                    <a:cubicBezTo>
                      <a:pt x="42117" y="-430"/>
                      <a:pt x="38492" y="-790"/>
                      <a:pt x="36109" y="1167"/>
                    </a:cubicBezTo>
                  </a:path>
                </a:pathLst>
              </a:custGeom>
              <a:grpFill/>
              <a:ln w="1250" cap="flat">
                <a:noFill/>
                <a:prstDash val="solid"/>
                <a:miter/>
              </a:ln>
            </p:spPr>
            <p:txBody>
              <a:bodyPr rtlCol="0" anchor="ctr"/>
              <a:lstStyle/>
              <a:p>
                <a:endParaRPr lang="en-LT"/>
              </a:p>
            </p:txBody>
          </p:sp>
          <p:sp>
            <p:nvSpPr>
              <p:cNvPr id="163" name="Freeform 162">
                <a:extLst>
                  <a:ext uri="{FF2B5EF4-FFF2-40B4-BE49-F238E27FC236}">
                    <a16:creationId xmlns:a16="http://schemas.microsoft.com/office/drawing/2014/main" id="{28CD7E37-0A64-2747-851A-28F7C665C132}"/>
                  </a:ext>
                </a:extLst>
              </p:cNvPr>
              <p:cNvSpPr/>
              <p:nvPr/>
            </p:nvSpPr>
            <p:spPr>
              <a:xfrm>
                <a:off x="5982469" y="2863849"/>
                <a:ext cx="64071" cy="123469"/>
              </a:xfrm>
              <a:custGeom>
                <a:avLst/>
                <a:gdLst>
                  <a:gd name="connsiteX0" fmla="*/ 26086 w 64071"/>
                  <a:gd name="connsiteY0" fmla="*/ 11368 h 123469"/>
                  <a:gd name="connsiteX1" fmla="*/ 47523 w 64071"/>
                  <a:gd name="connsiteY1" fmla="*/ 28654 h 123469"/>
                  <a:gd name="connsiteX2" fmla="*/ 51248 w 64071"/>
                  <a:gd name="connsiteY2" fmla="*/ 40130 h 123469"/>
                  <a:gd name="connsiteX3" fmla="*/ 49108 w 64071"/>
                  <a:gd name="connsiteY3" fmla="*/ 85096 h 123469"/>
                  <a:gd name="connsiteX4" fmla="*/ 46789 w 64071"/>
                  <a:gd name="connsiteY4" fmla="*/ 99902 h 123469"/>
                  <a:gd name="connsiteX5" fmla="*/ 18389 w 64071"/>
                  <a:gd name="connsiteY5" fmla="*/ 46330 h 123469"/>
                  <a:gd name="connsiteX6" fmla="*/ 11775 w 64071"/>
                  <a:gd name="connsiteY6" fmla="*/ 30409 h 123469"/>
                  <a:gd name="connsiteX7" fmla="*/ 6211 w 64071"/>
                  <a:gd name="connsiteY7" fmla="*/ 31554 h 123469"/>
                  <a:gd name="connsiteX8" fmla="*/ 11620 w 64071"/>
                  <a:gd name="connsiteY8" fmla="*/ 29601 h 123469"/>
                  <a:gd name="connsiteX9" fmla="*/ 14586 w 64071"/>
                  <a:gd name="connsiteY9" fmla="*/ 15629 h 123469"/>
                  <a:gd name="connsiteX10" fmla="*/ 26085 w 64071"/>
                  <a:gd name="connsiteY10" fmla="*/ 11366 h 123469"/>
                  <a:gd name="connsiteX11" fmla="*/ 434 w 64071"/>
                  <a:gd name="connsiteY11" fmla="*/ 31559 h 123469"/>
                  <a:gd name="connsiteX12" fmla="*/ 647 w 64071"/>
                  <a:gd name="connsiteY12" fmla="*/ 32698 h 123469"/>
                  <a:gd name="connsiteX13" fmla="*/ 8238 w 64071"/>
                  <a:gd name="connsiteY13" fmla="*/ 51408 h 123469"/>
                  <a:gd name="connsiteX14" fmla="*/ 37383 w 64071"/>
                  <a:gd name="connsiteY14" fmla="*/ 106277 h 123469"/>
                  <a:gd name="connsiteX15" fmla="*/ 46366 w 64071"/>
                  <a:gd name="connsiteY15" fmla="*/ 120794 h 123469"/>
                  <a:gd name="connsiteX16" fmla="*/ 52762 w 64071"/>
                  <a:gd name="connsiteY16" fmla="*/ 123143 h 123469"/>
                  <a:gd name="connsiteX17" fmla="*/ 56834 w 64071"/>
                  <a:gd name="connsiteY17" fmla="*/ 117724 h 123469"/>
                  <a:gd name="connsiteX18" fmla="*/ 60315 w 64071"/>
                  <a:gd name="connsiteY18" fmla="*/ 86977 h 123469"/>
                  <a:gd name="connsiteX19" fmla="*/ 62381 w 64071"/>
                  <a:gd name="connsiteY19" fmla="*/ 37840 h 123469"/>
                  <a:gd name="connsiteX20" fmla="*/ 57899 w 64071"/>
                  <a:gd name="connsiteY20" fmla="*/ 24026 h 123469"/>
                  <a:gd name="connsiteX21" fmla="*/ 27787 w 64071"/>
                  <a:gd name="connsiteY21" fmla="*/ 215 h 123469"/>
                  <a:gd name="connsiteX22" fmla="*/ 6073 w 64071"/>
                  <a:gd name="connsiteY22" fmla="*/ 8144 h 123469"/>
                  <a:gd name="connsiteX23" fmla="*/ 437 w 64071"/>
                  <a:gd name="connsiteY23" fmla="*/ 31560 h 12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071" h="123469">
                    <a:moveTo>
                      <a:pt x="26086" y="11368"/>
                    </a:moveTo>
                    <a:cubicBezTo>
                      <a:pt x="34820" y="12702"/>
                      <a:pt x="44225" y="21380"/>
                      <a:pt x="47523" y="28654"/>
                    </a:cubicBezTo>
                    <a:cubicBezTo>
                      <a:pt x="49187" y="32333"/>
                      <a:pt x="50403" y="36079"/>
                      <a:pt x="51248" y="40130"/>
                    </a:cubicBezTo>
                    <a:cubicBezTo>
                      <a:pt x="54257" y="54564"/>
                      <a:pt x="51753" y="69396"/>
                      <a:pt x="49108" y="85096"/>
                    </a:cubicBezTo>
                    <a:cubicBezTo>
                      <a:pt x="48283" y="89987"/>
                      <a:pt x="47454" y="94929"/>
                      <a:pt x="46789" y="99902"/>
                    </a:cubicBezTo>
                    <a:cubicBezTo>
                      <a:pt x="37860" y="84852"/>
                      <a:pt x="28606" y="67375"/>
                      <a:pt x="18389" y="46330"/>
                    </a:cubicBezTo>
                    <a:cubicBezTo>
                      <a:pt x="15824" y="41474"/>
                      <a:pt x="12925" y="35925"/>
                      <a:pt x="11775" y="30409"/>
                    </a:cubicBezTo>
                    <a:lnTo>
                      <a:pt x="6211" y="31554"/>
                    </a:lnTo>
                    <a:lnTo>
                      <a:pt x="11620" y="29601"/>
                    </a:lnTo>
                    <a:cubicBezTo>
                      <a:pt x="10646" y="24050"/>
                      <a:pt x="11727" y="18823"/>
                      <a:pt x="14586" y="15629"/>
                    </a:cubicBezTo>
                    <a:cubicBezTo>
                      <a:pt x="17736" y="12066"/>
                      <a:pt x="21510" y="10681"/>
                      <a:pt x="26085" y="11366"/>
                    </a:cubicBezTo>
                    <a:close/>
                    <a:moveTo>
                      <a:pt x="434" y="31559"/>
                    </a:moveTo>
                    <a:cubicBezTo>
                      <a:pt x="448" y="31629"/>
                      <a:pt x="647" y="32650"/>
                      <a:pt x="647" y="32698"/>
                    </a:cubicBezTo>
                    <a:cubicBezTo>
                      <a:pt x="2119" y="39763"/>
                      <a:pt x="5411" y="46022"/>
                      <a:pt x="8238" y="51408"/>
                    </a:cubicBezTo>
                    <a:cubicBezTo>
                      <a:pt x="18652" y="72846"/>
                      <a:pt x="28188" y="90811"/>
                      <a:pt x="37383" y="106277"/>
                    </a:cubicBezTo>
                    <a:cubicBezTo>
                      <a:pt x="40320" y="111208"/>
                      <a:pt x="43315" y="116052"/>
                      <a:pt x="46366" y="120794"/>
                    </a:cubicBezTo>
                    <a:cubicBezTo>
                      <a:pt x="47743" y="122902"/>
                      <a:pt x="50336" y="123859"/>
                      <a:pt x="52762" y="123143"/>
                    </a:cubicBezTo>
                    <a:cubicBezTo>
                      <a:pt x="55173" y="122431"/>
                      <a:pt x="56840" y="120215"/>
                      <a:pt x="56834" y="117724"/>
                    </a:cubicBezTo>
                    <a:cubicBezTo>
                      <a:pt x="56817" y="107751"/>
                      <a:pt x="58515" y="97654"/>
                      <a:pt x="60315" y="86977"/>
                    </a:cubicBezTo>
                    <a:cubicBezTo>
                      <a:pt x="63017" y="70935"/>
                      <a:pt x="65820" y="54337"/>
                      <a:pt x="62381" y="37840"/>
                    </a:cubicBezTo>
                    <a:cubicBezTo>
                      <a:pt x="61382" y="33045"/>
                      <a:pt x="59860" y="28395"/>
                      <a:pt x="57899" y="24026"/>
                    </a:cubicBezTo>
                    <a:cubicBezTo>
                      <a:pt x="53337" y="14008"/>
                      <a:pt x="41251" y="2242"/>
                      <a:pt x="27787" y="215"/>
                    </a:cubicBezTo>
                    <a:cubicBezTo>
                      <a:pt x="19346" y="-1065"/>
                      <a:pt x="11834" y="1678"/>
                      <a:pt x="6073" y="8144"/>
                    </a:cubicBezTo>
                    <a:cubicBezTo>
                      <a:pt x="882" y="13971"/>
                      <a:pt x="-1168" y="22512"/>
                      <a:pt x="437" y="31560"/>
                    </a:cubicBezTo>
                  </a:path>
                </a:pathLst>
              </a:custGeom>
              <a:grpFill/>
              <a:ln w="1250" cap="flat">
                <a:noFill/>
                <a:prstDash val="solid"/>
                <a:miter/>
              </a:ln>
            </p:spPr>
            <p:txBody>
              <a:bodyPr rtlCol="0" anchor="ctr"/>
              <a:lstStyle/>
              <a:p>
                <a:endParaRPr lang="en-LT"/>
              </a:p>
            </p:txBody>
          </p:sp>
          <p:sp>
            <p:nvSpPr>
              <p:cNvPr id="164" name="Freeform 163">
                <a:extLst>
                  <a:ext uri="{FF2B5EF4-FFF2-40B4-BE49-F238E27FC236}">
                    <a16:creationId xmlns:a16="http://schemas.microsoft.com/office/drawing/2014/main" id="{50CB18A8-59CE-8B4B-BEF0-42B3C0C1FD90}"/>
                  </a:ext>
                </a:extLst>
              </p:cNvPr>
              <p:cNvSpPr/>
              <p:nvPr/>
            </p:nvSpPr>
            <p:spPr>
              <a:xfrm>
                <a:off x="6269488" y="2922538"/>
                <a:ext cx="91459" cy="100502"/>
              </a:xfrm>
              <a:custGeom>
                <a:avLst/>
                <a:gdLst>
                  <a:gd name="connsiteX0" fmla="*/ 19193 w 91459"/>
                  <a:gd name="connsiteY0" fmla="*/ 72828 h 100502"/>
                  <a:gd name="connsiteX1" fmla="*/ 62616 w 91459"/>
                  <a:gd name="connsiteY1" fmla="*/ 12738 h 100502"/>
                  <a:gd name="connsiteX2" fmla="*/ 72478 w 91459"/>
                  <a:gd name="connsiteY2" fmla="*/ 11902 h 100502"/>
                  <a:gd name="connsiteX3" fmla="*/ 79111 w 91459"/>
                  <a:gd name="connsiteY3" fmla="*/ 21948 h 100502"/>
                  <a:gd name="connsiteX4" fmla="*/ 78620 w 91459"/>
                  <a:gd name="connsiteY4" fmla="*/ 35573 h 100502"/>
                  <a:gd name="connsiteX5" fmla="*/ 50583 w 91459"/>
                  <a:gd name="connsiteY5" fmla="*/ 61672 h 100502"/>
                  <a:gd name="connsiteX6" fmla="*/ 35917 w 91459"/>
                  <a:gd name="connsiteY6" fmla="*/ 70685 h 100502"/>
                  <a:gd name="connsiteX7" fmla="*/ 15479 w 91459"/>
                  <a:gd name="connsiteY7" fmla="*/ 83077 h 100502"/>
                  <a:gd name="connsiteX8" fmla="*/ 19178 w 91459"/>
                  <a:gd name="connsiteY8" fmla="*/ 72823 h 100502"/>
                  <a:gd name="connsiteX9" fmla="*/ 41975 w 91459"/>
                  <a:gd name="connsiteY9" fmla="*/ 80236 h 100502"/>
                  <a:gd name="connsiteX10" fmla="*/ 56433 w 91459"/>
                  <a:gd name="connsiteY10" fmla="*/ 71346 h 100502"/>
                  <a:gd name="connsiteX11" fmla="*/ 89257 w 91459"/>
                  <a:gd name="connsiteY11" fmla="*/ 39554 h 100502"/>
                  <a:gd name="connsiteX12" fmla="*/ 90071 w 91459"/>
                  <a:gd name="connsiteY12" fmla="*/ 18926 h 100502"/>
                  <a:gd name="connsiteX13" fmla="*/ 77365 w 91459"/>
                  <a:gd name="connsiteY13" fmla="*/ 1707 h 100502"/>
                  <a:gd name="connsiteX14" fmla="*/ 58047 w 91459"/>
                  <a:gd name="connsiteY14" fmla="*/ 2414 h 100502"/>
                  <a:gd name="connsiteX15" fmla="*/ 8558 w 91459"/>
                  <a:gd name="connsiteY15" fmla="*/ 68849 h 100502"/>
                  <a:gd name="connsiteX16" fmla="*/ 179 w 91459"/>
                  <a:gd name="connsiteY16" fmla="*/ 93024 h 100502"/>
                  <a:gd name="connsiteX17" fmla="*/ 1868 w 91459"/>
                  <a:gd name="connsiteY17" fmla="*/ 99035 h 100502"/>
                  <a:gd name="connsiteX18" fmla="*/ 8106 w 91459"/>
                  <a:gd name="connsiteY18" fmla="*/ 99837 h 100502"/>
                  <a:gd name="connsiteX19" fmla="*/ 41977 w 91459"/>
                  <a:gd name="connsiteY19" fmla="*/ 80235 h 10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459" h="100502">
                    <a:moveTo>
                      <a:pt x="19193" y="72828"/>
                    </a:moveTo>
                    <a:cubicBezTo>
                      <a:pt x="31776" y="39653"/>
                      <a:pt x="45974" y="19999"/>
                      <a:pt x="62616" y="12738"/>
                    </a:cubicBezTo>
                    <a:cubicBezTo>
                      <a:pt x="66631" y="10991"/>
                      <a:pt x="69940" y="10712"/>
                      <a:pt x="72478" y="11902"/>
                    </a:cubicBezTo>
                    <a:cubicBezTo>
                      <a:pt x="76133" y="13647"/>
                      <a:pt x="78105" y="18309"/>
                      <a:pt x="79111" y="21948"/>
                    </a:cubicBezTo>
                    <a:cubicBezTo>
                      <a:pt x="80448" y="26723"/>
                      <a:pt x="80284" y="31188"/>
                      <a:pt x="78620" y="35573"/>
                    </a:cubicBezTo>
                    <a:cubicBezTo>
                      <a:pt x="74573" y="46242"/>
                      <a:pt x="62178" y="54746"/>
                      <a:pt x="50583" y="61672"/>
                    </a:cubicBezTo>
                    <a:cubicBezTo>
                      <a:pt x="45693" y="64596"/>
                      <a:pt x="40816" y="67631"/>
                      <a:pt x="35917" y="70685"/>
                    </a:cubicBezTo>
                    <a:cubicBezTo>
                      <a:pt x="29224" y="74865"/>
                      <a:pt x="22389" y="79137"/>
                      <a:pt x="15479" y="83077"/>
                    </a:cubicBezTo>
                    <a:cubicBezTo>
                      <a:pt x="16627" y="79750"/>
                      <a:pt x="17854" y="76309"/>
                      <a:pt x="19178" y="72823"/>
                    </a:cubicBezTo>
                    <a:close/>
                    <a:moveTo>
                      <a:pt x="41975" y="80236"/>
                    </a:moveTo>
                    <a:cubicBezTo>
                      <a:pt x="46794" y="77219"/>
                      <a:pt x="51613" y="74229"/>
                      <a:pt x="56433" y="71346"/>
                    </a:cubicBezTo>
                    <a:cubicBezTo>
                      <a:pt x="70365" y="63030"/>
                      <a:pt x="83998" y="53418"/>
                      <a:pt x="89257" y="39554"/>
                    </a:cubicBezTo>
                    <a:cubicBezTo>
                      <a:pt x="91764" y="32942"/>
                      <a:pt x="92027" y="25997"/>
                      <a:pt x="90071" y="18926"/>
                    </a:cubicBezTo>
                    <a:cubicBezTo>
                      <a:pt x="87095" y="8252"/>
                      <a:pt x="81512" y="3672"/>
                      <a:pt x="77365" y="1707"/>
                    </a:cubicBezTo>
                    <a:cubicBezTo>
                      <a:pt x="73476" y="-126"/>
                      <a:pt x="66976" y="-1475"/>
                      <a:pt x="58047" y="2414"/>
                    </a:cubicBezTo>
                    <a:cubicBezTo>
                      <a:pt x="31964" y="13785"/>
                      <a:pt x="17311" y="45772"/>
                      <a:pt x="8558" y="68849"/>
                    </a:cubicBezTo>
                    <a:cubicBezTo>
                      <a:pt x="5280" y="77489"/>
                      <a:pt x="2529" y="85807"/>
                      <a:pt x="179" y="93024"/>
                    </a:cubicBezTo>
                    <a:cubicBezTo>
                      <a:pt x="-525" y="95183"/>
                      <a:pt x="144" y="97549"/>
                      <a:pt x="1868" y="99035"/>
                    </a:cubicBezTo>
                    <a:cubicBezTo>
                      <a:pt x="3597" y="100520"/>
                      <a:pt x="6055" y="100828"/>
                      <a:pt x="8106" y="99837"/>
                    </a:cubicBezTo>
                    <a:cubicBezTo>
                      <a:pt x="19770" y="94108"/>
                      <a:pt x="31065" y="87057"/>
                      <a:pt x="41977" y="80235"/>
                    </a:cubicBezTo>
                  </a:path>
                </a:pathLst>
              </a:custGeom>
              <a:grpFill/>
              <a:ln w="1250" cap="flat">
                <a:noFill/>
                <a:prstDash val="solid"/>
                <a:miter/>
              </a:ln>
            </p:spPr>
            <p:txBody>
              <a:bodyPr rtlCol="0" anchor="ctr"/>
              <a:lstStyle/>
              <a:p>
                <a:endParaRPr lang="en-LT"/>
              </a:p>
            </p:txBody>
          </p:sp>
        </p:grpSp>
        <p:sp>
          <p:nvSpPr>
            <p:cNvPr id="150" name="TextBox 149">
              <a:extLst>
                <a:ext uri="{FF2B5EF4-FFF2-40B4-BE49-F238E27FC236}">
                  <a16:creationId xmlns:a16="http://schemas.microsoft.com/office/drawing/2014/main" id="{5C3BDC42-8F27-2B45-85BB-7AEBF711D01B}"/>
                </a:ext>
              </a:extLst>
            </p:cNvPr>
            <p:cNvSpPr txBox="1"/>
            <p:nvPr/>
          </p:nvSpPr>
          <p:spPr>
            <a:xfrm>
              <a:off x="2583286" y="2633577"/>
              <a:ext cx="1327608" cy="400110"/>
            </a:xfrm>
            <a:prstGeom prst="rect">
              <a:avLst/>
            </a:prstGeom>
            <a:noFill/>
          </p:spPr>
          <p:txBody>
            <a:bodyPr wrap="none" rtlCol="0">
              <a:spAutoFit/>
            </a:bodyPr>
            <a:lstStyle/>
            <a:p>
              <a:pPr algn="ctr"/>
              <a:r>
                <a:rPr lang="en-LT" sz="2000" b="1" spc="300">
                  <a:solidFill>
                    <a:schemeClr val="bg1"/>
                  </a:solidFill>
                  <a:latin typeface="Montserrat" pitchFamily="2" charset="77"/>
                </a:rPr>
                <a:t>IDEA 4</a:t>
              </a:r>
            </a:p>
          </p:txBody>
        </p:sp>
        <p:sp>
          <p:nvSpPr>
            <p:cNvPr id="151" name="TextBox 150">
              <a:extLst>
                <a:ext uri="{FF2B5EF4-FFF2-40B4-BE49-F238E27FC236}">
                  <a16:creationId xmlns:a16="http://schemas.microsoft.com/office/drawing/2014/main" id="{87A85E43-D7E3-6B44-940E-47892F7BCFDE}"/>
                </a:ext>
              </a:extLst>
            </p:cNvPr>
            <p:cNvSpPr txBox="1"/>
            <p:nvPr/>
          </p:nvSpPr>
          <p:spPr>
            <a:xfrm>
              <a:off x="2630574" y="2957463"/>
              <a:ext cx="1233030" cy="523220"/>
            </a:xfrm>
            <a:prstGeom prst="rect">
              <a:avLst/>
            </a:prstGeom>
            <a:noFill/>
          </p:spPr>
          <p:txBody>
            <a:bodyPr wrap="none" rtlCol="0">
              <a:spAutoFit/>
            </a:bodyPr>
            <a:lstStyle/>
            <a:p>
              <a:pPr algn="ctr"/>
              <a:r>
                <a:rPr lang="en-LT" sz="1400">
                  <a:solidFill>
                    <a:schemeClr val="bg1"/>
                  </a:solidFill>
                  <a:latin typeface="Montserrat" pitchFamily="2" charset="77"/>
                </a:rPr>
                <a:t>Insert more</a:t>
              </a:r>
            </a:p>
            <a:p>
              <a:pPr algn="ctr"/>
              <a:r>
                <a:rPr lang="en-GB" sz="1400">
                  <a:solidFill>
                    <a:schemeClr val="bg1"/>
                  </a:solidFill>
                  <a:latin typeface="Montserrat" pitchFamily="2" charset="77"/>
                </a:rPr>
                <a:t>info</a:t>
              </a:r>
              <a:r>
                <a:rPr lang="en-LT" sz="1400">
                  <a:solidFill>
                    <a:schemeClr val="bg1"/>
                  </a:solidFill>
                  <a:latin typeface="Montserrat" pitchFamily="2" charset="77"/>
                </a:rPr>
                <a:t> here</a:t>
              </a:r>
            </a:p>
          </p:txBody>
        </p:sp>
      </p:grpSp>
      <p:grpSp>
        <p:nvGrpSpPr>
          <p:cNvPr id="165" name="Graphic 43">
            <a:extLst>
              <a:ext uri="{FF2B5EF4-FFF2-40B4-BE49-F238E27FC236}">
                <a16:creationId xmlns:a16="http://schemas.microsoft.com/office/drawing/2014/main" id="{5AF1ED20-C042-CB43-996D-F4E2EB1B0AF5}"/>
              </a:ext>
            </a:extLst>
          </p:cNvPr>
          <p:cNvGrpSpPr/>
          <p:nvPr/>
        </p:nvGrpSpPr>
        <p:grpSpPr>
          <a:xfrm rot="269299" flipV="1">
            <a:off x="7472552" y="2216626"/>
            <a:ext cx="1458826" cy="482830"/>
            <a:chOff x="5270499" y="2952750"/>
            <a:chExt cx="1652160" cy="946643"/>
          </a:xfrm>
          <a:solidFill>
            <a:schemeClr val="bg1"/>
          </a:solidFill>
        </p:grpSpPr>
        <p:sp>
          <p:nvSpPr>
            <p:cNvPr id="166" name="Freeform 165">
              <a:extLst>
                <a:ext uri="{FF2B5EF4-FFF2-40B4-BE49-F238E27FC236}">
                  <a16:creationId xmlns:a16="http://schemas.microsoft.com/office/drawing/2014/main" id="{6DC12E29-3F99-444D-B25B-D1BE709E74B5}"/>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167" name="Freeform 166">
              <a:extLst>
                <a:ext uri="{FF2B5EF4-FFF2-40B4-BE49-F238E27FC236}">
                  <a16:creationId xmlns:a16="http://schemas.microsoft.com/office/drawing/2014/main" id="{02E0F5D2-1568-B54D-8E20-0E1763E93AC0}"/>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168" name="Graphic 43">
            <a:extLst>
              <a:ext uri="{FF2B5EF4-FFF2-40B4-BE49-F238E27FC236}">
                <a16:creationId xmlns:a16="http://schemas.microsoft.com/office/drawing/2014/main" id="{53541371-A904-944A-ADFD-DF2C36B1C13E}"/>
              </a:ext>
            </a:extLst>
          </p:cNvPr>
          <p:cNvGrpSpPr/>
          <p:nvPr/>
        </p:nvGrpSpPr>
        <p:grpSpPr>
          <a:xfrm rot="2571606" flipV="1">
            <a:off x="7406172" y="4110037"/>
            <a:ext cx="1356455" cy="777212"/>
            <a:chOff x="5270499" y="2952750"/>
            <a:chExt cx="1652160" cy="946643"/>
          </a:xfrm>
          <a:solidFill>
            <a:schemeClr val="bg1"/>
          </a:solidFill>
        </p:grpSpPr>
        <p:sp>
          <p:nvSpPr>
            <p:cNvPr id="169" name="Freeform 168">
              <a:extLst>
                <a:ext uri="{FF2B5EF4-FFF2-40B4-BE49-F238E27FC236}">
                  <a16:creationId xmlns:a16="http://schemas.microsoft.com/office/drawing/2014/main" id="{8586AEDF-7F5F-414F-9436-8265F51C2492}"/>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170" name="Freeform 169">
              <a:extLst>
                <a:ext uri="{FF2B5EF4-FFF2-40B4-BE49-F238E27FC236}">
                  <a16:creationId xmlns:a16="http://schemas.microsoft.com/office/drawing/2014/main" id="{687A6450-AD09-6F45-BA55-0B61B89F9ADF}"/>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171" name="Graphic 43">
            <a:extLst>
              <a:ext uri="{FF2B5EF4-FFF2-40B4-BE49-F238E27FC236}">
                <a16:creationId xmlns:a16="http://schemas.microsoft.com/office/drawing/2014/main" id="{0839B81A-3B42-DE46-98ED-DDE5EC579A19}"/>
              </a:ext>
            </a:extLst>
          </p:cNvPr>
          <p:cNvGrpSpPr/>
          <p:nvPr/>
        </p:nvGrpSpPr>
        <p:grpSpPr>
          <a:xfrm rot="417027" flipH="1" flipV="1">
            <a:off x="3858043" y="2373351"/>
            <a:ext cx="1396237" cy="528243"/>
            <a:chOff x="5270499" y="2952750"/>
            <a:chExt cx="1652160" cy="946643"/>
          </a:xfrm>
          <a:solidFill>
            <a:schemeClr val="bg1"/>
          </a:solidFill>
        </p:grpSpPr>
        <p:sp>
          <p:nvSpPr>
            <p:cNvPr id="172" name="Freeform 171">
              <a:extLst>
                <a:ext uri="{FF2B5EF4-FFF2-40B4-BE49-F238E27FC236}">
                  <a16:creationId xmlns:a16="http://schemas.microsoft.com/office/drawing/2014/main" id="{84649B46-3F17-EF48-8C48-1659A3C95EC0}"/>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173" name="Freeform 172">
              <a:extLst>
                <a:ext uri="{FF2B5EF4-FFF2-40B4-BE49-F238E27FC236}">
                  <a16:creationId xmlns:a16="http://schemas.microsoft.com/office/drawing/2014/main" id="{675B5401-63EE-4D4F-AF6B-57A017EDC483}"/>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174" name="Graphic 43">
            <a:extLst>
              <a:ext uri="{FF2B5EF4-FFF2-40B4-BE49-F238E27FC236}">
                <a16:creationId xmlns:a16="http://schemas.microsoft.com/office/drawing/2014/main" id="{C2250C8B-BBFC-E74B-8D1E-70CD422D5CF0}"/>
              </a:ext>
            </a:extLst>
          </p:cNvPr>
          <p:cNvGrpSpPr/>
          <p:nvPr/>
        </p:nvGrpSpPr>
        <p:grpSpPr>
          <a:xfrm rot="19028394" flipH="1" flipV="1">
            <a:off x="4061834" y="4110037"/>
            <a:ext cx="1356455" cy="777212"/>
            <a:chOff x="5270499" y="2952750"/>
            <a:chExt cx="1652160" cy="946643"/>
          </a:xfrm>
          <a:solidFill>
            <a:schemeClr val="bg1"/>
          </a:solidFill>
        </p:grpSpPr>
        <p:sp>
          <p:nvSpPr>
            <p:cNvPr id="175" name="Freeform 174">
              <a:extLst>
                <a:ext uri="{FF2B5EF4-FFF2-40B4-BE49-F238E27FC236}">
                  <a16:creationId xmlns:a16="http://schemas.microsoft.com/office/drawing/2014/main" id="{64401C97-C717-0C47-BF8D-2914B63A0282}"/>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176" name="Freeform 175">
              <a:extLst>
                <a:ext uri="{FF2B5EF4-FFF2-40B4-BE49-F238E27FC236}">
                  <a16:creationId xmlns:a16="http://schemas.microsoft.com/office/drawing/2014/main" id="{399C4DB2-1459-A940-9071-20138B4D1517}"/>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pic>
        <p:nvPicPr>
          <p:cNvPr id="177" name="Graphic 176">
            <a:extLst>
              <a:ext uri="{FF2B5EF4-FFF2-40B4-BE49-F238E27FC236}">
                <a16:creationId xmlns:a16="http://schemas.microsoft.com/office/drawing/2014/main" id="{B0EF01F8-B182-6149-B8B6-CED85E0B6E57}"/>
              </a:ext>
            </a:extLst>
          </p:cNvPr>
          <p:cNvPicPr>
            <a:picLocks noChangeAspect="1"/>
          </p:cNvPicPr>
          <p:nvPr/>
        </p:nvPicPr>
        <p:blipFill>
          <a:blip r:embed="rId28">
            <a:extLst>
              <a:ext uri="{96DAC541-7B7A-43D3-8B79-37D633B846F1}">
                <asvg:svgBlip xmlns="" xmlns:asvg="http://schemas.microsoft.com/office/drawing/2016/SVG/main" r:embed="rId29"/>
              </a:ext>
            </a:extLst>
          </a:blip>
          <a:stretch>
            <a:fillRect/>
          </a:stretch>
        </p:blipFill>
        <p:spPr>
          <a:xfrm rot="21540000">
            <a:off x="4545756" y="1104154"/>
            <a:ext cx="3743581" cy="134841"/>
          </a:xfrm>
          <a:prstGeom prst="rect">
            <a:avLst/>
          </a:prstGeom>
        </p:spPr>
      </p:pic>
    </p:spTree>
    <p:extLst>
      <p:ext uri="{BB962C8B-B14F-4D97-AF65-F5344CB8AC3E}">
        <p14:creationId xmlns:p14="http://schemas.microsoft.com/office/powerpoint/2010/main" val="1000891598"/>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FD266"/>
        </a:solidFill>
        <a:effectLst/>
      </p:bgPr>
    </p:bg>
    <p:spTree>
      <p:nvGrpSpPr>
        <p:cNvPr id="1" name=""/>
        <p:cNvGrpSpPr/>
        <p:nvPr/>
      </p:nvGrpSpPr>
      <p:grpSpPr>
        <a:xfrm>
          <a:off x="0" y="0"/>
          <a:ext cx="0" cy="0"/>
          <a:chOff x="0" y="0"/>
          <a:chExt cx="0" cy="0"/>
        </a:xfrm>
      </p:grpSpPr>
      <p:grpSp>
        <p:nvGrpSpPr>
          <p:cNvPr id="46" name="Group 45">
            <a:extLst>
              <a:ext uri="{FF2B5EF4-FFF2-40B4-BE49-F238E27FC236}">
                <a16:creationId xmlns:a16="http://schemas.microsoft.com/office/drawing/2014/main" id="{9D8AF34E-E7CE-6B45-BA16-061A91E59F6F}"/>
              </a:ext>
            </a:extLst>
          </p:cNvPr>
          <p:cNvGrpSpPr/>
          <p:nvPr/>
        </p:nvGrpSpPr>
        <p:grpSpPr>
          <a:xfrm>
            <a:off x="-835063" y="494367"/>
            <a:ext cx="827568" cy="828000"/>
            <a:chOff x="-842559" y="468160"/>
            <a:chExt cx="827568" cy="828000"/>
          </a:xfrm>
        </p:grpSpPr>
        <p:sp>
          <p:nvSpPr>
            <p:cNvPr id="47" name="Oval 46">
              <a:extLst>
                <a:ext uri="{FF2B5EF4-FFF2-40B4-BE49-F238E27FC236}">
                  <a16:creationId xmlns:a16="http://schemas.microsoft.com/office/drawing/2014/main" id="{61B73CC9-4835-6949-A885-80B8BFEE3AB2}"/>
                </a:ext>
              </a:extLst>
            </p:cNvPr>
            <p:cNvSpPr>
              <a:spLocks noChangeAspect="1"/>
            </p:cNvSpPr>
            <p:nvPr/>
          </p:nvSpPr>
          <p:spPr>
            <a:xfrm>
              <a:off x="-842559" y="46816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48" name="Graphic 47" descr="Lightbulb">
              <a:extLst>
                <a:ext uri="{FF2B5EF4-FFF2-40B4-BE49-F238E27FC236}">
                  <a16:creationId xmlns:a16="http://schemas.microsoft.com/office/drawing/2014/main" id="{07890D4C-AC70-4C42-843D-F960A46EEA27}"/>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780293" y="530642"/>
              <a:ext cx="703036" cy="703036"/>
            </a:xfrm>
            <a:prstGeom prst="rect">
              <a:avLst/>
            </a:prstGeom>
          </p:spPr>
        </p:pic>
      </p:grpSp>
      <p:grpSp>
        <p:nvGrpSpPr>
          <p:cNvPr id="49" name="Group 48">
            <a:extLst>
              <a:ext uri="{FF2B5EF4-FFF2-40B4-BE49-F238E27FC236}">
                <a16:creationId xmlns:a16="http://schemas.microsoft.com/office/drawing/2014/main" id="{C9129592-52B5-D34E-81BC-E95357938766}"/>
              </a:ext>
            </a:extLst>
          </p:cNvPr>
          <p:cNvGrpSpPr/>
          <p:nvPr/>
        </p:nvGrpSpPr>
        <p:grpSpPr>
          <a:xfrm>
            <a:off x="844764" y="1742764"/>
            <a:ext cx="827568" cy="828000"/>
            <a:chOff x="-842559" y="1741580"/>
            <a:chExt cx="827568" cy="828000"/>
          </a:xfrm>
        </p:grpSpPr>
        <p:sp>
          <p:nvSpPr>
            <p:cNvPr id="50" name="Oval 49">
              <a:extLst>
                <a:ext uri="{FF2B5EF4-FFF2-40B4-BE49-F238E27FC236}">
                  <a16:creationId xmlns:a16="http://schemas.microsoft.com/office/drawing/2014/main" id="{8B220B85-007E-5F44-914B-57D42E953C82}"/>
                </a:ext>
              </a:extLst>
            </p:cNvPr>
            <p:cNvSpPr>
              <a:spLocks noChangeAspect="1"/>
            </p:cNvSpPr>
            <p:nvPr/>
          </p:nvSpPr>
          <p:spPr>
            <a:xfrm>
              <a:off x="-842559" y="174158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51" name="Graphic 50" descr="Upward trend">
              <a:extLst>
                <a:ext uri="{FF2B5EF4-FFF2-40B4-BE49-F238E27FC236}">
                  <a16:creationId xmlns:a16="http://schemas.microsoft.com/office/drawing/2014/main" id="{006E9C4F-B9E3-E642-9132-4A3ECC8BA42C}"/>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734943" y="1849412"/>
              <a:ext cx="612336" cy="612336"/>
            </a:xfrm>
            <a:prstGeom prst="rect">
              <a:avLst/>
            </a:prstGeom>
          </p:spPr>
        </p:pic>
      </p:grpSp>
      <p:grpSp>
        <p:nvGrpSpPr>
          <p:cNvPr id="52" name="Group 51">
            <a:extLst>
              <a:ext uri="{FF2B5EF4-FFF2-40B4-BE49-F238E27FC236}">
                <a16:creationId xmlns:a16="http://schemas.microsoft.com/office/drawing/2014/main" id="{FC432755-31CD-6A45-A98C-C3ECDCC0D4D9}"/>
              </a:ext>
            </a:extLst>
          </p:cNvPr>
          <p:cNvGrpSpPr/>
          <p:nvPr/>
        </p:nvGrpSpPr>
        <p:grpSpPr>
          <a:xfrm>
            <a:off x="-842559" y="4288420"/>
            <a:ext cx="827568" cy="828000"/>
            <a:chOff x="-842559" y="4288420"/>
            <a:chExt cx="827568" cy="828000"/>
          </a:xfrm>
        </p:grpSpPr>
        <p:sp>
          <p:nvSpPr>
            <p:cNvPr id="53" name="Oval 52">
              <a:extLst>
                <a:ext uri="{FF2B5EF4-FFF2-40B4-BE49-F238E27FC236}">
                  <a16:creationId xmlns:a16="http://schemas.microsoft.com/office/drawing/2014/main" id="{4732E01C-45F2-4143-8450-E7FEA93050F0}"/>
                </a:ext>
              </a:extLst>
            </p:cNvPr>
            <p:cNvSpPr>
              <a:spLocks noChangeAspect="1"/>
            </p:cNvSpPr>
            <p:nvPr/>
          </p:nvSpPr>
          <p:spPr>
            <a:xfrm>
              <a:off x="-842559" y="428842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54" name="Graphic 53" descr="Single gear">
              <a:extLst>
                <a:ext uri="{FF2B5EF4-FFF2-40B4-BE49-F238E27FC236}">
                  <a16:creationId xmlns:a16="http://schemas.microsoft.com/office/drawing/2014/main" id="{1B049337-F37A-E940-B45C-35C6E6AD0BC1}"/>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780293" y="4363185"/>
              <a:ext cx="724649" cy="724649"/>
            </a:xfrm>
            <a:prstGeom prst="rect">
              <a:avLst/>
            </a:prstGeom>
          </p:spPr>
        </p:pic>
      </p:grpSp>
      <p:grpSp>
        <p:nvGrpSpPr>
          <p:cNvPr id="55" name="Group 54">
            <a:extLst>
              <a:ext uri="{FF2B5EF4-FFF2-40B4-BE49-F238E27FC236}">
                <a16:creationId xmlns:a16="http://schemas.microsoft.com/office/drawing/2014/main" id="{178F3FE3-F4B1-3D49-90B9-DB018822860F}"/>
              </a:ext>
            </a:extLst>
          </p:cNvPr>
          <p:cNvGrpSpPr/>
          <p:nvPr/>
        </p:nvGrpSpPr>
        <p:grpSpPr>
          <a:xfrm>
            <a:off x="-842559" y="5561839"/>
            <a:ext cx="827568" cy="828000"/>
            <a:chOff x="-842559" y="5561839"/>
            <a:chExt cx="827568" cy="828000"/>
          </a:xfrm>
        </p:grpSpPr>
        <p:sp>
          <p:nvSpPr>
            <p:cNvPr id="56" name="Oval 55">
              <a:extLst>
                <a:ext uri="{FF2B5EF4-FFF2-40B4-BE49-F238E27FC236}">
                  <a16:creationId xmlns:a16="http://schemas.microsoft.com/office/drawing/2014/main" id="{698D45B5-D094-6D4C-8236-4CC78F9B3347}"/>
                </a:ext>
              </a:extLst>
            </p:cNvPr>
            <p:cNvSpPr>
              <a:spLocks noChangeAspect="1"/>
            </p:cNvSpPr>
            <p:nvPr/>
          </p:nvSpPr>
          <p:spPr>
            <a:xfrm>
              <a:off x="-842559" y="5561839"/>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57" name="Graphic 56" descr="Users">
              <a:extLst>
                <a:ext uri="{FF2B5EF4-FFF2-40B4-BE49-F238E27FC236}">
                  <a16:creationId xmlns:a16="http://schemas.microsoft.com/office/drawing/2014/main" id="{71E56C38-F85F-EF4A-926D-FA0FA8F94669}"/>
                </a:ext>
              </a:extLst>
            </p:cNvPr>
            <p:cNvPicPr>
              <a:picLocks noChangeAspect="1"/>
            </p:cNvPicPr>
            <p:nvPr/>
          </p:nvPicPr>
          <p:blipFill>
            <a:blip r:embed="rId9">
              <a:extLst>
                <a:ext uri="{96DAC541-7B7A-43D3-8B79-37D633B846F1}">
                  <asvg:svgBlip xmlns="" xmlns:asvg="http://schemas.microsoft.com/office/drawing/2016/SVG/main" r:embed="rId10"/>
                </a:ext>
              </a:extLst>
            </a:blip>
            <a:stretch>
              <a:fillRect/>
            </a:stretch>
          </p:blipFill>
          <p:spPr>
            <a:xfrm>
              <a:off x="-777564" y="5614879"/>
              <a:ext cx="721920" cy="721920"/>
            </a:xfrm>
            <a:prstGeom prst="rect">
              <a:avLst/>
            </a:prstGeom>
          </p:spPr>
        </p:pic>
      </p:grpSp>
      <p:grpSp>
        <p:nvGrpSpPr>
          <p:cNvPr id="58" name="Group 57">
            <a:extLst>
              <a:ext uri="{FF2B5EF4-FFF2-40B4-BE49-F238E27FC236}">
                <a16:creationId xmlns:a16="http://schemas.microsoft.com/office/drawing/2014/main" id="{F40E29B6-751E-F04C-8E94-1BE914578CC2}"/>
              </a:ext>
            </a:extLst>
          </p:cNvPr>
          <p:cNvGrpSpPr/>
          <p:nvPr/>
        </p:nvGrpSpPr>
        <p:grpSpPr>
          <a:xfrm>
            <a:off x="-842559" y="3015000"/>
            <a:ext cx="827568" cy="828000"/>
            <a:chOff x="-837416" y="3015000"/>
            <a:chExt cx="827568" cy="828000"/>
          </a:xfrm>
        </p:grpSpPr>
        <p:sp>
          <p:nvSpPr>
            <p:cNvPr id="59" name="Oval 58">
              <a:extLst>
                <a:ext uri="{FF2B5EF4-FFF2-40B4-BE49-F238E27FC236}">
                  <a16:creationId xmlns:a16="http://schemas.microsoft.com/office/drawing/2014/main" id="{A8BE9B6F-6867-8147-9DA5-20BC6FF9F0A3}"/>
                </a:ext>
              </a:extLst>
            </p:cNvPr>
            <p:cNvSpPr>
              <a:spLocks noChangeAspect="1"/>
            </p:cNvSpPr>
            <p:nvPr/>
          </p:nvSpPr>
          <p:spPr>
            <a:xfrm>
              <a:off x="-837416" y="301500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60" name="Graphic 59" descr="Coffee">
              <a:extLst>
                <a:ext uri="{FF2B5EF4-FFF2-40B4-BE49-F238E27FC236}">
                  <a16:creationId xmlns:a16="http://schemas.microsoft.com/office/drawing/2014/main" id="{8D399424-8A70-7844-B57A-C621A641F74C}"/>
                </a:ext>
              </a:extLst>
            </p:cNvPr>
            <p:cNvPicPr>
              <a:picLocks noChangeAspect="1"/>
            </p:cNvPicPr>
            <p:nvPr/>
          </p:nvPicPr>
          <p:blipFill>
            <a:blip r:embed="rId11">
              <a:extLst>
                <a:ext uri="{96DAC541-7B7A-43D3-8B79-37D633B846F1}">
                  <asvg:svgBlip xmlns="" xmlns:asvg="http://schemas.microsoft.com/office/drawing/2016/SVG/main" r:embed="rId12"/>
                </a:ext>
              </a:extLst>
            </a:blip>
            <a:stretch>
              <a:fillRect/>
            </a:stretch>
          </p:blipFill>
          <p:spPr>
            <a:xfrm>
              <a:off x="-698172" y="3065465"/>
              <a:ext cx="620915" cy="620915"/>
            </a:xfrm>
            <a:prstGeom prst="rect">
              <a:avLst/>
            </a:prstGeom>
          </p:spPr>
        </p:pic>
      </p:grpSp>
      <p:sp>
        <p:nvSpPr>
          <p:cNvPr id="61" name="Freeform 60">
            <a:extLst>
              <a:ext uri="{FF2B5EF4-FFF2-40B4-BE49-F238E27FC236}">
                <a16:creationId xmlns:a16="http://schemas.microsoft.com/office/drawing/2014/main" id="{DFCCCC51-D9C3-994D-84DA-12A4692A0F37}"/>
              </a:ext>
            </a:extLst>
          </p:cNvPr>
          <p:cNvSpPr/>
          <p:nvPr/>
        </p:nvSpPr>
        <p:spPr>
          <a:xfrm>
            <a:off x="0" y="-9807821"/>
            <a:ext cx="1280242" cy="23926799"/>
          </a:xfrm>
          <a:custGeom>
            <a:avLst/>
            <a:gdLst>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7" fmla="*/ 1280160 w 1280160"/>
              <a:gd name="connsiteY7" fmla="*/ 0 h 23926799"/>
              <a:gd name="connsiteX0" fmla="*/ 1280160 w 1280182"/>
              <a:gd name="connsiteY0" fmla="*/ 0 h 23926799"/>
              <a:gd name="connsiteX1" fmla="*/ 1280160 w 1280182"/>
              <a:gd name="connsiteY1" fmla="*/ 11137327 h 23926799"/>
              <a:gd name="connsiteX2" fmla="*/ 659246 w 1280182"/>
              <a:gd name="connsiteY2" fmla="*/ 11963399 h 23926799"/>
              <a:gd name="connsiteX3" fmla="*/ 1280160 w 1280182"/>
              <a:gd name="connsiteY3" fmla="*/ 12789472 h 23926799"/>
              <a:gd name="connsiteX4" fmla="*/ 1280160 w 1280182"/>
              <a:gd name="connsiteY4" fmla="*/ 23926799 h 23926799"/>
              <a:gd name="connsiteX5" fmla="*/ 0 w 1280182"/>
              <a:gd name="connsiteY5" fmla="*/ 23926799 h 23926799"/>
              <a:gd name="connsiteX6" fmla="*/ 0 w 1280182"/>
              <a:gd name="connsiteY6" fmla="*/ 0 h 23926799"/>
              <a:gd name="connsiteX7" fmla="*/ 1280160 w 1280182"/>
              <a:gd name="connsiteY7" fmla="*/ 0 h 23926799"/>
              <a:gd name="connsiteX0" fmla="*/ 1280160 w 1280231"/>
              <a:gd name="connsiteY0" fmla="*/ 0 h 23926799"/>
              <a:gd name="connsiteX1" fmla="*/ 1280160 w 1280231"/>
              <a:gd name="connsiteY1" fmla="*/ 11137327 h 23926799"/>
              <a:gd name="connsiteX2" fmla="*/ 659246 w 1280231"/>
              <a:gd name="connsiteY2" fmla="*/ 11963399 h 23926799"/>
              <a:gd name="connsiteX3" fmla="*/ 1280160 w 1280231"/>
              <a:gd name="connsiteY3" fmla="*/ 12789472 h 23926799"/>
              <a:gd name="connsiteX4" fmla="*/ 1280160 w 1280231"/>
              <a:gd name="connsiteY4" fmla="*/ 23926799 h 23926799"/>
              <a:gd name="connsiteX5" fmla="*/ 0 w 1280231"/>
              <a:gd name="connsiteY5" fmla="*/ 23926799 h 23926799"/>
              <a:gd name="connsiteX6" fmla="*/ 0 w 1280231"/>
              <a:gd name="connsiteY6" fmla="*/ 0 h 23926799"/>
              <a:gd name="connsiteX7" fmla="*/ 1280160 w 128023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2"/>
              <a:gd name="connsiteY0" fmla="*/ 0 h 23926799"/>
              <a:gd name="connsiteX1" fmla="*/ 1280160 w 1280242"/>
              <a:gd name="connsiteY1" fmla="*/ 11137327 h 23926799"/>
              <a:gd name="connsiteX2" fmla="*/ 742373 w 1280242"/>
              <a:gd name="connsiteY2" fmla="*/ 11966863 h 23926799"/>
              <a:gd name="connsiteX3" fmla="*/ 1280160 w 1280242"/>
              <a:gd name="connsiteY3" fmla="*/ 12789472 h 23926799"/>
              <a:gd name="connsiteX4" fmla="*/ 1280160 w 1280242"/>
              <a:gd name="connsiteY4" fmla="*/ 23926799 h 23926799"/>
              <a:gd name="connsiteX5" fmla="*/ 0 w 1280242"/>
              <a:gd name="connsiteY5" fmla="*/ 23926799 h 23926799"/>
              <a:gd name="connsiteX6" fmla="*/ 0 w 1280242"/>
              <a:gd name="connsiteY6" fmla="*/ 0 h 23926799"/>
              <a:gd name="connsiteX7" fmla="*/ 1280160 w 1280242"/>
              <a:gd name="connsiteY7" fmla="*/ 0 h 2392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0242" h="23926799">
                <a:moveTo>
                  <a:pt x="1280160" y="0"/>
                </a:moveTo>
                <a:lnTo>
                  <a:pt x="1280160" y="11137327"/>
                </a:lnTo>
                <a:cubicBezTo>
                  <a:pt x="1287934" y="11540842"/>
                  <a:pt x="743219" y="11525247"/>
                  <a:pt x="742373" y="11966863"/>
                </a:cubicBezTo>
                <a:cubicBezTo>
                  <a:pt x="741527" y="12408479"/>
                  <a:pt x="1284472" y="12396353"/>
                  <a:pt x="1280160" y="12789472"/>
                </a:cubicBezTo>
                <a:lnTo>
                  <a:pt x="1280160" y="23926799"/>
                </a:lnTo>
                <a:lnTo>
                  <a:pt x="0" y="23926799"/>
                </a:lnTo>
                <a:lnTo>
                  <a:pt x="0" y="0"/>
                </a:lnTo>
                <a:lnTo>
                  <a:pt x="128016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LT"/>
          </a:p>
        </p:txBody>
      </p:sp>
      <p:pic>
        <p:nvPicPr>
          <p:cNvPr id="62" name="Graphic 61" descr="Lightbulb">
            <a:hlinkClick r:id="" action="ppaction://hlinkshowjump?jump=firstslide"/>
            <a:extLst>
              <a:ext uri="{FF2B5EF4-FFF2-40B4-BE49-F238E27FC236}">
                <a16:creationId xmlns:a16="http://schemas.microsoft.com/office/drawing/2014/main" id="{FBA6DB6B-0C30-6F4D-AE06-239E787DD8A8}"/>
              </a:ext>
            </a:extLst>
          </p:cNvPr>
          <p:cNvPicPr>
            <a:picLocks noChangeAspect="1"/>
          </p:cNvPicPr>
          <p:nvPr/>
        </p:nvPicPr>
        <p:blipFill>
          <a:blip r:embed="rId13">
            <a:extLst>
              <a:ext uri="{96DAC541-7B7A-43D3-8B79-37D633B846F1}">
                <asvg:svgBlip xmlns="" xmlns:asvg="http://schemas.microsoft.com/office/drawing/2016/SVG/main" r:embed="rId14"/>
              </a:ext>
            </a:extLst>
          </a:blip>
          <a:stretch>
            <a:fillRect/>
          </a:stretch>
        </p:blipFill>
        <p:spPr>
          <a:xfrm>
            <a:off x="277756" y="530641"/>
            <a:ext cx="703036" cy="703036"/>
          </a:xfrm>
          <a:prstGeom prst="rect">
            <a:avLst/>
          </a:prstGeom>
        </p:spPr>
      </p:pic>
      <p:pic>
        <p:nvPicPr>
          <p:cNvPr id="63" name="Graphic 62" descr="Upward trend">
            <a:hlinkClick r:id="rId15" action="ppaction://hlinksldjump"/>
            <a:extLst>
              <a:ext uri="{FF2B5EF4-FFF2-40B4-BE49-F238E27FC236}">
                <a16:creationId xmlns:a16="http://schemas.microsoft.com/office/drawing/2014/main" id="{8189C713-DFE7-8448-B778-2B47AD467661}"/>
              </a:ext>
            </a:extLst>
          </p:cNvPr>
          <p:cNvPicPr>
            <a:picLocks noChangeAspect="1"/>
          </p:cNvPicPr>
          <p:nvPr/>
        </p:nvPicPr>
        <p:blipFill>
          <a:blip r:embed="rId16">
            <a:extLst>
              <a:ext uri="{96DAC541-7B7A-43D3-8B79-37D633B846F1}">
                <asvg:svgBlip xmlns="" xmlns:asvg="http://schemas.microsoft.com/office/drawing/2016/SVG/main" r:embed="rId17"/>
              </a:ext>
            </a:extLst>
          </a:blip>
          <a:stretch>
            <a:fillRect/>
          </a:stretch>
        </p:blipFill>
        <p:spPr>
          <a:xfrm>
            <a:off x="323106" y="1849411"/>
            <a:ext cx="612336" cy="612336"/>
          </a:xfrm>
          <a:prstGeom prst="rect">
            <a:avLst/>
          </a:prstGeom>
        </p:spPr>
      </p:pic>
      <p:pic>
        <p:nvPicPr>
          <p:cNvPr id="64" name="Graphic 63" descr="Coffee">
            <a:hlinkClick r:id="rId18" action="ppaction://hlinksldjump"/>
            <a:extLst>
              <a:ext uri="{FF2B5EF4-FFF2-40B4-BE49-F238E27FC236}">
                <a16:creationId xmlns:a16="http://schemas.microsoft.com/office/drawing/2014/main" id="{257EE65D-7A71-5E45-A8E7-3F7905B6DF4E}"/>
              </a:ext>
            </a:extLst>
          </p:cNvPr>
          <p:cNvPicPr>
            <a:picLocks noChangeAspect="1"/>
          </p:cNvPicPr>
          <p:nvPr/>
        </p:nvPicPr>
        <p:blipFill>
          <a:blip r:embed="rId19">
            <a:extLst>
              <a:ext uri="{96DAC541-7B7A-43D3-8B79-37D633B846F1}">
                <asvg:svgBlip xmlns="" xmlns:asvg="http://schemas.microsoft.com/office/drawing/2016/SVG/main" r:embed="rId20"/>
              </a:ext>
            </a:extLst>
          </a:blip>
          <a:stretch>
            <a:fillRect/>
          </a:stretch>
        </p:blipFill>
        <p:spPr>
          <a:xfrm>
            <a:off x="359877" y="3065464"/>
            <a:ext cx="620915" cy="620915"/>
          </a:xfrm>
          <a:prstGeom prst="rect">
            <a:avLst/>
          </a:prstGeom>
        </p:spPr>
      </p:pic>
      <p:pic>
        <p:nvPicPr>
          <p:cNvPr id="65" name="Graphic 64" descr="Single gear">
            <a:hlinkClick r:id="rId21" action="ppaction://hlinksldjump"/>
            <a:extLst>
              <a:ext uri="{FF2B5EF4-FFF2-40B4-BE49-F238E27FC236}">
                <a16:creationId xmlns:a16="http://schemas.microsoft.com/office/drawing/2014/main" id="{1CF00180-5CB2-6343-954B-91B358584857}"/>
              </a:ext>
            </a:extLst>
          </p:cNvPr>
          <p:cNvPicPr>
            <a:picLocks noChangeAspect="1"/>
          </p:cNvPicPr>
          <p:nvPr/>
        </p:nvPicPr>
        <p:blipFill>
          <a:blip r:embed="rId22">
            <a:extLst>
              <a:ext uri="{96DAC541-7B7A-43D3-8B79-37D633B846F1}">
                <asvg:svgBlip xmlns="" xmlns:asvg="http://schemas.microsoft.com/office/drawing/2016/SVG/main" r:embed="rId23"/>
              </a:ext>
            </a:extLst>
          </a:blip>
          <a:stretch>
            <a:fillRect/>
          </a:stretch>
        </p:blipFill>
        <p:spPr>
          <a:xfrm>
            <a:off x="277756" y="4363184"/>
            <a:ext cx="724649" cy="724649"/>
          </a:xfrm>
          <a:prstGeom prst="rect">
            <a:avLst/>
          </a:prstGeom>
        </p:spPr>
      </p:pic>
      <p:pic>
        <p:nvPicPr>
          <p:cNvPr id="66" name="Graphic 65" descr="Users">
            <a:hlinkClick r:id="rId24" action="ppaction://hlinksldjump"/>
            <a:extLst>
              <a:ext uri="{FF2B5EF4-FFF2-40B4-BE49-F238E27FC236}">
                <a16:creationId xmlns:a16="http://schemas.microsoft.com/office/drawing/2014/main" id="{1219EFF6-C963-5F45-9511-7DB64AE511B5}"/>
              </a:ext>
            </a:extLst>
          </p:cNvPr>
          <p:cNvPicPr>
            <a:picLocks noChangeAspect="1"/>
          </p:cNvPicPr>
          <p:nvPr/>
        </p:nvPicPr>
        <p:blipFill>
          <a:blip r:embed="rId25">
            <a:extLst>
              <a:ext uri="{96DAC541-7B7A-43D3-8B79-37D633B846F1}">
                <asvg:svgBlip xmlns="" xmlns:asvg="http://schemas.microsoft.com/office/drawing/2016/SVG/main" r:embed="rId26"/>
              </a:ext>
            </a:extLst>
          </a:blip>
          <a:stretch>
            <a:fillRect/>
          </a:stretch>
        </p:blipFill>
        <p:spPr>
          <a:xfrm>
            <a:off x="280485" y="5614878"/>
            <a:ext cx="721920" cy="721920"/>
          </a:xfrm>
          <a:prstGeom prst="rect">
            <a:avLst/>
          </a:prstGeom>
        </p:spPr>
      </p:pic>
      <p:sp>
        <p:nvSpPr>
          <p:cNvPr id="67" name="TextBox 66">
            <a:extLst>
              <a:ext uri="{FF2B5EF4-FFF2-40B4-BE49-F238E27FC236}">
                <a16:creationId xmlns:a16="http://schemas.microsoft.com/office/drawing/2014/main" id="{EA6B27D8-8436-0A4F-A9FE-C445BB25553E}"/>
              </a:ext>
            </a:extLst>
          </p:cNvPr>
          <p:cNvSpPr txBox="1"/>
          <p:nvPr/>
        </p:nvSpPr>
        <p:spPr>
          <a:xfrm>
            <a:off x="4795152" y="583080"/>
            <a:ext cx="3244799" cy="584775"/>
          </a:xfrm>
          <a:prstGeom prst="rect">
            <a:avLst/>
          </a:prstGeom>
          <a:noFill/>
        </p:spPr>
        <p:txBody>
          <a:bodyPr wrap="none" rtlCol="0">
            <a:spAutoFit/>
          </a:bodyPr>
          <a:lstStyle/>
          <a:p>
            <a:pPr algn="ctr"/>
            <a:r>
              <a:rPr lang="fr-FR" sz="3200" b="1" spc="300" dirty="0">
                <a:solidFill>
                  <a:schemeClr val="tx1">
                    <a:lumMod val="75000"/>
                    <a:lumOff val="25000"/>
                  </a:schemeClr>
                </a:solidFill>
                <a:latin typeface="Montserrat" pitchFamily="2" charset="77"/>
              </a:rPr>
              <a:t>GIT&amp;GITHUB</a:t>
            </a:r>
            <a:endParaRPr lang="en-LT" sz="3200" b="1" spc="300" dirty="0">
              <a:solidFill>
                <a:schemeClr val="tx1">
                  <a:lumMod val="75000"/>
                  <a:lumOff val="25000"/>
                </a:schemeClr>
              </a:solidFill>
              <a:latin typeface="Montserrat" pitchFamily="2" charset="77"/>
            </a:endParaRPr>
          </a:p>
        </p:txBody>
      </p:sp>
      <p:sp>
        <p:nvSpPr>
          <p:cNvPr id="68" name="TextBox 67">
            <a:hlinkClick r:id="rId27" action="ppaction://hlinksldjump"/>
            <a:extLst>
              <a:ext uri="{FF2B5EF4-FFF2-40B4-BE49-F238E27FC236}">
                <a16:creationId xmlns:a16="http://schemas.microsoft.com/office/drawing/2014/main" id="{FD5DE251-DB27-9746-BA43-61451A0548D9}"/>
              </a:ext>
            </a:extLst>
          </p:cNvPr>
          <p:cNvSpPr txBox="1"/>
          <p:nvPr/>
        </p:nvSpPr>
        <p:spPr>
          <a:xfrm>
            <a:off x="1760244" y="2811343"/>
            <a:ext cx="2736648" cy="400110"/>
          </a:xfrm>
          <a:prstGeom prst="rect">
            <a:avLst/>
          </a:prstGeom>
          <a:noFill/>
        </p:spPr>
        <p:txBody>
          <a:bodyPr wrap="none" rtlCol="0">
            <a:spAutoFit/>
          </a:bodyPr>
          <a:lstStyle/>
          <a:p>
            <a:pPr algn="ctr"/>
            <a:r>
              <a:rPr lang="fr-FR" sz="2000" b="1" dirty="0">
                <a:solidFill>
                  <a:schemeClr val="tx1">
                    <a:lumMod val="75000"/>
                    <a:lumOff val="25000"/>
                  </a:schemeClr>
                </a:solidFill>
                <a:latin typeface="Montserrat" pitchFamily="2" charset="77"/>
              </a:rPr>
              <a:t>Qu’est-ce que Git ?</a:t>
            </a:r>
          </a:p>
        </p:txBody>
      </p:sp>
      <p:sp>
        <p:nvSpPr>
          <p:cNvPr id="70" name="TextBox 69">
            <a:extLst>
              <a:ext uri="{FF2B5EF4-FFF2-40B4-BE49-F238E27FC236}">
                <a16:creationId xmlns:a16="http://schemas.microsoft.com/office/drawing/2014/main" id="{7AA27438-81C6-E043-907F-29E2BE9F45F3}"/>
              </a:ext>
            </a:extLst>
          </p:cNvPr>
          <p:cNvSpPr txBox="1"/>
          <p:nvPr/>
        </p:nvSpPr>
        <p:spPr>
          <a:xfrm>
            <a:off x="1277997" y="5112898"/>
            <a:ext cx="3998209" cy="707886"/>
          </a:xfrm>
          <a:prstGeom prst="rect">
            <a:avLst/>
          </a:prstGeom>
          <a:noFill/>
        </p:spPr>
        <p:txBody>
          <a:bodyPr wrap="none" rtlCol="0">
            <a:spAutoFit/>
          </a:bodyPr>
          <a:lstStyle/>
          <a:p>
            <a:pPr algn="ctr"/>
            <a:r>
              <a:rPr lang="fr-FR" sz="2000" b="1" spc="300" dirty="0">
                <a:solidFill>
                  <a:schemeClr val="tx1">
                    <a:lumMod val="75000"/>
                    <a:lumOff val="25000"/>
                  </a:schemeClr>
                </a:solidFill>
                <a:latin typeface="Montserrat" pitchFamily="2" charset="77"/>
              </a:rPr>
              <a:t>Modèles des logiciels</a:t>
            </a:r>
          </a:p>
          <a:p>
            <a:pPr algn="ctr"/>
            <a:r>
              <a:rPr lang="fr-FR" sz="2000" b="1" spc="300" dirty="0">
                <a:solidFill>
                  <a:schemeClr val="tx1">
                    <a:lumMod val="75000"/>
                    <a:lumOff val="25000"/>
                  </a:schemeClr>
                </a:solidFill>
                <a:latin typeface="Montserrat" pitchFamily="2" charset="77"/>
              </a:rPr>
              <a:t> de gestion de version</a:t>
            </a:r>
            <a:endParaRPr lang="en-LT" sz="2000" b="1" spc="300" dirty="0">
              <a:solidFill>
                <a:schemeClr val="tx1">
                  <a:lumMod val="75000"/>
                  <a:lumOff val="25000"/>
                </a:schemeClr>
              </a:solidFill>
              <a:latin typeface="Montserrat" pitchFamily="2" charset="77"/>
            </a:endParaRPr>
          </a:p>
        </p:txBody>
      </p:sp>
      <p:sp>
        <p:nvSpPr>
          <p:cNvPr id="72" name="TextBox 71">
            <a:hlinkClick r:id="rId28" action="ppaction://hlinksldjump"/>
            <a:extLst>
              <a:ext uri="{FF2B5EF4-FFF2-40B4-BE49-F238E27FC236}">
                <a16:creationId xmlns:a16="http://schemas.microsoft.com/office/drawing/2014/main" id="{AA77908D-C827-2442-9E99-38CA058A329B}"/>
              </a:ext>
            </a:extLst>
          </p:cNvPr>
          <p:cNvSpPr txBox="1"/>
          <p:nvPr/>
        </p:nvSpPr>
        <p:spPr>
          <a:xfrm>
            <a:off x="7712341" y="2633577"/>
            <a:ext cx="3680816" cy="707886"/>
          </a:xfrm>
          <a:prstGeom prst="rect">
            <a:avLst/>
          </a:prstGeom>
          <a:noFill/>
        </p:spPr>
        <p:txBody>
          <a:bodyPr wrap="none" rtlCol="0">
            <a:spAutoFit/>
          </a:bodyPr>
          <a:lstStyle/>
          <a:p>
            <a:pPr algn="ctr"/>
            <a:r>
              <a:rPr lang="fr-FR" sz="2000" b="1" spc="300" dirty="0">
                <a:solidFill>
                  <a:schemeClr val="tx1">
                    <a:lumMod val="75000"/>
                    <a:lumOff val="25000"/>
                  </a:schemeClr>
                </a:solidFill>
                <a:latin typeface="Montserrat" pitchFamily="2" charset="77"/>
              </a:rPr>
              <a:t>Essentiel de Gestion</a:t>
            </a:r>
          </a:p>
          <a:p>
            <a:pPr algn="ctr"/>
            <a:r>
              <a:rPr lang="fr-FR" sz="2000" b="1" spc="300" dirty="0">
                <a:solidFill>
                  <a:schemeClr val="tx1">
                    <a:lumMod val="75000"/>
                    <a:lumOff val="25000"/>
                  </a:schemeClr>
                </a:solidFill>
                <a:latin typeface="Montserrat" pitchFamily="2" charset="77"/>
              </a:rPr>
              <a:t> de Versions</a:t>
            </a:r>
            <a:endParaRPr lang="en-LT" sz="2000" b="1" spc="300" dirty="0">
              <a:solidFill>
                <a:schemeClr val="tx1">
                  <a:lumMod val="75000"/>
                  <a:lumOff val="25000"/>
                </a:schemeClr>
              </a:solidFill>
              <a:latin typeface="Montserrat" pitchFamily="2" charset="77"/>
            </a:endParaRPr>
          </a:p>
        </p:txBody>
      </p:sp>
      <p:sp>
        <p:nvSpPr>
          <p:cNvPr id="74" name="TextBox 73">
            <a:extLst>
              <a:ext uri="{FF2B5EF4-FFF2-40B4-BE49-F238E27FC236}">
                <a16:creationId xmlns:a16="http://schemas.microsoft.com/office/drawing/2014/main" id="{7D69EA61-A8AD-5740-8DE5-D0BB71424D2A}"/>
              </a:ext>
            </a:extLst>
          </p:cNvPr>
          <p:cNvSpPr txBox="1"/>
          <p:nvPr/>
        </p:nvSpPr>
        <p:spPr>
          <a:xfrm>
            <a:off x="7481511" y="5112898"/>
            <a:ext cx="4142481" cy="707886"/>
          </a:xfrm>
          <a:prstGeom prst="rect">
            <a:avLst/>
          </a:prstGeom>
          <a:noFill/>
        </p:spPr>
        <p:txBody>
          <a:bodyPr wrap="none" rtlCol="0">
            <a:spAutoFit/>
          </a:bodyPr>
          <a:lstStyle/>
          <a:p>
            <a:pPr algn="ctr"/>
            <a:r>
              <a:rPr lang="fr-FR" sz="2000" b="1" spc="300" dirty="0">
                <a:solidFill>
                  <a:schemeClr val="tx1">
                    <a:lumMod val="75000"/>
                    <a:lumOff val="25000"/>
                  </a:schemeClr>
                </a:solidFill>
                <a:latin typeface="Montserrat" pitchFamily="2" charset="77"/>
              </a:rPr>
              <a:t>Qu’est-ce que GitHub ?</a:t>
            </a:r>
          </a:p>
          <a:p>
            <a:pPr algn="ctr"/>
            <a:endParaRPr lang="en-LT" sz="2000" b="1" spc="300" dirty="0">
              <a:solidFill>
                <a:schemeClr val="tx1">
                  <a:lumMod val="75000"/>
                  <a:lumOff val="25000"/>
                </a:schemeClr>
              </a:solidFill>
              <a:latin typeface="Montserrat" pitchFamily="2" charset="77"/>
            </a:endParaRPr>
          </a:p>
        </p:txBody>
      </p:sp>
      <p:grpSp>
        <p:nvGrpSpPr>
          <p:cNvPr id="76" name="Graphic 43">
            <a:extLst>
              <a:ext uri="{FF2B5EF4-FFF2-40B4-BE49-F238E27FC236}">
                <a16:creationId xmlns:a16="http://schemas.microsoft.com/office/drawing/2014/main" id="{C3745894-A0A8-5944-83DB-330185419DB6}"/>
              </a:ext>
            </a:extLst>
          </p:cNvPr>
          <p:cNvGrpSpPr/>
          <p:nvPr/>
        </p:nvGrpSpPr>
        <p:grpSpPr>
          <a:xfrm rot="269299" flipV="1">
            <a:off x="7472552" y="2216626"/>
            <a:ext cx="1458826" cy="482830"/>
            <a:chOff x="5270499" y="2952750"/>
            <a:chExt cx="1652160" cy="946643"/>
          </a:xfrm>
          <a:solidFill>
            <a:schemeClr val="tx1">
              <a:lumMod val="75000"/>
              <a:lumOff val="25000"/>
            </a:schemeClr>
          </a:solidFill>
        </p:grpSpPr>
        <p:sp>
          <p:nvSpPr>
            <p:cNvPr id="77" name="Freeform 76">
              <a:extLst>
                <a:ext uri="{FF2B5EF4-FFF2-40B4-BE49-F238E27FC236}">
                  <a16:creationId xmlns:a16="http://schemas.microsoft.com/office/drawing/2014/main" id="{591DF5C9-B946-224F-B4B5-7B534D82A080}"/>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sp>
          <p:nvSpPr>
            <p:cNvPr id="78" name="Freeform 77">
              <a:extLst>
                <a:ext uri="{FF2B5EF4-FFF2-40B4-BE49-F238E27FC236}">
                  <a16:creationId xmlns:a16="http://schemas.microsoft.com/office/drawing/2014/main" id="{9EB2B74C-89FA-C448-B55A-66217C72D444}"/>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grpSp>
      <p:grpSp>
        <p:nvGrpSpPr>
          <p:cNvPr id="79" name="Graphic 43">
            <a:extLst>
              <a:ext uri="{FF2B5EF4-FFF2-40B4-BE49-F238E27FC236}">
                <a16:creationId xmlns:a16="http://schemas.microsoft.com/office/drawing/2014/main" id="{A3DB475D-4F98-A94E-8152-1005F71EA4B3}"/>
              </a:ext>
            </a:extLst>
          </p:cNvPr>
          <p:cNvGrpSpPr/>
          <p:nvPr/>
        </p:nvGrpSpPr>
        <p:grpSpPr>
          <a:xfrm rot="2571606" flipV="1">
            <a:off x="7406172" y="4110037"/>
            <a:ext cx="1356455" cy="777212"/>
            <a:chOff x="5270499" y="2952750"/>
            <a:chExt cx="1652160" cy="946643"/>
          </a:xfrm>
          <a:solidFill>
            <a:schemeClr val="tx1">
              <a:lumMod val="75000"/>
              <a:lumOff val="25000"/>
            </a:schemeClr>
          </a:solidFill>
        </p:grpSpPr>
        <p:sp>
          <p:nvSpPr>
            <p:cNvPr id="80" name="Freeform 79">
              <a:extLst>
                <a:ext uri="{FF2B5EF4-FFF2-40B4-BE49-F238E27FC236}">
                  <a16:creationId xmlns:a16="http://schemas.microsoft.com/office/drawing/2014/main" id="{3CFEA317-BC9D-124C-A378-53A293646ACE}"/>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sp>
          <p:nvSpPr>
            <p:cNvPr id="81" name="Freeform 80">
              <a:extLst>
                <a:ext uri="{FF2B5EF4-FFF2-40B4-BE49-F238E27FC236}">
                  <a16:creationId xmlns:a16="http://schemas.microsoft.com/office/drawing/2014/main" id="{C96BE648-DD63-A843-AC92-29E27385B433}"/>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grpSp>
      <p:grpSp>
        <p:nvGrpSpPr>
          <p:cNvPr id="82" name="Graphic 43">
            <a:extLst>
              <a:ext uri="{FF2B5EF4-FFF2-40B4-BE49-F238E27FC236}">
                <a16:creationId xmlns:a16="http://schemas.microsoft.com/office/drawing/2014/main" id="{22774113-23C2-E64F-A389-8FF456199A0A}"/>
              </a:ext>
            </a:extLst>
          </p:cNvPr>
          <p:cNvGrpSpPr/>
          <p:nvPr/>
        </p:nvGrpSpPr>
        <p:grpSpPr>
          <a:xfrm rot="417027" flipH="1" flipV="1">
            <a:off x="3858043" y="2253431"/>
            <a:ext cx="1396237" cy="528243"/>
            <a:chOff x="5270499" y="2952750"/>
            <a:chExt cx="1652160" cy="946643"/>
          </a:xfrm>
          <a:solidFill>
            <a:schemeClr val="tx1">
              <a:lumMod val="75000"/>
              <a:lumOff val="25000"/>
            </a:schemeClr>
          </a:solidFill>
        </p:grpSpPr>
        <p:sp>
          <p:nvSpPr>
            <p:cNvPr id="83" name="Freeform 82">
              <a:extLst>
                <a:ext uri="{FF2B5EF4-FFF2-40B4-BE49-F238E27FC236}">
                  <a16:creationId xmlns:a16="http://schemas.microsoft.com/office/drawing/2014/main" id="{80A33F9F-A460-1744-8E9C-B350A5D79CF8}"/>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sp>
          <p:nvSpPr>
            <p:cNvPr id="84" name="Freeform 83">
              <a:extLst>
                <a:ext uri="{FF2B5EF4-FFF2-40B4-BE49-F238E27FC236}">
                  <a16:creationId xmlns:a16="http://schemas.microsoft.com/office/drawing/2014/main" id="{04476EBC-BB00-2D41-A28A-D5D5C4931DF3}"/>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grpSp>
      <p:grpSp>
        <p:nvGrpSpPr>
          <p:cNvPr id="85" name="Graphic 43">
            <a:extLst>
              <a:ext uri="{FF2B5EF4-FFF2-40B4-BE49-F238E27FC236}">
                <a16:creationId xmlns:a16="http://schemas.microsoft.com/office/drawing/2014/main" id="{AF7509F0-3625-1749-9DC1-3D01E8F92683}"/>
              </a:ext>
            </a:extLst>
          </p:cNvPr>
          <p:cNvGrpSpPr/>
          <p:nvPr/>
        </p:nvGrpSpPr>
        <p:grpSpPr>
          <a:xfrm rot="19028394" flipH="1" flipV="1">
            <a:off x="4061834" y="4110037"/>
            <a:ext cx="1356455" cy="777212"/>
            <a:chOff x="5270499" y="2952750"/>
            <a:chExt cx="1652160" cy="946643"/>
          </a:xfrm>
          <a:solidFill>
            <a:schemeClr val="tx1">
              <a:lumMod val="75000"/>
              <a:lumOff val="25000"/>
            </a:schemeClr>
          </a:solidFill>
        </p:grpSpPr>
        <p:sp>
          <p:nvSpPr>
            <p:cNvPr id="86" name="Freeform 85">
              <a:extLst>
                <a:ext uri="{FF2B5EF4-FFF2-40B4-BE49-F238E27FC236}">
                  <a16:creationId xmlns:a16="http://schemas.microsoft.com/office/drawing/2014/main" id="{D2CDDCE9-181F-1843-92D3-51D1043CE8C6}"/>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sp>
          <p:nvSpPr>
            <p:cNvPr id="87" name="Freeform 86">
              <a:extLst>
                <a:ext uri="{FF2B5EF4-FFF2-40B4-BE49-F238E27FC236}">
                  <a16:creationId xmlns:a16="http://schemas.microsoft.com/office/drawing/2014/main" id="{678B5C94-4923-1A42-B430-6D2F7F7AFA11}"/>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grpSp>
      <p:pic>
        <p:nvPicPr>
          <p:cNvPr id="88" name="Graphic 87">
            <a:extLst>
              <a:ext uri="{FF2B5EF4-FFF2-40B4-BE49-F238E27FC236}">
                <a16:creationId xmlns:a16="http://schemas.microsoft.com/office/drawing/2014/main" id="{2311393A-87B0-4C47-BB25-5F2D40090288}"/>
              </a:ext>
            </a:extLst>
          </p:cNvPr>
          <p:cNvPicPr>
            <a:picLocks noChangeAspect="1"/>
          </p:cNvPicPr>
          <p:nvPr/>
        </p:nvPicPr>
        <p:blipFill>
          <a:blip r:embed="rId29">
            <a:extLst>
              <a:ext uri="{96DAC541-7B7A-43D3-8B79-37D633B846F1}">
                <asvg:svgBlip xmlns="" xmlns:asvg="http://schemas.microsoft.com/office/drawing/2016/SVG/main" r:embed="rId30"/>
              </a:ext>
            </a:extLst>
          </a:blip>
          <a:stretch>
            <a:fillRect/>
          </a:stretch>
        </p:blipFill>
        <p:spPr>
          <a:xfrm rot="21432676">
            <a:off x="5371000" y="1071042"/>
            <a:ext cx="2059204" cy="134841"/>
          </a:xfrm>
          <a:prstGeom prst="rect">
            <a:avLst/>
          </a:prstGeom>
        </p:spPr>
      </p:pic>
      <p:grpSp>
        <p:nvGrpSpPr>
          <p:cNvPr id="89" name="!!lamp">
            <a:extLst>
              <a:ext uri="{FF2B5EF4-FFF2-40B4-BE49-F238E27FC236}">
                <a16:creationId xmlns:a16="http://schemas.microsoft.com/office/drawing/2014/main" id="{2AEF9D56-0ACC-1248-A58F-759D7921C1D8}"/>
              </a:ext>
            </a:extLst>
          </p:cNvPr>
          <p:cNvGrpSpPr/>
          <p:nvPr/>
        </p:nvGrpSpPr>
        <p:grpSpPr>
          <a:xfrm>
            <a:off x="5280602" y="1997068"/>
            <a:ext cx="2224912" cy="3839904"/>
            <a:chOff x="5009734" y="1528902"/>
            <a:chExt cx="2224912" cy="3839904"/>
          </a:xfrm>
          <a:solidFill>
            <a:schemeClr val="tx1">
              <a:lumMod val="75000"/>
              <a:lumOff val="25000"/>
            </a:schemeClr>
          </a:solidFill>
        </p:grpSpPr>
        <p:sp>
          <p:nvSpPr>
            <p:cNvPr id="90" name="Freeform 89">
              <a:extLst>
                <a:ext uri="{FF2B5EF4-FFF2-40B4-BE49-F238E27FC236}">
                  <a16:creationId xmlns:a16="http://schemas.microsoft.com/office/drawing/2014/main" id="{C035A1D9-900D-9E47-B835-16C71ADF22DE}"/>
                </a:ext>
              </a:extLst>
            </p:cNvPr>
            <p:cNvSpPr/>
            <p:nvPr/>
          </p:nvSpPr>
          <p:spPr>
            <a:xfrm>
              <a:off x="5417566" y="2003597"/>
              <a:ext cx="1483633" cy="1215002"/>
            </a:xfrm>
            <a:custGeom>
              <a:avLst/>
              <a:gdLst>
                <a:gd name="connsiteX0" fmla="*/ 1034379 w 1483633"/>
                <a:gd name="connsiteY0" fmla="*/ 631692 h 1215002"/>
                <a:gd name="connsiteX1" fmla="*/ 973220 w 1483633"/>
                <a:gd name="connsiteY1" fmla="*/ 738004 h 1215002"/>
                <a:gd name="connsiteX2" fmla="*/ 904481 w 1483633"/>
                <a:gd name="connsiteY2" fmla="*/ 600469 h 1215002"/>
                <a:gd name="connsiteX3" fmla="*/ 976712 w 1483633"/>
                <a:gd name="connsiteY3" fmla="*/ 366686 h 1215002"/>
                <a:gd name="connsiteX4" fmla="*/ 1034379 w 1483633"/>
                <a:gd name="connsiteY4" fmla="*/ 631692 h 1215002"/>
                <a:gd name="connsiteX5" fmla="*/ 1388987 w 1483633"/>
                <a:gd name="connsiteY5" fmla="*/ 64987 h 1215002"/>
                <a:gd name="connsiteX6" fmla="*/ 1387756 w 1483633"/>
                <a:gd name="connsiteY6" fmla="*/ 69464 h 1215002"/>
                <a:gd name="connsiteX7" fmla="*/ 1387439 w 1483633"/>
                <a:gd name="connsiteY7" fmla="*/ 65898 h 1215002"/>
                <a:gd name="connsiteX8" fmla="*/ 1388987 w 1483633"/>
                <a:gd name="connsiteY8" fmla="*/ 64987 h 1215002"/>
                <a:gd name="connsiteX9" fmla="*/ 756050 w 1483633"/>
                <a:gd name="connsiteY9" fmla="*/ 959583 h 1215002"/>
                <a:gd name="connsiteX10" fmla="*/ 641750 w 1483633"/>
                <a:gd name="connsiteY10" fmla="*/ 724572 h 1215002"/>
                <a:gd name="connsiteX11" fmla="*/ 766130 w 1483633"/>
                <a:gd name="connsiteY11" fmla="*/ 367121 h 1215002"/>
                <a:gd name="connsiteX12" fmla="*/ 860547 w 1483633"/>
                <a:gd name="connsiteY12" fmla="*/ 603480 h 1215002"/>
                <a:gd name="connsiteX13" fmla="*/ 756050 w 1483633"/>
                <a:gd name="connsiteY13" fmla="*/ 959583 h 1215002"/>
                <a:gd name="connsiteX14" fmla="*/ 526973 w 1483633"/>
                <a:gd name="connsiteY14" fmla="*/ 947894 h 1215002"/>
                <a:gd name="connsiteX15" fmla="*/ 411006 w 1483633"/>
                <a:gd name="connsiteY15" fmla="*/ 661252 h 1215002"/>
                <a:gd name="connsiteX16" fmla="*/ 491492 w 1483633"/>
                <a:gd name="connsiteY16" fmla="*/ 498278 h 1215002"/>
                <a:gd name="connsiteX17" fmla="*/ 597180 w 1483633"/>
                <a:gd name="connsiteY17" fmla="*/ 727583 h 1215002"/>
                <a:gd name="connsiteX18" fmla="*/ 526973 w 1483633"/>
                <a:gd name="connsiteY18" fmla="*/ 947894 h 1215002"/>
                <a:gd name="connsiteX19" fmla="*/ 960798 w 1483633"/>
                <a:gd name="connsiteY19" fmla="*/ 280463 h 1215002"/>
                <a:gd name="connsiteX20" fmla="*/ 879478 w 1483633"/>
                <a:gd name="connsiteY20" fmla="*/ 541825 h 1215002"/>
                <a:gd name="connsiteX21" fmla="*/ 785022 w 1483633"/>
                <a:gd name="connsiteY21" fmla="*/ 300038 h 1215002"/>
                <a:gd name="connsiteX22" fmla="*/ 765773 w 1483633"/>
                <a:gd name="connsiteY22" fmla="*/ 286605 h 1215002"/>
                <a:gd name="connsiteX23" fmla="*/ 765694 w 1483633"/>
                <a:gd name="connsiteY23" fmla="*/ 286605 h 1215002"/>
                <a:gd name="connsiteX24" fmla="*/ 746445 w 1483633"/>
                <a:gd name="connsiteY24" fmla="*/ 300236 h 1215002"/>
                <a:gd name="connsiteX25" fmla="*/ 616508 w 1483633"/>
                <a:gd name="connsiteY25" fmla="*/ 670722 h 1215002"/>
                <a:gd name="connsiteX26" fmla="*/ 510940 w 1483633"/>
                <a:gd name="connsiteY26" fmla="*/ 441972 h 1215002"/>
                <a:gd name="connsiteX27" fmla="*/ 492604 w 1483633"/>
                <a:gd name="connsiteY27" fmla="*/ 429966 h 1215002"/>
                <a:gd name="connsiteX28" fmla="*/ 473871 w 1483633"/>
                <a:gd name="connsiteY28" fmla="*/ 441417 h 1215002"/>
                <a:gd name="connsiteX29" fmla="*/ 390607 w 1483633"/>
                <a:gd name="connsiteY29" fmla="*/ 610018 h 1215002"/>
                <a:gd name="connsiteX30" fmla="*/ 354094 w 1483633"/>
                <a:gd name="connsiteY30" fmla="*/ 518011 h 1215002"/>
                <a:gd name="connsiteX31" fmla="*/ 336433 w 1483633"/>
                <a:gd name="connsiteY31" fmla="*/ 505093 h 1215002"/>
                <a:gd name="connsiteX32" fmla="*/ 317106 w 1483633"/>
                <a:gd name="connsiteY32" fmla="*/ 515515 h 1215002"/>
                <a:gd name="connsiteX33" fmla="*/ 2622 w 1483633"/>
                <a:gd name="connsiteY33" fmla="*/ 1075246 h 1215002"/>
                <a:gd name="connsiteX34" fmla="*/ 10519 w 1483633"/>
                <a:gd name="connsiteY34" fmla="*/ 1103142 h 1215002"/>
                <a:gd name="connsiteX35" fmla="*/ 20521 w 1483633"/>
                <a:gd name="connsiteY35" fmla="*/ 1105757 h 1215002"/>
                <a:gd name="connsiteX36" fmla="*/ 38420 w 1483633"/>
                <a:gd name="connsiteY36" fmla="*/ 1095296 h 1215002"/>
                <a:gd name="connsiteX37" fmla="*/ 331790 w 1483633"/>
                <a:gd name="connsiteY37" fmla="*/ 573128 h 1215002"/>
                <a:gd name="connsiteX38" fmla="*/ 366040 w 1483633"/>
                <a:gd name="connsiteY38" fmla="*/ 659707 h 1215002"/>
                <a:gd name="connsiteX39" fmla="*/ 106404 w 1483633"/>
                <a:gd name="connsiteY39" fmla="*/ 1185401 h 1215002"/>
                <a:gd name="connsiteX40" fmla="*/ 115771 w 1483633"/>
                <a:gd name="connsiteY40" fmla="*/ 1212822 h 1215002"/>
                <a:gd name="connsiteX41" fmla="*/ 124819 w 1483633"/>
                <a:gd name="connsiteY41" fmla="*/ 1214922 h 1215002"/>
                <a:gd name="connsiteX42" fmla="*/ 143195 w 1483633"/>
                <a:gd name="connsiteY42" fmla="*/ 1203510 h 1215002"/>
                <a:gd name="connsiteX43" fmla="*/ 386400 w 1483633"/>
                <a:gd name="connsiteY43" fmla="*/ 711060 h 1215002"/>
                <a:gd name="connsiteX44" fmla="*/ 513122 w 1483633"/>
                <a:gd name="connsiteY44" fmla="*/ 1013987 h 1215002"/>
                <a:gd name="connsiteX45" fmla="*/ 513202 w 1483633"/>
                <a:gd name="connsiteY45" fmla="*/ 1014185 h 1215002"/>
                <a:gd name="connsiteX46" fmla="*/ 513281 w 1483633"/>
                <a:gd name="connsiteY46" fmla="*/ 1014185 h 1215002"/>
                <a:gd name="connsiteX47" fmla="*/ 539157 w 1483633"/>
                <a:gd name="connsiteY47" fmla="*/ 1031422 h 1215002"/>
                <a:gd name="connsiteX48" fmla="*/ 553643 w 1483633"/>
                <a:gd name="connsiteY48" fmla="*/ 1008440 h 1215002"/>
                <a:gd name="connsiteX49" fmla="*/ 622541 w 1483633"/>
                <a:gd name="connsiteY49" fmla="*/ 781552 h 1215002"/>
                <a:gd name="connsiteX50" fmla="*/ 769345 w 1483633"/>
                <a:gd name="connsiteY50" fmla="*/ 1032175 h 1215002"/>
                <a:gd name="connsiteX51" fmla="*/ 786291 w 1483633"/>
                <a:gd name="connsiteY51" fmla="*/ 1010421 h 1215002"/>
                <a:gd name="connsiteX52" fmla="*/ 886265 w 1483633"/>
                <a:gd name="connsiteY52" fmla="*/ 660183 h 1215002"/>
                <a:gd name="connsiteX53" fmla="*/ 971910 w 1483633"/>
                <a:gd name="connsiteY53" fmla="*/ 786980 h 1215002"/>
                <a:gd name="connsiteX54" fmla="*/ 996636 w 1483633"/>
                <a:gd name="connsiteY54" fmla="*/ 776916 h 1215002"/>
                <a:gd name="connsiteX55" fmla="*/ 1047435 w 1483633"/>
                <a:gd name="connsiteY55" fmla="*/ 691842 h 1215002"/>
                <a:gd name="connsiteX56" fmla="*/ 1101252 w 1483633"/>
                <a:gd name="connsiteY56" fmla="*/ 939414 h 1215002"/>
                <a:gd name="connsiteX57" fmla="*/ 1117167 w 1483633"/>
                <a:gd name="connsiteY57" fmla="*/ 955145 h 1215002"/>
                <a:gd name="connsiteX58" fmla="*/ 1138042 w 1483633"/>
                <a:gd name="connsiteY58" fmla="*/ 946943 h 1215002"/>
                <a:gd name="connsiteX59" fmla="*/ 1401012 w 1483633"/>
                <a:gd name="connsiteY59" fmla="*/ 566907 h 1215002"/>
                <a:gd name="connsiteX60" fmla="*/ 1368032 w 1483633"/>
                <a:gd name="connsiteY60" fmla="*/ 662164 h 1215002"/>
                <a:gd name="connsiteX61" fmla="*/ 1380731 w 1483633"/>
                <a:gd name="connsiteY61" fmla="*/ 688236 h 1215002"/>
                <a:gd name="connsiteX62" fmla="*/ 1387439 w 1483633"/>
                <a:gd name="connsiteY62" fmla="*/ 689346 h 1215002"/>
                <a:gd name="connsiteX63" fmla="*/ 1406806 w 1483633"/>
                <a:gd name="connsiteY63" fmla="*/ 675557 h 1215002"/>
                <a:gd name="connsiteX64" fmla="*/ 1482530 w 1483633"/>
                <a:gd name="connsiteY64" fmla="*/ 457148 h 1215002"/>
                <a:gd name="connsiteX65" fmla="*/ 1474791 w 1483633"/>
                <a:gd name="connsiteY65" fmla="*/ 433571 h 1215002"/>
                <a:gd name="connsiteX66" fmla="*/ 1449986 w 1483633"/>
                <a:gd name="connsiteY66" fmla="*/ 434721 h 1215002"/>
                <a:gd name="connsiteX67" fmla="*/ 1298499 w 1483633"/>
                <a:gd name="connsiteY67" fmla="*/ 561003 h 1215002"/>
                <a:gd name="connsiteX68" fmla="*/ 1295919 w 1483633"/>
                <a:gd name="connsiteY68" fmla="*/ 589849 h 1215002"/>
                <a:gd name="connsiteX69" fmla="*/ 1324772 w 1483633"/>
                <a:gd name="connsiteY69" fmla="*/ 592425 h 1215002"/>
                <a:gd name="connsiteX70" fmla="*/ 1347989 w 1483633"/>
                <a:gd name="connsiteY70" fmla="*/ 573089 h 1215002"/>
                <a:gd name="connsiteX71" fmla="*/ 1131454 w 1483633"/>
                <a:gd name="connsiteY71" fmla="*/ 885327 h 1215002"/>
                <a:gd name="connsiteX72" fmla="*/ 1077757 w 1483633"/>
                <a:gd name="connsiteY72" fmla="*/ 638191 h 1215002"/>
                <a:gd name="connsiteX73" fmla="*/ 1265717 w 1483633"/>
                <a:gd name="connsiteY73" fmla="*/ 297740 h 1215002"/>
                <a:gd name="connsiteX74" fmla="*/ 1285362 w 1483633"/>
                <a:gd name="connsiteY74" fmla="*/ 313907 h 1215002"/>
                <a:gd name="connsiteX75" fmla="*/ 1456415 w 1483633"/>
                <a:gd name="connsiteY75" fmla="*/ 313907 h 1215002"/>
                <a:gd name="connsiteX76" fmla="*/ 1476934 w 1483633"/>
                <a:gd name="connsiteY76" fmla="*/ 293460 h 1215002"/>
                <a:gd name="connsiteX77" fmla="*/ 1456415 w 1483633"/>
                <a:gd name="connsiteY77" fmla="*/ 272974 h 1215002"/>
                <a:gd name="connsiteX78" fmla="*/ 1285362 w 1483633"/>
                <a:gd name="connsiteY78" fmla="*/ 272974 h 1215002"/>
                <a:gd name="connsiteX79" fmla="*/ 1278497 w 1483633"/>
                <a:gd name="connsiteY79" fmla="*/ 274361 h 1215002"/>
                <a:gd name="connsiteX80" fmla="*/ 1385454 w 1483633"/>
                <a:gd name="connsiteY80" fmla="*/ 77944 h 1215002"/>
                <a:gd name="connsiteX81" fmla="*/ 1385891 w 1483633"/>
                <a:gd name="connsiteY81" fmla="*/ 76517 h 1215002"/>
                <a:gd name="connsiteX82" fmla="*/ 1347592 w 1483633"/>
                <a:gd name="connsiteY82" fmla="*/ 219917 h 1215002"/>
                <a:gd name="connsiteX83" fmla="*/ 1362118 w 1483633"/>
                <a:gd name="connsiteY83" fmla="*/ 244960 h 1215002"/>
                <a:gd name="connsiteX84" fmla="*/ 1367436 w 1483633"/>
                <a:gd name="connsiteY84" fmla="*/ 245674 h 1215002"/>
                <a:gd name="connsiteX85" fmla="*/ 1387240 w 1483633"/>
                <a:gd name="connsiteY85" fmla="*/ 230458 h 1215002"/>
                <a:gd name="connsiteX86" fmla="*/ 1441930 w 1483633"/>
                <a:gd name="connsiteY86" fmla="*/ 25680 h 1215002"/>
                <a:gd name="connsiteX87" fmla="*/ 1434310 w 1483633"/>
                <a:gd name="connsiteY87" fmla="*/ 3965 h 1215002"/>
                <a:gd name="connsiteX88" fmla="*/ 1411331 w 1483633"/>
                <a:gd name="connsiteY88" fmla="*/ 3014 h 1215002"/>
                <a:gd name="connsiteX89" fmla="*/ 1190430 w 1483633"/>
                <a:gd name="connsiteY89" fmla="*/ 139480 h 1215002"/>
                <a:gd name="connsiteX90" fmla="*/ 1183802 w 1483633"/>
                <a:gd name="connsiteY90" fmla="*/ 167693 h 1215002"/>
                <a:gd name="connsiteX91" fmla="*/ 1211980 w 1483633"/>
                <a:gd name="connsiteY91" fmla="*/ 174350 h 1215002"/>
                <a:gd name="connsiteX92" fmla="*/ 1324018 w 1483633"/>
                <a:gd name="connsiteY92" fmla="*/ 105087 h 1215002"/>
                <a:gd name="connsiteX93" fmla="*/ 1064581 w 1483633"/>
                <a:gd name="connsiteY93" fmla="*/ 577645 h 1215002"/>
                <a:gd name="connsiteX94" fmla="*/ 1000406 w 1483633"/>
                <a:gd name="connsiteY94" fmla="*/ 282286 h 1215002"/>
                <a:gd name="connsiteX95" fmla="*/ 981237 w 1483633"/>
                <a:gd name="connsiteY95" fmla="*/ 266159 h 1215002"/>
                <a:gd name="connsiteX96" fmla="*/ 960798 w 1483633"/>
                <a:gd name="connsiteY96" fmla="*/ 280463 h 12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483633" h="1215002">
                  <a:moveTo>
                    <a:pt x="1034379" y="631692"/>
                  </a:moveTo>
                  <a:cubicBezTo>
                    <a:pt x="1007232" y="679955"/>
                    <a:pt x="985404" y="718113"/>
                    <a:pt x="973220" y="738004"/>
                  </a:cubicBezTo>
                  <a:cubicBezTo>
                    <a:pt x="957861" y="716647"/>
                    <a:pt x="933096" y="666126"/>
                    <a:pt x="904481" y="600469"/>
                  </a:cubicBezTo>
                  <a:cubicBezTo>
                    <a:pt x="928651" y="521260"/>
                    <a:pt x="953813" y="440189"/>
                    <a:pt x="976712" y="366686"/>
                  </a:cubicBezTo>
                  <a:lnTo>
                    <a:pt x="1034379" y="631692"/>
                  </a:lnTo>
                  <a:close/>
                  <a:moveTo>
                    <a:pt x="1388987" y="64987"/>
                  </a:moveTo>
                  <a:lnTo>
                    <a:pt x="1387756" y="69464"/>
                  </a:lnTo>
                  <a:cubicBezTo>
                    <a:pt x="1387835" y="68276"/>
                    <a:pt x="1387558" y="67087"/>
                    <a:pt x="1387439" y="65898"/>
                  </a:cubicBezTo>
                  <a:lnTo>
                    <a:pt x="1388987" y="64987"/>
                  </a:lnTo>
                  <a:close/>
                  <a:moveTo>
                    <a:pt x="756050" y="959583"/>
                  </a:moveTo>
                  <a:cubicBezTo>
                    <a:pt x="730531" y="911043"/>
                    <a:pt x="687708" y="822166"/>
                    <a:pt x="641750" y="724572"/>
                  </a:cubicBezTo>
                  <a:cubicBezTo>
                    <a:pt x="680881" y="609265"/>
                    <a:pt x="726840" y="477752"/>
                    <a:pt x="766130" y="367121"/>
                  </a:cubicBezTo>
                  <a:cubicBezTo>
                    <a:pt x="801651" y="462022"/>
                    <a:pt x="833083" y="540596"/>
                    <a:pt x="860547" y="603480"/>
                  </a:cubicBezTo>
                  <a:cubicBezTo>
                    <a:pt x="818478" y="741016"/>
                    <a:pt x="775576" y="884495"/>
                    <a:pt x="756050" y="959583"/>
                  </a:cubicBezTo>
                  <a:close/>
                  <a:moveTo>
                    <a:pt x="526973" y="947894"/>
                  </a:moveTo>
                  <a:cubicBezTo>
                    <a:pt x="500184" y="883782"/>
                    <a:pt x="454782" y="770972"/>
                    <a:pt x="411006" y="661252"/>
                  </a:cubicBezTo>
                  <a:lnTo>
                    <a:pt x="491492" y="498278"/>
                  </a:lnTo>
                  <a:cubicBezTo>
                    <a:pt x="533085" y="589334"/>
                    <a:pt x="567812" y="664700"/>
                    <a:pt x="597180" y="727583"/>
                  </a:cubicBezTo>
                  <a:cubicBezTo>
                    <a:pt x="567415" y="816025"/>
                    <a:pt x="541856" y="894996"/>
                    <a:pt x="526973" y="947894"/>
                  </a:cubicBezTo>
                  <a:close/>
                  <a:moveTo>
                    <a:pt x="960798" y="280463"/>
                  </a:moveTo>
                  <a:cubicBezTo>
                    <a:pt x="947621" y="322346"/>
                    <a:pt x="915237" y="425686"/>
                    <a:pt x="879478" y="541825"/>
                  </a:cubicBezTo>
                  <a:cubicBezTo>
                    <a:pt x="848641" y="467886"/>
                    <a:pt x="815343" y="382496"/>
                    <a:pt x="785022" y="300038"/>
                  </a:cubicBezTo>
                  <a:cubicBezTo>
                    <a:pt x="782085" y="291994"/>
                    <a:pt x="774385" y="286605"/>
                    <a:pt x="765773" y="286605"/>
                  </a:cubicBezTo>
                  <a:lnTo>
                    <a:pt x="765694" y="286605"/>
                  </a:lnTo>
                  <a:cubicBezTo>
                    <a:pt x="757042" y="286684"/>
                    <a:pt x="749342" y="292113"/>
                    <a:pt x="746445" y="300236"/>
                  </a:cubicBezTo>
                  <a:cubicBezTo>
                    <a:pt x="708385" y="406666"/>
                    <a:pt x="659609" y="544440"/>
                    <a:pt x="616508" y="670722"/>
                  </a:cubicBezTo>
                  <a:cubicBezTo>
                    <a:pt x="579202" y="590999"/>
                    <a:pt x="541618" y="509373"/>
                    <a:pt x="510940" y="441972"/>
                  </a:cubicBezTo>
                  <a:cubicBezTo>
                    <a:pt x="507645" y="434760"/>
                    <a:pt x="500502" y="430084"/>
                    <a:pt x="492604" y="429966"/>
                  </a:cubicBezTo>
                  <a:cubicBezTo>
                    <a:pt x="483277" y="429054"/>
                    <a:pt x="477404" y="434285"/>
                    <a:pt x="473871" y="441417"/>
                  </a:cubicBezTo>
                  <a:lnTo>
                    <a:pt x="390607" y="610018"/>
                  </a:lnTo>
                  <a:cubicBezTo>
                    <a:pt x="377827" y="577883"/>
                    <a:pt x="365485" y="546738"/>
                    <a:pt x="354094" y="518011"/>
                  </a:cubicBezTo>
                  <a:cubicBezTo>
                    <a:pt x="351237" y="510641"/>
                    <a:pt x="344331" y="505608"/>
                    <a:pt x="336433" y="505093"/>
                  </a:cubicBezTo>
                  <a:cubicBezTo>
                    <a:pt x="328020" y="504776"/>
                    <a:pt x="320995" y="508659"/>
                    <a:pt x="317106" y="515515"/>
                  </a:cubicBezTo>
                  <a:lnTo>
                    <a:pt x="2622" y="1075246"/>
                  </a:lnTo>
                  <a:cubicBezTo>
                    <a:pt x="-2895" y="1085113"/>
                    <a:pt x="597" y="1097595"/>
                    <a:pt x="10519" y="1103142"/>
                  </a:cubicBezTo>
                  <a:cubicBezTo>
                    <a:pt x="13655" y="1104925"/>
                    <a:pt x="17108" y="1105757"/>
                    <a:pt x="20521" y="1105757"/>
                  </a:cubicBezTo>
                  <a:cubicBezTo>
                    <a:pt x="27704" y="1105757"/>
                    <a:pt x="34649" y="1101993"/>
                    <a:pt x="38420" y="1095296"/>
                  </a:cubicBezTo>
                  <a:lnTo>
                    <a:pt x="331790" y="573128"/>
                  </a:lnTo>
                  <a:cubicBezTo>
                    <a:pt x="344093" y="604154"/>
                    <a:pt x="355364" y="632683"/>
                    <a:pt x="366040" y="659707"/>
                  </a:cubicBezTo>
                  <a:lnTo>
                    <a:pt x="106404" y="1185401"/>
                  </a:lnTo>
                  <a:cubicBezTo>
                    <a:pt x="101404" y="1195546"/>
                    <a:pt x="105571" y="1207829"/>
                    <a:pt x="115771" y="1212822"/>
                  </a:cubicBezTo>
                  <a:cubicBezTo>
                    <a:pt x="118628" y="1214288"/>
                    <a:pt x="121764" y="1214922"/>
                    <a:pt x="124819" y="1214922"/>
                  </a:cubicBezTo>
                  <a:cubicBezTo>
                    <a:pt x="132360" y="1214922"/>
                    <a:pt x="139623" y="1210761"/>
                    <a:pt x="143195" y="1203510"/>
                  </a:cubicBezTo>
                  <a:lnTo>
                    <a:pt x="386400" y="711060"/>
                  </a:lnTo>
                  <a:cubicBezTo>
                    <a:pt x="462957" y="903991"/>
                    <a:pt x="495342" y="983081"/>
                    <a:pt x="513122" y="1013987"/>
                  </a:cubicBezTo>
                  <a:cubicBezTo>
                    <a:pt x="513122" y="1014067"/>
                    <a:pt x="513202" y="1014146"/>
                    <a:pt x="513202" y="1014185"/>
                  </a:cubicBezTo>
                  <a:lnTo>
                    <a:pt x="513281" y="1014185"/>
                  </a:lnTo>
                  <a:cubicBezTo>
                    <a:pt x="525505" y="1035463"/>
                    <a:pt x="530942" y="1033879"/>
                    <a:pt x="539157" y="1031422"/>
                  </a:cubicBezTo>
                  <a:cubicBezTo>
                    <a:pt x="549317" y="1028411"/>
                    <a:pt x="555747" y="1018782"/>
                    <a:pt x="553643" y="1008440"/>
                  </a:cubicBezTo>
                  <a:cubicBezTo>
                    <a:pt x="554040" y="991758"/>
                    <a:pt x="582933" y="899909"/>
                    <a:pt x="622541" y="781552"/>
                  </a:cubicBezTo>
                  <a:cubicBezTo>
                    <a:pt x="743508" y="1037564"/>
                    <a:pt x="753906" y="1035741"/>
                    <a:pt x="769345" y="1032175"/>
                  </a:cubicBezTo>
                  <a:cubicBezTo>
                    <a:pt x="778394" y="1030233"/>
                    <a:pt x="785736" y="1019653"/>
                    <a:pt x="786291" y="1010421"/>
                  </a:cubicBezTo>
                  <a:cubicBezTo>
                    <a:pt x="787363" y="990728"/>
                    <a:pt x="832607" y="836550"/>
                    <a:pt x="886265" y="660183"/>
                  </a:cubicBezTo>
                  <a:cubicBezTo>
                    <a:pt x="924761" y="741452"/>
                    <a:pt x="953456" y="784167"/>
                    <a:pt x="971910" y="786980"/>
                  </a:cubicBezTo>
                  <a:cubicBezTo>
                    <a:pt x="981594" y="788644"/>
                    <a:pt x="990683" y="784721"/>
                    <a:pt x="996636" y="776916"/>
                  </a:cubicBezTo>
                  <a:cubicBezTo>
                    <a:pt x="1003065" y="768515"/>
                    <a:pt x="1021718" y="736975"/>
                    <a:pt x="1047435" y="691842"/>
                  </a:cubicBezTo>
                  <a:lnTo>
                    <a:pt x="1101252" y="939414"/>
                  </a:lnTo>
                  <a:cubicBezTo>
                    <a:pt x="1102998" y="947379"/>
                    <a:pt x="1109229" y="953521"/>
                    <a:pt x="1117167" y="955145"/>
                  </a:cubicBezTo>
                  <a:cubicBezTo>
                    <a:pt x="1125303" y="956730"/>
                    <a:pt x="1133319" y="953560"/>
                    <a:pt x="1138042" y="946943"/>
                  </a:cubicBezTo>
                  <a:cubicBezTo>
                    <a:pt x="1285918" y="738837"/>
                    <a:pt x="1361919" y="627493"/>
                    <a:pt x="1401012" y="566907"/>
                  </a:cubicBezTo>
                  <a:lnTo>
                    <a:pt x="1368032" y="662164"/>
                  </a:lnTo>
                  <a:cubicBezTo>
                    <a:pt x="1364340" y="672862"/>
                    <a:pt x="1369976" y="684512"/>
                    <a:pt x="1380731" y="688236"/>
                  </a:cubicBezTo>
                  <a:cubicBezTo>
                    <a:pt x="1382914" y="688989"/>
                    <a:pt x="1385176" y="689346"/>
                    <a:pt x="1387439" y="689346"/>
                  </a:cubicBezTo>
                  <a:cubicBezTo>
                    <a:pt x="1395892" y="689346"/>
                    <a:pt x="1403869" y="684036"/>
                    <a:pt x="1406806" y="675557"/>
                  </a:cubicBezTo>
                  <a:lnTo>
                    <a:pt x="1482530" y="457148"/>
                  </a:lnTo>
                  <a:cubicBezTo>
                    <a:pt x="1485506" y="448430"/>
                    <a:pt x="1482371" y="438842"/>
                    <a:pt x="1474791" y="433571"/>
                  </a:cubicBezTo>
                  <a:cubicBezTo>
                    <a:pt x="1467171" y="428341"/>
                    <a:pt x="1457011" y="428896"/>
                    <a:pt x="1449986" y="434721"/>
                  </a:cubicBezTo>
                  <a:lnTo>
                    <a:pt x="1298499" y="561003"/>
                  </a:lnTo>
                  <a:cubicBezTo>
                    <a:pt x="1289847" y="568254"/>
                    <a:pt x="1288656" y="581132"/>
                    <a:pt x="1295919" y="589849"/>
                  </a:cubicBezTo>
                  <a:cubicBezTo>
                    <a:pt x="1303182" y="598527"/>
                    <a:pt x="1316120" y="599676"/>
                    <a:pt x="1324772" y="592425"/>
                  </a:cubicBezTo>
                  <a:lnTo>
                    <a:pt x="1347989" y="573089"/>
                  </a:lnTo>
                  <a:cubicBezTo>
                    <a:pt x="1291792" y="656933"/>
                    <a:pt x="1202812" y="784444"/>
                    <a:pt x="1131454" y="885327"/>
                  </a:cubicBezTo>
                  <a:lnTo>
                    <a:pt x="1077757" y="638191"/>
                  </a:lnTo>
                  <a:cubicBezTo>
                    <a:pt x="1132367" y="540913"/>
                    <a:pt x="1204598" y="409520"/>
                    <a:pt x="1265717" y="297740"/>
                  </a:cubicBezTo>
                  <a:cubicBezTo>
                    <a:pt x="1267741" y="306893"/>
                    <a:pt x="1275560" y="313907"/>
                    <a:pt x="1285362" y="313907"/>
                  </a:cubicBezTo>
                  <a:lnTo>
                    <a:pt x="1456415" y="313907"/>
                  </a:lnTo>
                  <a:cubicBezTo>
                    <a:pt x="1467766" y="313907"/>
                    <a:pt x="1476934" y="304753"/>
                    <a:pt x="1476934" y="293460"/>
                  </a:cubicBezTo>
                  <a:cubicBezTo>
                    <a:pt x="1476934" y="282128"/>
                    <a:pt x="1467766" y="272974"/>
                    <a:pt x="1456415" y="272974"/>
                  </a:cubicBezTo>
                  <a:lnTo>
                    <a:pt x="1285362" y="272974"/>
                  </a:lnTo>
                  <a:cubicBezTo>
                    <a:pt x="1282942" y="272974"/>
                    <a:pt x="1280679" y="273569"/>
                    <a:pt x="1278497" y="274361"/>
                  </a:cubicBezTo>
                  <a:cubicBezTo>
                    <a:pt x="1331162" y="177995"/>
                    <a:pt x="1373508" y="99896"/>
                    <a:pt x="1385454" y="77944"/>
                  </a:cubicBezTo>
                  <a:cubicBezTo>
                    <a:pt x="1385692" y="77468"/>
                    <a:pt x="1385692" y="76953"/>
                    <a:pt x="1385891" y="76517"/>
                  </a:cubicBezTo>
                  <a:lnTo>
                    <a:pt x="1347592" y="219917"/>
                  </a:lnTo>
                  <a:cubicBezTo>
                    <a:pt x="1344655" y="230854"/>
                    <a:pt x="1351204" y="242068"/>
                    <a:pt x="1362118" y="244960"/>
                  </a:cubicBezTo>
                  <a:cubicBezTo>
                    <a:pt x="1363904" y="245435"/>
                    <a:pt x="1365690" y="245674"/>
                    <a:pt x="1367436" y="245674"/>
                  </a:cubicBezTo>
                  <a:cubicBezTo>
                    <a:pt x="1376525" y="245674"/>
                    <a:pt x="1384820" y="239611"/>
                    <a:pt x="1387240" y="230458"/>
                  </a:cubicBezTo>
                  <a:lnTo>
                    <a:pt x="1441930" y="25680"/>
                  </a:lnTo>
                  <a:cubicBezTo>
                    <a:pt x="1444112" y="17557"/>
                    <a:pt x="1441096" y="8958"/>
                    <a:pt x="1434310" y="3965"/>
                  </a:cubicBezTo>
                  <a:cubicBezTo>
                    <a:pt x="1427642" y="-1027"/>
                    <a:pt x="1418395" y="-1463"/>
                    <a:pt x="1411331" y="3014"/>
                  </a:cubicBezTo>
                  <a:lnTo>
                    <a:pt x="1190430" y="139480"/>
                  </a:lnTo>
                  <a:cubicBezTo>
                    <a:pt x="1180786" y="145464"/>
                    <a:pt x="1177809" y="158064"/>
                    <a:pt x="1183802" y="167693"/>
                  </a:cubicBezTo>
                  <a:cubicBezTo>
                    <a:pt x="1189755" y="177322"/>
                    <a:pt x="1202455" y="180293"/>
                    <a:pt x="1211980" y="174350"/>
                  </a:cubicBezTo>
                  <a:lnTo>
                    <a:pt x="1324018" y="105087"/>
                  </a:lnTo>
                  <a:cubicBezTo>
                    <a:pt x="1255755" y="230695"/>
                    <a:pt x="1145583" y="432303"/>
                    <a:pt x="1064581" y="577645"/>
                  </a:cubicBezTo>
                  <a:lnTo>
                    <a:pt x="1000406" y="282286"/>
                  </a:lnTo>
                  <a:cubicBezTo>
                    <a:pt x="998421" y="273212"/>
                    <a:pt x="990563" y="266595"/>
                    <a:pt x="981237" y="266159"/>
                  </a:cubicBezTo>
                  <a:cubicBezTo>
                    <a:pt x="971831" y="265327"/>
                    <a:pt x="963536" y="271627"/>
                    <a:pt x="960798" y="280463"/>
                  </a:cubicBezTo>
                  <a:close/>
                </a:path>
              </a:pathLst>
            </a:custGeom>
            <a:grpFill/>
            <a:ln w="39688" cap="flat">
              <a:noFill/>
              <a:prstDash val="solid"/>
              <a:round/>
            </a:ln>
          </p:spPr>
          <p:txBody>
            <a:bodyPr rtlCol="0" anchor="ctr"/>
            <a:lstStyle/>
            <a:p>
              <a:endParaRPr lang="en-LT"/>
            </a:p>
          </p:txBody>
        </p:sp>
        <p:sp>
          <p:nvSpPr>
            <p:cNvPr id="91" name="Freeform 90">
              <a:extLst>
                <a:ext uri="{FF2B5EF4-FFF2-40B4-BE49-F238E27FC236}">
                  <a16:creationId xmlns:a16="http://schemas.microsoft.com/office/drawing/2014/main" id="{04FE7E47-391D-534A-9292-A4206360C72D}"/>
                </a:ext>
              </a:extLst>
            </p:cNvPr>
            <p:cNvSpPr/>
            <p:nvPr/>
          </p:nvSpPr>
          <p:spPr>
            <a:xfrm>
              <a:off x="5314661" y="2323207"/>
              <a:ext cx="178118" cy="45966"/>
            </a:xfrm>
            <a:custGeom>
              <a:avLst/>
              <a:gdLst>
                <a:gd name="connsiteX0" fmla="*/ 20416 w 178118"/>
                <a:gd name="connsiteY0" fmla="*/ 45866 h 45966"/>
                <a:gd name="connsiteX1" fmla="*/ 22837 w 178118"/>
                <a:gd name="connsiteY1" fmla="*/ 45746 h 45966"/>
                <a:gd name="connsiteX2" fmla="*/ 156068 w 178118"/>
                <a:gd name="connsiteY2" fmla="*/ 42656 h 45966"/>
                <a:gd name="connsiteX3" fmla="*/ 178015 w 178118"/>
                <a:gd name="connsiteY3" fmla="*/ 23675 h 45966"/>
                <a:gd name="connsiteX4" fmla="*/ 159045 w 178118"/>
                <a:gd name="connsiteY4" fmla="*/ 1803 h 45966"/>
                <a:gd name="connsiteX5" fmla="*/ 18035 w 178118"/>
                <a:gd name="connsiteY5" fmla="*/ 5052 h 45966"/>
                <a:gd name="connsiteX6" fmla="*/ 96 w 178118"/>
                <a:gd name="connsiteY6" fmla="*/ 27836 h 45966"/>
                <a:gd name="connsiteX7" fmla="*/ 20416 w 178118"/>
                <a:gd name="connsiteY7" fmla="*/ 45866 h 4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118" h="45966">
                  <a:moveTo>
                    <a:pt x="20416" y="45866"/>
                  </a:moveTo>
                  <a:cubicBezTo>
                    <a:pt x="21250" y="45866"/>
                    <a:pt x="22043" y="45866"/>
                    <a:pt x="22837" y="45746"/>
                  </a:cubicBezTo>
                  <a:cubicBezTo>
                    <a:pt x="66930" y="40516"/>
                    <a:pt x="111777" y="39446"/>
                    <a:pt x="156068" y="42656"/>
                  </a:cubicBezTo>
                  <a:cubicBezTo>
                    <a:pt x="167379" y="43646"/>
                    <a:pt x="177182" y="35048"/>
                    <a:pt x="178015" y="23675"/>
                  </a:cubicBezTo>
                  <a:cubicBezTo>
                    <a:pt x="178809" y="12422"/>
                    <a:pt x="170316" y="2595"/>
                    <a:pt x="159045" y="1803"/>
                  </a:cubicBezTo>
                  <a:cubicBezTo>
                    <a:pt x="112134" y="-1565"/>
                    <a:pt x="64628" y="-455"/>
                    <a:pt x="18035" y="5052"/>
                  </a:cubicBezTo>
                  <a:cubicBezTo>
                    <a:pt x="6803" y="6400"/>
                    <a:pt x="-1253" y="16583"/>
                    <a:pt x="96" y="27836"/>
                  </a:cubicBezTo>
                  <a:cubicBezTo>
                    <a:pt x="1327" y="38218"/>
                    <a:pt x="10217" y="45866"/>
                    <a:pt x="20416" y="45866"/>
                  </a:cubicBezTo>
                  <a:close/>
                </a:path>
              </a:pathLst>
            </a:custGeom>
            <a:grpFill/>
            <a:ln w="39688" cap="flat">
              <a:noFill/>
              <a:prstDash val="solid"/>
              <a:round/>
            </a:ln>
          </p:spPr>
          <p:txBody>
            <a:bodyPr rtlCol="0" anchor="ctr"/>
            <a:lstStyle/>
            <a:p>
              <a:endParaRPr lang="en-LT"/>
            </a:p>
          </p:txBody>
        </p:sp>
        <p:sp>
          <p:nvSpPr>
            <p:cNvPr id="92" name="Freeform 91">
              <a:extLst>
                <a:ext uri="{FF2B5EF4-FFF2-40B4-BE49-F238E27FC236}">
                  <a16:creationId xmlns:a16="http://schemas.microsoft.com/office/drawing/2014/main" id="{62045E73-5F4A-1044-98DA-72F4A41DB079}"/>
                </a:ext>
              </a:extLst>
            </p:cNvPr>
            <p:cNvSpPr/>
            <p:nvPr/>
          </p:nvSpPr>
          <p:spPr>
            <a:xfrm>
              <a:off x="5581667" y="2324438"/>
              <a:ext cx="123031" cy="40932"/>
            </a:xfrm>
            <a:custGeom>
              <a:avLst/>
              <a:gdLst>
                <a:gd name="connsiteX0" fmla="*/ 102520 w 123031"/>
                <a:gd name="connsiteY0" fmla="*/ 40831 h 40932"/>
                <a:gd name="connsiteX1" fmla="*/ 122999 w 123031"/>
                <a:gd name="connsiteY1" fmla="*/ 20345 h 40932"/>
                <a:gd name="connsiteX2" fmla="*/ 102520 w 123031"/>
                <a:gd name="connsiteY2" fmla="*/ -101 h 40932"/>
                <a:gd name="connsiteX3" fmla="*/ 20447 w 123031"/>
                <a:gd name="connsiteY3" fmla="*/ -101 h 40932"/>
                <a:gd name="connsiteX4" fmla="*/ -32 w 123031"/>
                <a:gd name="connsiteY4" fmla="*/ 20345 h 40932"/>
                <a:gd name="connsiteX5" fmla="*/ 20447 w 123031"/>
                <a:gd name="connsiteY5" fmla="*/ 40831 h 40932"/>
                <a:gd name="connsiteX6" fmla="*/ 102520 w 123031"/>
                <a:gd name="connsiteY6" fmla="*/ 40831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031" h="40932">
                  <a:moveTo>
                    <a:pt x="102520" y="40831"/>
                  </a:moveTo>
                  <a:cubicBezTo>
                    <a:pt x="113831" y="40831"/>
                    <a:pt x="122999" y="31677"/>
                    <a:pt x="122999" y="20345"/>
                  </a:cubicBezTo>
                  <a:cubicBezTo>
                    <a:pt x="122999" y="9052"/>
                    <a:pt x="113831" y="-101"/>
                    <a:pt x="102520" y="-101"/>
                  </a:cubicBezTo>
                  <a:lnTo>
                    <a:pt x="20447" y="-101"/>
                  </a:lnTo>
                  <a:cubicBezTo>
                    <a:pt x="9136" y="-101"/>
                    <a:pt x="-32" y="9052"/>
                    <a:pt x="-32" y="20345"/>
                  </a:cubicBezTo>
                  <a:cubicBezTo>
                    <a:pt x="-32" y="31677"/>
                    <a:pt x="9136" y="40831"/>
                    <a:pt x="20447" y="40831"/>
                  </a:cubicBezTo>
                  <a:lnTo>
                    <a:pt x="102520" y="40831"/>
                  </a:lnTo>
                  <a:close/>
                </a:path>
              </a:pathLst>
            </a:custGeom>
            <a:grpFill/>
            <a:ln w="39688" cap="flat">
              <a:noFill/>
              <a:prstDash val="solid"/>
              <a:round/>
            </a:ln>
          </p:spPr>
          <p:txBody>
            <a:bodyPr rtlCol="0" anchor="ctr"/>
            <a:lstStyle/>
            <a:p>
              <a:endParaRPr lang="en-LT"/>
            </a:p>
          </p:txBody>
        </p:sp>
        <p:sp>
          <p:nvSpPr>
            <p:cNvPr id="93" name="Freeform 92">
              <a:extLst>
                <a:ext uri="{FF2B5EF4-FFF2-40B4-BE49-F238E27FC236}">
                  <a16:creationId xmlns:a16="http://schemas.microsoft.com/office/drawing/2014/main" id="{859E6785-5B07-7745-A21C-E07FBA9800BF}"/>
                </a:ext>
              </a:extLst>
            </p:cNvPr>
            <p:cNvSpPr/>
            <p:nvPr/>
          </p:nvSpPr>
          <p:spPr>
            <a:xfrm>
              <a:off x="5807251" y="2310767"/>
              <a:ext cx="158115" cy="40971"/>
            </a:xfrm>
            <a:custGeom>
              <a:avLst/>
              <a:gdLst>
                <a:gd name="connsiteX0" fmla="*/ 20545 w 158115"/>
                <a:gd name="connsiteY0" fmla="*/ 40869 h 40971"/>
                <a:gd name="connsiteX1" fmla="*/ 137583 w 158115"/>
                <a:gd name="connsiteY1" fmla="*/ 40869 h 40971"/>
                <a:gd name="connsiteX2" fmla="*/ 158102 w 158115"/>
                <a:gd name="connsiteY2" fmla="*/ 20384 h 40971"/>
                <a:gd name="connsiteX3" fmla="*/ 137583 w 158115"/>
                <a:gd name="connsiteY3" fmla="*/ -103 h 40971"/>
                <a:gd name="connsiteX4" fmla="*/ 20545 w 158115"/>
                <a:gd name="connsiteY4" fmla="*/ -103 h 40971"/>
                <a:gd name="connsiteX5" fmla="*/ -13 w 158115"/>
                <a:gd name="connsiteY5" fmla="*/ 20384 h 40971"/>
                <a:gd name="connsiteX6" fmla="*/ 20545 w 158115"/>
                <a:gd name="connsiteY6" fmla="*/ 40869 h 40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115" h="40971">
                  <a:moveTo>
                    <a:pt x="20545" y="40869"/>
                  </a:moveTo>
                  <a:lnTo>
                    <a:pt x="137583" y="40869"/>
                  </a:lnTo>
                  <a:cubicBezTo>
                    <a:pt x="148895" y="40869"/>
                    <a:pt x="158102" y="31716"/>
                    <a:pt x="158102" y="20384"/>
                  </a:cubicBezTo>
                  <a:cubicBezTo>
                    <a:pt x="158102" y="9051"/>
                    <a:pt x="148895" y="-103"/>
                    <a:pt x="137583" y="-103"/>
                  </a:cubicBezTo>
                  <a:lnTo>
                    <a:pt x="20545" y="-103"/>
                  </a:lnTo>
                  <a:cubicBezTo>
                    <a:pt x="9194" y="-103"/>
                    <a:pt x="-13" y="9051"/>
                    <a:pt x="-13" y="20384"/>
                  </a:cubicBezTo>
                  <a:cubicBezTo>
                    <a:pt x="-13" y="31716"/>
                    <a:pt x="9194" y="40869"/>
                    <a:pt x="20545" y="40869"/>
                  </a:cubicBezTo>
                  <a:close/>
                </a:path>
              </a:pathLst>
            </a:custGeom>
            <a:grpFill/>
            <a:ln w="39688" cap="flat">
              <a:noFill/>
              <a:prstDash val="solid"/>
              <a:round/>
            </a:ln>
          </p:spPr>
          <p:txBody>
            <a:bodyPr rtlCol="0" anchor="ctr"/>
            <a:lstStyle/>
            <a:p>
              <a:endParaRPr lang="en-LT"/>
            </a:p>
          </p:txBody>
        </p:sp>
        <p:sp>
          <p:nvSpPr>
            <p:cNvPr id="94" name="Freeform 93">
              <a:extLst>
                <a:ext uri="{FF2B5EF4-FFF2-40B4-BE49-F238E27FC236}">
                  <a16:creationId xmlns:a16="http://schemas.microsoft.com/office/drawing/2014/main" id="{07ECCCC9-B82D-1542-B567-803A20B769DC}"/>
                </a:ext>
              </a:extLst>
            </p:cNvPr>
            <p:cNvSpPr/>
            <p:nvPr/>
          </p:nvSpPr>
          <p:spPr>
            <a:xfrm>
              <a:off x="6470470" y="2269836"/>
              <a:ext cx="116522" cy="40931"/>
            </a:xfrm>
            <a:custGeom>
              <a:avLst/>
              <a:gdLst>
                <a:gd name="connsiteX0" fmla="*/ 20557 w 116522"/>
                <a:gd name="connsiteY0" fmla="*/ -106 h 40931"/>
                <a:gd name="connsiteX1" fmla="*/ 38 w 116522"/>
                <a:gd name="connsiteY1" fmla="*/ 20340 h 40931"/>
                <a:gd name="connsiteX2" fmla="*/ 20557 w 116522"/>
                <a:gd name="connsiteY2" fmla="*/ 40826 h 40931"/>
                <a:gd name="connsiteX3" fmla="*/ 96043 w 116522"/>
                <a:gd name="connsiteY3" fmla="*/ 40826 h 40931"/>
                <a:gd name="connsiteX4" fmla="*/ 116561 w 116522"/>
                <a:gd name="connsiteY4" fmla="*/ 20340 h 40931"/>
                <a:gd name="connsiteX5" fmla="*/ 96043 w 116522"/>
                <a:gd name="connsiteY5" fmla="*/ -106 h 40931"/>
                <a:gd name="connsiteX6" fmla="*/ 20557 w 116522"/>
                <a:gd name="connsiteY6" fmla="*/ -106 h 40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522" h="40931">
                  <a:moveTo>
                    <a:pt x="20557" y="-106"/>
                  </a:moveTo>
                  <a:cubicBezTo>
                    <a:pt x="9206" y="-106"/>
                    <a:pt x="38" y="9048"/>
                    <a:pt x="38" y="20340"/>
                  </a:cubicBezTo>
                  <a:cubicBezTo>
                    <a:pt x="38" y="31673"/>
                    <a:pt x="9206" y="40826"/>
                    <a:pt x="20557" y="40826"/>
                  </a:cubicBezTo>
                  <a:lnTo>
                    <a:pt x="96043" y="40826"/>
                  </a:lnTo>
                  <a:cubicBezTo>
                    <a:pt x="107393" y="40826"/>
                    <a:pt x="116561" y="31673"/>
                    <a:pt x="116561" y="20340"/>
                  </a:cubicBezTo>
                  <a:cubicBezTo>
                    <a:pt x="116561" y="9048"/>
                    <a:pt x="107393" y="-106"/>
                    <a:pt x="96043" y="-106"/>
                  </a:cubicBezTo>
                  <a:lnTo>
                    <a:pt x="20557" y="-106"/>
                  </a:lnTo>
                  <a:close/>
                </a:path>
              </a:pathLst>
            </a:custGeom>
            <a:grpFill/>
            <a:ln w="39688" cap="flat">
              <a:noFill/>
              <a:prstDash val="solid"/>
              <a:round/>
            </a:ln>
          </p:spPr>
          <p:txBody>
            <a:bodyPr rtlCol="0" anchor="ctr"/>
            <a:lstStyle/>
            <a:p>
              <a:endParaRPr lang="en-LT"/>
            </a:p>
          </p:txBody>
        </p:sp>
        <p:sp>
          <p:nvSpPr>
            <p:cNvPr id="95" name="Freeform 94">
              <a:extLst>
                <a:ext uri="{FF2B5EF4-FFF2-40B4-BE49-F238E27FC236}">
                  <a16:creationId xmlns:a16="http://schemas.microsoft.com/office/drawing/2014/main" id="{FA5946B8-AD27-8A47-A4DD-28942A46F148}"/>
                </a:ext>
              </a:extLst>
            </p:cNvPr>
            <p:cNvSpPr/>
            <p:nvPr/>
          </p:nvSpPr>
          <p:spPr>
            <a:xfrm>
              <a:off x="5697912" y="3013860"/>
              <a:ext cx="213161" cy="40932"/>
            </a:xfrm>
            <a:custGeom>
              <a:avLst/>
              <a:gdLst>
                <a:gd name="connsiteX0" fmla="*/ 192624 w 213161"/>
                <a:gd name="connsiteY0" fmla="*/ 40886 h 40932"/>
                <a:gd name="connsiteX1" fmla="*/ 213142 w 213161"/>
                <a:gd name="connsiteY1" fmla="*/ 20439 h 40932"/>
                <a:gd name="connsiteX2" fmla="*/ 192624 w 213161"/>
                <a:gd name="connsiteY2" fmla="*/ -46 h 40932"/>
                <a:gd name="connsiteX3" fmla="*/ 20499 w 213161"/>
                <a:gd name="connsiteY3" fmla="*/ -46 h 40932"/>
                <a:gd name="connsiteX4" fmla="*/ -20 w 213161"/>
                <a:gd name="connsiteY4" fmla="*/ 20439 h 40932"/>
                <a:gd name="connsiteX5" fmla="*/ 20499 w 213161"/>
                <a:gd name="connsiteY5" fmla="*/ 40886 h 40932"/>
                <a:gd name="connsiteX6" fmla="*/ 192624 w 213161"/>
                <a:gd name="connsiteY6" fmla="*/ 4088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161" h="40932">
                  <a:moveTo>
                    <a:pt x="192624" y="40886"/>
                  </a:moveTo>
                  <a:cubicBezTo>
                    <a:pt x="203974" y="40886"/>
                    <a:pt x="213142" y="31732"/>
                    <a:pt x="213142" y="20439"/>
                  </a:cubicBezTo>
                  <a:cubicBezTo>
                    <a:pt x="213142" y="9107"/>
                    <a:pt x="203974" y="-46"/>
                    <a:pt x="192624" y="-46"/>
                  </a:cubicBezTo>
                  <a:lnTo>
                    <a:pt x="20499" y="-46"/>
                  </a:lnTo>
                  <a:cubicBezTo>
                    <a:pt x="9148" y="-46"/>
                    <a:pt x="-20" y="9107"/>
                    <a:pt x="-20" y="20439"/>
                  </a:cubicBezTo>
                  <a:cubicBezTo>
                    <a:pt x="-20" y="31732"/>
                    <a:pt x="9148" y="40886"/>
                    <a:pt x="20499" y="40886"/>
                  </a:cubicBezTo>
                  <a:lnTo>
                    <a:pt x="192624" y="40886"/>
                  </a:lnTo>
                  <a:close/>
                </a:path>
              </a:pathLst>
            </a:custGeom>
            <a:grpFill/>
            <a:ln w="39688" cap="flat">
              <a:noFill/>
              <a:prstDash val="solid"/>
              <a:round/>
            </a:ln>
          </p:spPr>
          <p:txBody>
            <a:bodyPr rtlCol="0" anchor="ctr"/>
            <a:lstStyle/>
            <a:p>
              <a:endParaRPr lang="en-LT"/>
            </a:p>
          </p:txBody>
        </p:sp>
        <p:sp>
          <p:nvSpPr>
            <p:cNvPr id="96" name="Freeform 95">
              <a:extLst>
                <a:ext uri="{FF2B5EF4-FFF2-40B4-BE49-F238E27FC236}">
                  <a16:creationId xmlns:a16="http://schemas.microsoft.com/office/drawing/2014/main" id="{9EFC3149-2635-574A-BAA0-EFDEE3C9ABA2}"/>
                </a:ext>
              </a:extLst>
            </p:cNvPr>
            <p:cNvSpPr/>
            <p:nvPr/>
          </p:nvSpPr>
          <p:spPr>
            <a:xfrm>
              <a:off x="6244846" y="3007045"/>
              <a:ext cx="172521" cy="40932"/>
            </a:xfrm>
            <a:custGeom>
              <a:avLst/>
              <a:gdLst>
                <a:gd name="connsiteX0" fmla="*/ 152065 w 172521"/>
                <a:gd name="connsiteY0" fmla="*/ 40885 h 40932"/>
                <a:gd name="connsiteX1" fmla="*/ 172544 w 172521"/>
                <a:gd name="connsiteY1" fmla="*/ 20399 h 40932"/>
                <a:gd name="connsiteX2" fmla="*/ 152065 w 172521"/>
                <a:gd name="connsiteY2" fmla="*/ -47 h 40932"/>
                <a:gd name="connsiteX3" fmla="*/ 20541 w 172521"/>
                <a:gd name="connsiteY3" fmla="*/ -47 h 40932"/>
                <a:gd name="connsiteX4" fmla="*/ 22 w 172521"/>
                <a:gd name="connsiteY4" fmla="*/ 20399 h 40932"/>
                <a:gd name="connsiteX5" fmla="*/ 20541 w 172521"/>
                <a:gd name="connsiteY5" fmla="*/ 40885 h 40932"/>
                <a:gd name="connsiteX6" fmla="*/ 152065 w 172521"/>
                <a:gd name="connsiteY6" fmla="*/ 40885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21" h="40932">
                  <a:moveTo>
                    <a:pt x="152065" y="40885"/>
                  </a:moveTo>
                  <a:cubicBezTo>
                    <a:pt x="163416" y="40885"/>
                    <a:pt x="172544" y="31732"/>
                    <a:pt x="172544" y="20399"/>
                  </a:cubicBezTo>
                  <a:cubicBezTo>
                    <a:pt x="172544" y="9106"/>
                    <a:pt x="163416" y="-47"/>
                    <a:pt x="152065" y="-47"/>
                  </a:cubicBezTo>
                  <a:lnTo>
                    <a:pt x="20541" y="-47"/>
                  </a:lnTo>
                  <a:cubicBezTo>
                    <a:pt x="9190" y="-47"/>
                    <a:pt x="22" y="9106"/>
                    <a:pt x="22" y="20399"/>
                  </a:cubicBezTo>
                  <a:cubicBezTo>
                    <a:pt x="22" y="31732"/>
                    <a:pt x="9190" y="40885"/>
                    <a:pt x="20541" y="40885"/>
                  </a:cubicBezTo>
                  <a:lnTo>
                    <a:pt x="152065" y="40885"/>
                  </a:lnTo>
                  <a:close/>
                </a:path>
              </a:pathLst>
            </a:custGeom>
            <a:grpFill/>
            <a:ln w="39688" cap="flat">
              <a:noFill/>
              <a:prstDash val="solid"/>
              <a:round/>
            </a:ln>
          </p:spPr>
          <p:txBody>
            <a:bodyPr rtlCol="0" anchor="ctr"/>
            <a:lstStyle/>
            <a:p>
              <a:endParaRPr lang="en-LT"/>
            </a:p>
          </p:txBody>
        </p:sp>
        <p:sp>
          <p:nvSpPr>
            <p:cNvPr id="97" name="Freeform 96">
              <a:extLst>
                <a:ext uri="{FF2B5EF4-FFF2-40B4-BE49-F238E27FC236}">
                  <a16:creationId xmlns:a16="http://schemas.microsoft.com/office/drawing/2014/main" id="{9F9D26DD-15BE-BC40-8BC9-F7A55D6E9206}"/>
                </a:ext>
              </a:extLst>
            </p:cNvPr>
            <p:cNvSpPr/>
            <p:nvPr/>
          </p:nvSpPr>
          <p:spPr>
            <a:xfrm>
              <a:off x="6490988" y="3013860"/>
              <a:ext cx="422275" cy="40932"/>
            </a:xfrm>
            <a:custGeom>
              <a:avLst/>
              <a:gdLst>
                <a:gd name="connsiteX0" fmla="*/ 20570 w 422275"/>
                <a:gd name="connsiteY0" fmla="*/ -46 h 40932"/>
                <a:gd name="connsiteX1" fmla="*/ 52 w 422275"/>
                <a:gd name="connsiteY1" fmla="*/ 20439 h 40932"/>
                <a:gd name="connsiteX2" fmla="*/ 20570 w 422275"/>
                <a:gd name="connsiteY2" fmla="*/ 40886 h 40932"/>
                <a:gd name="connsiteX3" fmla="*/ 401809 w 422275"/>
                <a:gd name="connsiteY3" fmla="*/ 40886 h 40932"/>
                <a:gd name="connsiteX4" fmla="*/ 422327 w 422275"/>
                <a:gd name="connsiteY4" fmla="*/ 20439 h 40932"/>
                <a:gd name="connsiteX5" fmla="*/ 401809 w 422275"/>
                <a:gd name="connsiteY5" fmla="*/ -46 h 40932"/>
                <a:gd name="connsiteX6" fmla="*/ 20570 w 422275"/>
                <a:gd name="connsiteY6" fmla="*/ -4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275" h="40932">
                  <a:moveTo>
                    <a:pt x="20570" y="-46"/>
                  </a:moveTo>
                  <a:cubicBezTo>
                    <a:pt x="9220" y="-46"/>
                    <a:pt x="52" y="9107"/>
                    <a:pt x="52" y="20439"/>
                  </a:cubicBezTo>
                  <a:cubicBezTo>
                    <a:pt x="52" y="31732"/>
                    <a:pt x="9220" y="40886"/>
                    <a:pt x="20570" y="40886"/>
                  </a:cubicBezTo>
                  <a:lnTo>
                    <a:pt x="401809" y="40886"/>
                  </a:lnTo>
                  <a:cubicBezTo>
                    <a:pt x="413159" y="40886"/>
                    <a:pt x="422327" y="31732"/>
                    <a:pt x="422327" y="20439"/>
                  </a:cubicBezTo>
                  <a:cubicBezTo>
                    <a:pt x="422327" y="9107"/>
                    <a:pt x="413159" y="-46"/>
                    <a:pt x="401809" y="-46"/>
                  </a:cubicBezTo>
                  <a:lnTo>
                    <a:pt x="20570" y="-46"/>
                  </a:lnTo>
                  <a:close/>
                </a:path>
              </a:pathLst>
            </a:custGeom>
            <a:grpFill/>
            <a:ln w="39688" cap="flat">
              <a:noFill/>
              <a:prstDash val="solid"/>
              <a:round/>
            </a:ln>
          </p:spPr>
          <p:txBody>
            <a:bodyPr rtlCol="0" anchor="ctr"/>
            <a:lstStyle/>
            <a:p>
              <a:endParaRPr lang="en-LT"/>
            </a:p>
          </p:txBody>
        </p:sp>
        <p:sp>
          <p:nvSpPr>
            <p:cNvPr id="98" name="Freeform 97">
              <a:extLst>
                <a:ext uri="{FF2B5EF4-FFF2-40B4-BE49-F238E27FC236}">
                  <a16:creationId xmlns:a16="http://schemas.microsoft.com/office/drawing/2014/main" id="{1601831B-D5D8-AD46-8CAB-3FAE558114BB}"/>
                </a:ext>
              </a:extLst>
            </p:cNvPr>
            <p:cNvSpPr/>
            <p:nvPr/>
          </p:nvSpPr>
          <p:spPr>
            <a:xfrm>
              <a:off x="5361802" y="1907238"/>
              <a:ext cx="350719" cy="376030"/>
            </a:xfrm>
            <a:custGeom>
              <a:avLst/>
              <a:gdLst>
                <a:gd name="connsiteX0" fmla="*/ 100801 w 350719"/>
                <a:gd name="connsiteY0" fmla="*/ 100085 h 376030"/>
                <a:gd name="connsiteX1" fmla="*/ 205219 w 350719"/>
                <a:gd name="connsiteY1" fmla="*/ 46434 h 376030"/>
                <a:gd name="connsiteX2" fmla="*/ 145450 w 350719"/>
                <a:gd name="connsiteY2" fmla="*/ 189557 h 376030"/>
                <a:gd name="connsiteX3" fmla="*/ 135805 w 350719"/>
                <a:gd name="connsiteY3" fmla="*/ 209963 h 376030"/>
                <a:gd name="connsiteX4" fmla="*/ 137195 w 350719"/>
                <a:gd name="connsiteY4" fmla="*/ 229815 h 376030"/>
                <a:gd name="connsiteX5" fmla="*/ 154856 w 350719"/>
                <a:gd name="connsiteY5" fmla="*/ 239126 h 376030"/>
                <a:gd name="connsiteX6" fmla="*/ 305708 w 350719"/>
                <a:gd name="connsiteY6" fmla="*/ 246536 h 376030"/>
                <a:gd name="connsiteX7" fmla="*/ 309399 w 350719"/>
                <a:gd name="connsiteY7" fmla="*/ 246180 h 376030"/>
                <a:gd name="connsiteX8" fmla="*/ 309676 w 350719"/>
                <a:gd name="connsiteY8" fmla="*/ 251846 h 376030"/>
                <a:gd name="connsiteX9" fmla="*/ 298167 w 350719"/>
                <a:gd name="connsiteY9" fmla="*/ 298682 h 376030"/>
                <a:gd name="connsiteX10" fmla="*/ 133702 w 350719"/>
                <a:gd name="connsiteY10" fmla="*/ 327568 h 376030"/>
                <a:gd name="connsiteX11" fmla="*/ 41111 w 350719"/>
                <a:gd name="connsiteY11" fmla="*/ 206357 h 376030"/>
                <a:gd name="connsiteX12" fmla="*/ 100801 w 350719"/>
                <a:gd name="connsiteY12" fmla="*/ 100085 h 376030"/>
                <a:gd name="connsiteX13" fmla="*/ 121201 w 350719"/>
                <a:gd name="connsiteY13" fmla="*/ 366637 h 376030"/>
                <a:gd name="connsiteX14" fmla="*/ 182438 w 350719"/>
                <a:gd name="connsiteY14" fmla="*/ 375909 h 376030"/>
                <a:gd name="connsiteX15" fmla="*/ 320630 w 350719"/>
                <a:gd name="connsiteY15" fmla="*/ 332956 h 376030"/>
                <a:gd name="connsiteX16" fmla="*/ 350674 w 350719"/>
                <a:gd name="connsiteY16" fmla="*/ 251172 h 376030"/>
                <a:gd name="connsiteX17" fmla="*/ 338252 w 350719"/>
                <a:gd name="connsiteY17" fmla="*/ 216779 h 376030"/>
                <a:gd name="connsiteX18" fmla="*/ 310629 w 350719"/>
                <a:gd name="connsiteY18" fmla="*/ 205882 h 376030"/>
                <a:gd name="connsiteX19" fmla="*/ 186844 w 350719"/>
                <a:gd name="connsiteY19" fmla="*/ 197917 h 376030"/>
                <a:gd name="connsiteX20" fmla="*/ 253519 w 350719"/>
                <a:gd name="connsiteY20" fmla="*/ 24997 h 376030"/>
                <a:gd name="connsiteX21" fmla="*/ 248756 w 350719"/>
                <a:gd name="connsiteY21" fmla="*/ 6691 h 376030"/>
                <a:gd name="connsiteX22" fmla="*/ 231056 w 350719"/>
                <a:gd name="connsiteY22" fmla="*/ 74 h 376030"/>
                <a:gd name="connsiteX23" fmla="*/ 74091 w 350719"/>
                <a:gd name="connsiteY23" fmla="*/ 68980 h 376030"/>
                <a:gd name="connsiteX24" fmla="*/ 74 w 350719"/>
                <a:gd name="connsiteY24" fmla="*/ 204654 h 376030"/>
                <a:gd name="connsiteX25" fmla="*/ 121201 w 350719"/>
                <a:gd name="connsiteY25" fmla="*/ 366637 h 37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0719" h="376030">
                  <a:moveTo>
                    <a:pt x="100801" y="100085"/>
                  </a:moveTo>
                  <a:cubicBezTo>
                    <a:pt x="130646" y="74567"/>
                    <a:pt x="166921" y="56023"/>
                    <a:pt x="205219" y="46434"/>
                  </a:cubicBezTo>
                  <a:cubicBezTo>
                    <a:pt x="190376" y="94617"/>
                    <a:pt x="167556" y="142721"/>
                    <a:pt x="145450" y="189557"/>
                  </a:cubicBezTo>
                  <a:lnTo>
                    <a:pt x="135805" y="209963"/>
                  </a:lnTo>
                  <a:cubicBezTo>
                    <a:pt x="132789" y="216383"/>
                    <a:pt x="133345" y="223871"/>
                    <a:pt x="137195" y="229815"/>
                  </a:cubicBezTo>
                  <a:cubicBezTo>
                    <a:pt x="141084" y="235759"/>
                    <a:pt x="147196" y="238611"/>
                    <a:pt x="154856" y="239126"/>
                  </a:cubicBezTo>
                  <a:cubicBezTo>
                    <a:pt x="205060" y="237859"/>
                    <a:pt x="255781" y="240513"/>
                    <a:pt x="305708" y="246536"/>
                  </a:cubicBezTo>
                  <a:cubicBezTo>
                    <a:pt x="306660" y="246655"/>
                    <a:pt x="308962" y="246933"/>
                    <a:pt x="309399" y="246180"/>
                  </a:cubicBezTo>
                  <a:cubicBezTo>
                    <a:pt x="309518" y="247091"/>
                    <a:pt x="309676" y="248795"/>
                    <a:pt x="309676" y="251846"/>
                  </a:cubicBezTo>
                  <a:cubicBezTo>
                    <a:pt x="309597" y="276333"/>
                    <a:pt x="308804" y="291748"/>
                    <a:pt x="298167" y="298682"/>
                  </a:cubicBezTo>
                  <a:cubicBezTo>
                    <a:pt x="246692" y="332283"/>
                    <a:pt x="184026" y="343655"/>
                    <a:pt x="133702" y="327568"/>
                  </a:cubicBezTo>
                  <a:cubicBezTo>
                    <a:pt x="78775" y="310093"/>
                    <a:pt x="38928" y="257948"/>
                    <a:pt x="41111" y="206357"/>
                  </a:cubicBezTo>
                  <a:cubicBezTo>
                    <a:pt x="42580" y="169903"/>
                    <a:pt x="64328" y="131190"/>
                    <a:pt x="100801" y="100085"/>
                  </a:cubicBezTo>
                  <a:close/>
                  <a:moveTo>
                    <a:pt x="121201" y="366637"/>
                  </a:moveTo>
                  <a:cubicBezTo>
                    <a:pt x="140608" y="372779"/>
                    <a:pt x="161205" y="375909"/>
                    <a:pt x="182438" y="375909"/>
                  </a:cubicBezTo>
                  <a:cubicBezTo>
                    <a:pt x="229150" y="375909"/>
                    <a:pt x="278244" y="360654"/>
                    <a:pt x="320630" y="332956"/>
                  </a:cubicBezTo>
                  <a:cubicBezTo>
                    <a:pt x="350476" y="313422"/>
                    <a:pt x="350595" y="279345"/>
                    <a:pt x="350674" y="251172"/>
                  </a:cubicBezTo>
                  <a:cubicBezTo>
                    <a:pt x="350714" y="245546"/>
                    <a:pt x="350793" y="228468"/>
                    <a:pt x="338252" y="216779"/>
                  </a:cubicBezTo>
                  <a:cubicBezTo>
                    <a:pt x="328925" y="208140"/>
                    <a:pt x="317059" y="206674"/>
                    <a:pt x="310629" y="205882"/>
                  </a:cubicBezTo>
                  <a:cubicBezTo>
                    <a:pt x="269751" y="200928"/>
                    <a:pt x="228119" y="198274"/>
                    <a:pt x="186844" y="197917"/>
                  </a:cubicBezTo>
                  <a:cubicBezTo>
                    <a:pt x="213236" y="142087"/>
                    <a:pt x="239747" y="84434"/>
                    <a:pt x="253519" y="24997"/>
                  </a:cubicBezTo>
                  <a:cubicBezTo>
                    <a:pt x="254987" y="18499"/>
                    <a:pt x="253241" y="11644"/>
                    <a:pt x="248756" y="6691"/>
                  </a:cubicBezTo>
                  <a:cubicBezTo>
                    <a:pt x="244311" y="1698"/>
                    <a:pt x="237644" y="-877"/>
                    <a:pt x="231056" y="74"/>
                  </a:cubicBezTo>
                  <a:cubicBezTo>
                    <a:pt x="173707" y="7047"/>
                    <a:pt x="117986" y="31535"/>
                    <a:pt x="74091" y="68980"/>
                  </a:cubicBezTo>
                  <a:cubicBezTo>
                    <a:pt x="28411" y="107970"/>
                    <a:pt x="2098" y="156193"/>
                    <a:pt x="74" y="204654"/>
                  </a:cubicBezTo>
                  <a:cubicBezTo>
                    <a:pt x="-2823" y="274114"/>
                    <a:pt x="49287" y="343695"/>
                    <a:pt x="121201" y="366637"/>
                  </a:cubicBezTo>
                  <a:close/>
                </a:path>
              </a:pathLst>
            </a:custGeom>
            <a:grpFill/>
            <a:ln w="39688" cap="flat">
              <a:noFill/>
              <a:prstDash val="solid"/>
              <a:round/>
            </a:ln>
          </p:spPr>
          <p:txBody>
            <a:bodyPr rtlCol="0" anchor="ctr"/>
            <a:lstStyle/>
            <a:p>
              <a:endParaRPr lang="en-LT"/>
            </a:p>
          </p:txBody>
        </p:sp>
        <p:sp>
          <p:nvSpPr>
            <p:cNvPr id="99" name="Freeform 98">
              <a:extLst>
                <a:ext uri="{FF2B5EF4-FFF2-40B4-BE49-F238E27FC236}">
                  <a16:creationId xmlns:a16="http://schemas.microsoft.com/office/drawing/2014/main" id="{9D5C2B3E-11A5-6E43-A32D-B86C6A47E862}"/>
                </a:ext>
              </a:extLst>
            </p:cNvPr>
            <p:cNvSpPr/>
            <p:nvPr/>
          </p:nvSpPr>
          <p:spPr>
            <a:xfrm>
              <a:off x="5568014" y="1916018"/>
              <a:ext cx="717856" cy="183393"/>
            </a:xfrm>
            <a:custGeom>
              <a:avLst/>
              <a:gdLst>
                <a:gd name="connsiteX0" fmla="*/ 86906 w 717856"/>
                <a:gd name="connsiteY0" fmla="*/ 52822 h 183393"/>
                <a:gd name="connsiteX1" fmla="*/ 124093 w 717856"/>
                <a:gd name="connsiteY1" fmla="*/ 141581 h 183393"/>
                <a:gd name="connsiteX2" fmla="*/ 53291 w 717856"/>
                <a:gd name="connsiteY2" fmla="*/ 142056 h 183393"/>
                <a:gd name="connsiteX3" fmla="*/ 86906 w 717856"/>
                <a:gd name="connsiteY3" fmla="*/ 52822 h 183393"/>
                <a:gd name="connsiteX4" fmla="*/ -9 w 717856"/>
                <a:gd name="connsiteY4" fmla="*/ 162978 h 183393"/>
                <a:gd name="connsiteX5" fmla="*/ 20469 w 717856"/>
                <a:gd name="connsiteY5" fmla="*/ 183265 h 183393"/>
                <a:gd name="connsiteX6" fmla="*/ 20668 w 717856"/>
                <a:gd name="connsiteY6" fmla="*/ 183265 h 183393"/>
                <a:gd name="connsiteX7" fmla="*/ 142548 w 717856"/>
                <a:gd name="connsiteY7" fmla="*/ 182394 h 183393"/>
                <a:gd name="connsiteX8" fmla="*/ 162511 w 717856"/>
                <a:gd name="connsiteY8" fmla="*/ 165870 h 183393"/>
                <a:gd name="connsiteX9" fmla="*/ 159733 w 717856"/>
                <a:gd name="connsiteY9" fmla="*/ 98786 h 183393"/>
                <a:gd name="connsiteX10" fmla="*/ 170964 w 717856"/>
                <a:gd name="connsiteY10" fmla="*/ 102551 h 183393"/>
                <a:gd name="connsiteX11" fmla="*/ 172393 w 717856"/>
                <a:gd name="connsiteY11" fmla="*/ 102511 h 183393"/>
                <a:gd name="connsiteX12" fmla="*/ 410638 w 717856"/>
                <a:gd name="connsiteY12" fmla="*/ 97043 h 183393"/>
                <a:gd name="connsiteX13" fmla="*/ 699404 w 717856"/>
                <a:gd name="connsiteY13" fmla="*/ 87454 h 183393"/>
                <a:gd name="connsiteX14" fmla="*/ 717740 w 717856"/>
                <a:gd name="connsiteY14" fmla="*/ 65026 h 183393"/>
                <a:gd name="connsiteX15" fmla="*/ 695316 w 717856"/>
                <a:gd name="connsiteY15" fmla="*/ 46720 h 183393"/>
                <a:gd name="connsiteX16" fmla="*/ 410677 w 717856"/>
                <a:gd name="connsiteY16" fmla="*/ 56071 h 183393"/>
                <a:gd name="connsiteX17" fmla="*/ 169615 w 717856"/>
                <a:gd name="connsiteY17" fmla="*/ 61619 h 183393"/>
                <a:gd name="connsiteX18" fmla="*/ 151597 w 717856"/>
                <a:gd name="connsiteY18" fmla="*/ 75368 h 183393"/>
                <a:gd name="connsiteX19" fmla="*/ 87343 w 717856"/>
                <a:gd name="connsiteY19" fmla="*/ 2539 h 183393"/>
                <a:gd name="connsiteX20" fmla="*/ 70237 w 717856"/>
                <a:gd name="connsiteY20" fmla="*/ 1073 h 183393"/>
                <a:gd name="connsiteX21" fmla="*/ 58014 w 717856"/>
                <a:gd name="connsiteY21" fmla="*/ 13158 h 183393"/>
                <a:gd name="connsiteX22" fmla="*/ 7690 w 717856"/>
                <a:gd name="connsiteY22" fmla="*/ 146771 h 183393"/>
                <a:gd name="connsiteX23" fmla="*/ -9 w 717856"/>
                <a:gd name="connsiteY23" fmla="*/ 162978 h 18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7856" h="183393">
                  <a:moveTo>
                    <a:pt x="86906" y="52822"/>
                  </a:moveTo>
                  <a:cubicBezTo>
                    <a:pt x="110838" y="75289"/>
                    <a:pt x="125086" y="108930"/>
                    <a:pt x="124093" y="141581"/>
                  </a:cubicBezTo>
                  <a:lnTo>
                    <a:pt x="53291" y="142056"/>
                  </a:lnTo>
                  <a:lnTo>
                    <a:pt x="86906" y="52822"/>
                  </a:lnTo>
                  <a:close/>
                  <a:moveTo>
                    <a:pt x="-9" y="162978"/>
                  </a:moveTo>
                  <a:cubicBezTo>
                    <a:pt x="70" y="174191"/>
                    <a:pt x="9238" y="183265"/>
                    <a:pt x="20469" y="183265"/>
                  </a:cubicBezTo>
                  <a:lnTo>
                    <a:pt x="20668" y="183265"/>
                  </a:lnTo>
                  <a:lnTo>
                    <a:pt x="142548" y="182394"/>
                  </a:lnTo>
                  <a:cubicBezTo>
                    <a:pt x="152272" y="182354"/>
                    <a:pt x="160646" y="175419"/>
                    <a:pt x="162511" y="165870"/>
                  </a:cubicBezTo>
                  <a:cubicBezTo>
                    <a:pt x="166876" y="143561"/>
                    <a:pt x="165527" y="120619"/>
                    <a:pt x="159733" y="98786"/>
                  </a:cubicBezTo>
                  <a:cubicBezTo>
                    <a:pt x="163027" y="101005"/>
                    <a:pt x="166757" y="102551"/>
                    <a:pt x="170964" y="102551"/>
                  </a:cubicBezTo>
                  <a:cubicBezTo>
                    <a:pt x="171441" y="102551"/>
                    <a:pt x="171917" y="102511"/>
                    <a:pt x="172393" y="102511"/>
                  </a:cubicBezTo>
                  <a:cubicBezTo>
                    <a:pt x="251689" y="96964"/>
                    <a:pt x="332731" y="97241"/>
                    <a:pt x="410638" y="97043"/>
                  </a:cubicBezTo>
                  <a:cubicBezTo>
                    <a:pt x="505491" y="97122"/>
                    <a:pt x="602804" y="97122"/>
                    <a:pt x="699404" y="87454"/>
                  </a:cubicBezTo>
                  <a:cubicBezTo>
                    <a:pt x="710636" y="86344"/>
                    <a:pt x="718891" y="76319"/>
                    <a:pt x="717740" y="65026"/>
                  </a:cubicBezTo>
                  <a:cubicBezTo>
                    <a:pt x="716589" y="53773"/>
                    <a:pt x="706151" y="45492"/>
                    <a:pt x="695316" y="46720"/>
                  </a:cubicBezTo>
                  <a:cubicBezTo>
                    <a:pt x="600781" y="56151"/>
                    <a:pt x="503863" y="56507"/>
                    <a:pt x="410677" y="56071"/>
                  </a:cubicBezTo>
                  <a:cubicBezTo>
                    <a:pt x="331381" y="55992"/>
                    <a:pt x="250260" y="56032"/>
                    <a:pt x="169615" y="61619"/>
                  </a:cubicBezTo>
                  <a:cubicBezTo>
                    <a:pt x="161122" y="62213"/>
                    <a:pt x="154216" y="67840"/>
                    <a:pt x="151597" y="75368"/>
                  </a:cubicBezTo>
                  <a:cubicBezTo>
                    <a:pt x="138421" y="45174"/>
                    <a:pt x="116196" y="18864"/>
                    <a:pt x="87343" y="2539"/>
                  </a:cubicBezTo>
                  <a:cubicBezTo>
                    <a:pt x="82144" y="-393"/>
                    <a:pt x="75833" y="-948"/>
                    <a:pt x="70237" y="1073"/>
                  </a:cubicBezTo>
                  <a:cubicBezTo>
                    <a:pt x="64602" y="3134"/>
                    <a:pt x="60117" y="7532"/>
                    <a:pt x="58014" y="13158"/>
                  </a:cubicBezTo>
                  <a:lnTo>
                    <a:pt x="7690" y="146771"/>
                  </a:lnTo>
                  <a:cubicBezTo>
                    <a:pt x="2967" y="150536"/>
                    <a:pt x="-49" y="156400"/>
                    <a:pt x="-9" y="162978"/>
                  </a:cubicBezTo>
                  <a:close/>
                </a:path>
              </a:pathLst>
            </a:custGeom>
            <a:grpFill/>
            <a:ln w="39688" cap="flat">
              <a:noFill/>
              <a:prstDash val="solid"/>
              <a:round/>
            </a:ln>
          </p:spPr>
          <p:txBody>
            <a:bodyPr rtlCol="0" anchor="ctr"/>
            <a:lstStyle/>
            <a:p>
              <a:endParaRPr lang="en-LT"/>
            </a:p>
          </p:txBody>
        </p:sp>
        <p:sp>
          <p:nvSpPr>
            <p:cNvPr id="100" name="Freeform 99">
              <a:extLst>
                <a:ext uri="{FF2B5EF4-FFF2-40B4-BE49-F238E27FC236}">
                  <a16:creationId xmlns:a16="http://schemas.microsoft.com/office/drawing/2014/main" id="{4A99C4A1-E266-4440-8E71-AAAB641F2302}"/>
                </a:ext>
              </a:extLst>
            </p:cNvPr>
            <p:cNvSpPr/>
            <p:nvPr/>
          </p:nvSpPr>
          <p:spPr>
            <a:xfrm>
              <a:off x="5711960" y="1988760"/>
              <a:ext cx="695728" cy="246562"/>
            </a:xfrm>
            <a:custGeom>
              <a:avLst/>
              <a:gdLst>
                <a:gd name="connsiteX0" fmla="*/ 516893 w 695728"/>
                <a:gd name="connsiteY0" fmla="*/ 153286 h 246562"/>
                <a:gd name="connsiteX1" fmla="*/ 462958 w 695728"/>
                <a:gd name="connsiteY1" fmla="*/ 170840 h 246562"/>
                <a:gd name="connsiteX2" fmla="*/ 263805 w 695728"/>
                <a:gd name="connsiteY2" fmla="*/ 190216 h 246562"/>
                <a:gd name="connsiteX3" fmla="*/ 19251 w 695728"/>
                <a:gd name="connsiteY3" fmla="*/ 205511 h 246562"/>
                <a:gd name="connsiteX4" fmla="*/ 42 w 695728"/>
                <a:gd name="connsiteY4" fmla="*/ 227264 h 246562"/>
                <a:gd name="connsiteX5" fmla="*/ 20521 w 695728"/>
                <a:gd name="connsiteY5" fmla="*/ 246443 h 246562"/>
                <a:gd name="connsiteX6" fmla="*/ 21791 w 695728"/>
                <a:gd name="connsiteY6" fmla="*/ 246403 h 246562"/>
                <a:gd name="connsiteX7" fmla="*/ 266346 w 695728"/>
                <a:gd name="connsiteY7" fmla="*/ 231069 h 246562"/>
                <a:gd name="connsiteX8" fmla="*/ 469704 w 695728"/>
                <a:gd name="connsiteY8" fmla="*/ 211256 h 246562"/>
                <a:gd name="connsiteX9" fmla="*/ 540507 w 695728"/>
                <a:gd name="connsiteY9" fmla="*/ 186808 h 246562"/>
                <a:gd name="connsiteX10" fmla="*/ 566661 w 695728"/>
                <a:gd name="connsiteY10" fmla="*/ 163034 h 246562"/>
                <a:gd name="connsiteX11" fmla="*/ 690010 w 695728"/>
                <a:gd name="connsiteY11" fmla="*/ 34493 h 246562"/>
                <a:gd name="connsiteX12" fmla="*/ 689415 w 695728"/>
                <a:gd name="connsiteY12" fmla="*/ 5527 h 246562"/>
                <a:gd name="connsiteX13" fmla="*/ 660403 w 695728"/>
                <a:gd name="connsiteY13" fmla="*/ 6162 h 246562"/>
                <a:gd name="connsiteX14" fmla="*/ 537015 w 695728"/>
                <a:gd name="connsiteY14" fmla="*/ 134702 h 246562"/>
                <a:gd name="connsiteX15" fmla="*/ 516893 w 695728"/>
                <a:gd name="connsiteY15" fmla="*/ 153286 h 24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5728" h="246562">
                  <a:moveTo>
                    <a:pt x="516893" y="153286"/>
                  </a:moveTo>
                  <a:cubicBezTo>
                    <a:pt x="502090" y="163668"/>
                    <a:pt x="482127" y="167670"/>
                    <a:pt x="462958" y="170840"/>
                  </a:cubicBezTo>
                  <a:cubicBezTo>
                    <a:pt x="397394" y="181816"/>
                    <a:pt x="329489" y="186095"/>
                    <a:pt x="263805" y="190216"/>
                  </a:cubicBezTo>
                  <a:lnTo>
                    <a:pt x="19251" y="205511"/>
                  </a:lnTo>
                  <a:cubicBezTo>
                    <a:pt x="7940" y="206224"/>
                    <a:pt x="-672" y="215972"/>
                    <a:pt x="42" y="227264"/>
                  </a:cubicBezTo>
                  <a:cubicBezTo>
                    <a:pt x="757" y="238121"/>
                    <a:pt x="9766" y="246443"/>
                    <a:pt x="20521" y="246443"/>
                  </a:cubicBezTo>
                  <a:cubicBezTo>
                    <a:pt x="20918" y="246443"/>
                    <a:pt x="21355" y="246443"/>
                    <a:pt x="21791" y="246403"/>
                  </a:cubicBezTo>
                  <a:lnTo>
                    <a:pt x="266346" y="231069"/>
                  </a:lnTo>
                  <a:cubicBezTo>
                    <a:pt x="333100" y="226908"/>
                    <a:pt x="402077" y="222589"/>
                    <a:pt x="469704" y="211256"/>
                  </a:cubicBezTo>
                  <a:cubicBezTo>
                    <a:pt x="492485" y="207452"/>
                    <a:pt x="518600" y="202143"/>
                    <a:pt x="540507" y="186808"/>
                  </a:cubicBezTo>
                  <a:cubicBezTo>
                    <a:pt x="550746" y="179597"/>
                    <a:pt x="559200" y="170800"/>
                    <a:pt x="566661" y="163034"/>
                  </a:cubicBezTo>
                  <a:lnTo>
                    <a:pt x="690010" y="34493"/>
                  </a:lnTo>
                  <a:cubicBezTo>
                    <a:pt x="697868" y="26330"/>
                    <a:pt x="697590" y="13373"/>
                    <a:pt x="689415" y="5527"/>
                  </a:cubicBezTo>
                  <a:cubicBezTo>
                    <a:pt x="681199" y="-2279"/>
                    <a:pt x="668261" y="-1922"/>
                    <a:pt x="660403" y="6162"/>
                  </a:cubicBezTo>
                  <a:lnTo>
                    <a:pt x="537015" y="134702"/>
                  </a:lnTo>
                  <a:cubicBezTo>
                    <a:pt x="530585" y="141439"/>
                    <a:pt x="523878" y="148373"/>
                    <a:pt x="516893" y="153286"/>
                  </a:cubicBezTo>
                  <a:close/>
                </a:path>
              </a:pathLst>
            </a:custGeom>
            <a:grpFill/>
            <a:ln w="39688" cap="flat">
              <a:noFill/>
              <a:prstDash val="solid"/>
              <a:round/>
            </a:ln>
          </p:spPr>
          <p:txBody>
            <a:bodyPr rtlCol="0" anchor="ctr"/>
            <a:lstStyle/>
            <a:p>
              <a:endParaRPr lang="en-LT"/>
            </a:p>
          </p:txBody>
        </p:sp>
        <p:sp>
          <p:nvSpPr>
            <p:cNvPr id="101" name="Freeform 100">
              <a:extLst>
                <a:ext uri="{FF2B5EF4-FFF2-40B4-BE49-F238E27FC236}">
                  <a16:creationId xmlns:a16="http://schemas.microsoft.com/office/drawing/2014/main" id="{892418A3-A5F5-5140-BAF2-3C7B1C514F8B}"/>
                </a:ext>
              </a:extLst>
            </p:cNvPr>
            <p:cNvSpPr/>
            <p:nvPr/>
          </p:nvSpPr>
          <p:spPr>
            <a:xfrm>
              <a:off x="6452962" y="1844330"/>
              <a:ext cx="208950" cy="278657"/>
            </a:xfrm>
            <a:custGeom>
              <a:avLst/>
              <a:gdLst>
                <a:gd name="connsiteX0" fmla="*/ 562 w 208950"/>
                <a:gd name="connsiteY0" fmla="*/ 253525 h 278657"/>
                <a:gd name="connsiteX1" fmla="*/ 16041 w 208950"/>
                <a:gd name="connsiteY1" fmla="*/ 278012 h 278657"/>
                <a:gd name="connsiteX2" fmla="*/ 20565 w 208950"/>
                <a:gd name="connsiteY2" fmla="*/ 278528 h 278657"/>
                <a:gd name="connsiteX3" fmla="*/ 40527 w 208950"/>
                <a:gd name="connsiteY3" fmla="*/ 262559 h 278657"/>
                <a:gd name="connsiteX4" fmla="*/ 53267 w 208950"/>
                <a:gd name="connsiteY4" fmla="*/ 239894 h 278657"/>
                <a:gd name="connsiteX5" fmla="*/ 204953 w 208950"/>
                <a:gd name="connsiteY5" fmla="*/ 32541 h 278657"/>
                <a:gd name="connsiteX6" fmla="*/ 200707 w 208950"/>
                <a:gd name="connsiteY6" fmla="*/ 3853 h 278657"/>
                <a:gd name="connsiteX7" fmla="*/ 172012 w 208950"/>
                <a:gd name="connsiteY7" fmla="*/ 8132 h 278657"/>
                <a:gd name="connsiteX8" fmla="*/ 19930 w 208950"/>
                <a:gd name="connsiteY8" fmla="*/ 215961 h 278657"/>
                <a:gd name="connsiteX9" fmla="*/ 562 w 208950"/>
                <a:gd name="connsiteY9" fmla="*/ 253525 h 278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950" h="278657">
                  <a:moveTo>
                    <a:pt x="562" y="253525"/>
                  </a:moveTo>
                  <a:cubicBezTo>
                    <a:pt x="-1978" y="264580"/>
                    <a:pt x="5007" y="275517"/>
                    <a:pt x="16041" y="278012"/>
                  </a:cubicBezTo>
                  <a:cubicBezTo>
                    <a:pt x="17548" y="278369"/>
                    <a:pt x="19056" y="278528"/>
                    <a:pt x="20565" y="278528"/>
                  </a:cubicBezTo>
                  <a:cubicBezTo>
                    <a:pt x="29971" y="278528"/>
                    <a:pt x="38424" y="272069"/>
                    <a:pt x="40527" y="262559"/>
                  </a:cubicBezTo>
                  <a:cubicBezTo>
                    <a:pt x="42234" y="255268"/>
                    <a:pt x="47830" y="247423"/>
                    <a:pt x="53267" y="239894"/>
                  </a:cubicBezTo>
                  <a:cubicBezTo>
                    <a:pt x="103353" y="170433"/>
                    <a:pt x="153915" y="101249"/>
                    <a:pt x="204953" y="32541"/>
                  </a:cubicBezTo>
                  <a:cubicBezTo>
                    <a:pt x="211700" y="23466"/>
                    <a:pt x="209795" y="10589"/>
                    <a:pt x="200707" y="3853"/>
                  </a:cubicBezTo>
                  <a:cubicBezTo>
                    <a:pt x="191618" y="-2804"/>
                    <a:pt x="178799" y="-942"/>
                    <a:pt x="172012" y="8132"/>
                  </a:cubicBezTo>
                  <a:cubicBezTo>
                    <a:pt x="120816" y="77039"/>
                    <a:pt x="70214" y="146341"/>
                    <a:pt x="19930" y="215961"/>
                  </a:cubicBezTo>
                  <a:cubicBezTo>
                    <a:pt x="12865" y="225867"/>
                    <a:pt x="4015" y="238111"/>
                    <a:pt x="562" y="253525"/>
                  </a:cubicBezTo>
                  <a:close/>
                </a:path>
              </a:pathLst>
            </a:custGeom>
            <a:grpFill/>
            <a:ln w="39688" cap="flat">
              <a:noFill/>
              <a:prstDash val="solid"/>
              <a:round/>
            </a:ln>
          </p:spPr>
          <p:txBody>
            <a:bodyPr rtlCol="0" anchor="ctr"/>
            <a:lstStyle/>
            <a:p>
              <a:endParaRPr lang="en-LT"/>
            </a:p>
          </p:txBody>
        </p:sp>
        <p:sp>
          <p:nvSpPr>
            <p:cNvPr id="102" name="Freeform 101">
              <a:extLst>
                <a:ext uri="{FF2B5EF4-FFF2-40B4-BE49-F238E27FC236}">
                  <a16:creationId xmlns:a16="http://schemas.microsoft.com/office/drawing/2014/main" id="{CC612FEE-D838-1C44-845D-CB3BEFCE9858}"/>
                </a:ext>
              </a:extLst>
            </p:cNvPr>
            <p:cNvSpPr/>
            <p:nvPr/>
          </p:nvSpPr>
          <p:spPr>
            <a:xfrm>
              <a:off x="6420009" y="1826062"/>
              <a:ext cx="126162" cy="138072"/>
            </a:xfrm>
            <a:custGeom>
              <a:avLst/>
              <a:gdLst>
                <a:gd name="connsiteX0" fmla="*/ 42002 w 126162"/>
                <a:gd name="connsiteY0" fmla="*/ 45650 h 138072"/>
                <a:gd name="connsiteX1" fmla="*/ 48114 w 126162"/>
                <a:gd name="connsiteY1" fmla="*/ 40143 h 138072"/>
                <a:gd name="connsiteX2" fmla="*/ 68553 w 126162"/>
                <a:gd name="connsiteY2" fmla="*/ 48503 h 138072"/>
                <a:gd name="connsiteX3" fmla="*/ 83952 w 126162"/>
                <a:gd name="connsiteY3" fmla="*/ 85314 h 138072"/>
                <a:gd name="connsiteX4" fmla="*/ 56964 w 126162"/>
                <a:gd name="connsiteY4" fmla="*/ 87731 h 138072"/>
                <a:gd name="connsiteX5" fmla="*/ 42002 w 126162"/>
                <a:gd name="connsiteY5" fmla="*/ 45650 h 138072"/>
                <a:gd name="connsiteX6" fmla="*/ 72879 w 126162"/>
                <a:gd name="connsiteY6" fmla="*/ 137935 h 138072"/>
                <a:gd name="connsiteX7" fmla="*/ 123242 w 126162"/>
                <a:gd name="connsiteY7" fmla="*/ 97162 h 138072"/>
                <a:gd name="connsiteX8" fmla="*/ 91334 w 126162"/>
                <a:gd name="connsiteY8" fmla="*/ 14387 h 138072"/>
                <a:gd name="connsiteX9" fmla="*/ 2751 w 126162"/>
                <a:gd name="connsiteY9" fmla="*/ 33803 h 138072"/>
                <a:gd name="connsiteX10" fmla="*/ 27913 w 126162"/>
                <a:gd name="connsiteY10" fmla="*/ 116617 h 138072"/>
                <a:gd name="connsiteX11" fmla="*/ 72879 w 126162"/>
                <a:gd name="connsiteY11" fmla="*/ 137935 h 13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162" h="138072">
                  <a:moveTo>
                    <a:pt x="42002" y="45650"/>
                  </a:moveTo>
                  <a:cubicBezTo>
                    <a:pt x="43669" y="40143"/>
                    <a:pt x="46130" y="40143"/>
                    <a:pt x="48114" y="40143"/>
                  </a:cubicBezTo>
                  <a:cubicBezTo>
                    <a:pt x="51091" y="40143"/>
                    <a:pt x="57679" y="41212"/>
                    <a:pt x="68553" y="48503"/>
                  </a:cubicBezTo>
                  <a:cubicBezTo>
                    <a:pt x="84865" y="59281"/>
                    <a:pt x="87206" y="74576"/>
                    <a:pt x="83952" y="85314"/>
                  </a:cubicBezTo>
                  <a:cubicBezTo>
                    <a:pt x="80737" y="95854"/>
                    <a:pt x="70022" y="100847"/>
                    <a:pt x="56964" y="87731"/>
                  </a:cubicBezTo>
                  <a:cubicBezTo>
                    <a:pt x="42995" y="73784"/>
                    <a:pt x="38867" y="55992"/>
                    <a:pt x="42002" y="45650"/>
                  </a:cubicBezTo>
                  <a:close/>
                  <a:moveTo>
                    <a:pt x="72879" y="137935"/>
                  </a:moveTo>
                  <a:cubicBezTo>
                    <a:pt x="95977" y="137935"/>
                    <a:pt x="115702" y="121927"/>
                    <a:pt x="123242" y="97162"/>
                  </a:cubicBezTo>
                  <a:cubicBezTo>
                    <a:pt x="130386" y="73506"/>
                    <a:pt x="126338" y="37646"/>
                    <a:pt x="91334" y="14387"/>
                  </a:cubicBezTo>
                  <a:cubicBezTo>
                    <a:pt x="51924" y="-11765"/>
                    <a:pt x="13308" y="-988"/>
                    <a:pt x="2751" y="33803"/>
                  </a:cubicBezTo>
                  <a:cubicBezTo>
                    <a:pt x="-5266" y="60232"/>
                    <a:pt x="4855" y="93556"/>
                    <a:pt x="27913" y="116617"/>
                  </a:cubicBezTo>
                  <a:cubicBezTo>
                    <a:pt x="45455" y="134250"/>
                    <a:pt x="62084" y="137935"/>
                    <a:pt x="72879" y="137935"/>
                  </a:cubicBezTo>
                  <a:close/>
                </a:path>
              </a:pathLst>
            </a:custGeom>
            <a:grpFill/>
            <a:ln w="39688" cap="flat">
              <a:noFill/>
              <a:prstDash val="solid"/>
              <a:round/>
            </a:ln>
          </p:spPr>
          <p:txBody>
            <a:bodyPr rtlCol="0" anchor="ctr"/>
            <a:lstStyle/>
            <a:p>
              <a:endParaRPr lang="en-LT"/>
            </a:p>
          </p:txBody>
        </p:sp>
        <p:sp>
          <p:nvSpPr>
            <p:cNvPr id="103" name="Freeform 102">
              <a:extLst>
                <a:ext uri="{FF2B5EF4-FFF2-40B4-BE49-F238E27FC236}">
                  <a16:creationId xmlns:a16="http://schemas.microsoft.com/office/drawing/2014/main" id="{A47D23C2-BC08-DE43-96B4-4AD4A0A593D3}"/>
                </a:ext>
              </a:extLst>
            </p:cNvPr>
            <p:cNvSpPr/>
            <p:nvPr/>
          </p:nvSpPr>
          <p:spPr>
            <a:xfrm>
              <a:off x="6558403" y="1979945"/>
              <a:ext cx="134428" cy="133573"/>
            </a:xfrm>
            <a:custGeom>
              <a:avLst/>
              <a:gdLst>
                <a:gd name="connsiteX0" fmla="*/ 92889 w 134428"/>
                <a:gd name="connsiteY0" fmla="*/ 62402 h 133573"/>
                <a:gd name="connsiteX1" fmla="*/ 52329 w 134428"/>
                <a:gd name="connsiteY1" fmla="*/ 90892 h 133573"/>
                <a:gd name="connsiteX2" fmla="*/ 41652 w 134428"/>
                <a:gd name="connsiteY2" fmla="*/ 70406 h 133573"/>
                <a:gd name="connsiteX3" fmla="*/ 73799 w 134428"/>
                <a:gd name="connsiteY3" fmla="*/ 40847 h 133573"/>
                <a:gd name="connsiteX4" fmla="*/ 82411 w 134428"/>
                <a:gd name="connsiteY4" fmla="*/ 42867 h 133573"/>
                <a:gd name="connsiteX5" fmla="*/ 92889 w 134428"/>
                <a:gd name="connsiteY5" fmla="*/ 62402 h 133573"/>
                <a:gd name="connsiteX6" fmla="*/ 73601 w 134428"/>
                <a:gd name="connsiteY6" fmla="*/ -125 h 133573"/>
                <a:gd name="connsiteX7" fmla="*/ 1568 w 134428"/>
                <a:gd name="connsiteY7" fmla="*/ 61768 h 133573"/>
                <a:gd name="connsiteX8" fmla="*/ 35421 w 134428"/>
                <a:gd name="connsiteY8" fmla="*/ 128178 h 133573"/>
                <a:gd name="connsiteX9" fmla="*/ 59869 w 134428"/>
                <a:gd name="connsiteY9" fmla="*/ 133448 h 133573"/>
                <a:gd name="connsiteX10" fmla="*/ 132934 w 134428"/>
                <a:gd name="connsiteY10" fmla="*/ 71278 h 133573"/>
                <a:gd name="connsiteX11" fmla="*/ 99715 w 134428"/>
                <a:gd name="connsiteY11" fmla="*/ 5740 h 133573"/>
                <a:gd name="connsiteX12" fmla="*/ 73601 w 134428"/>
                <a:gd name="connsiteY12" fmla="*/ -125 h 1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428" h="133573">
                  <a:moveTo>
                    <a:pt x="92889" y="62402"/>
                  </a:moveTo>
                  <a:cubicBezTo>
                    <a:pt x="88762" y="80867"/>
                    <a:pt x="67251" y="97588"/>
                    <a:pt x="52329" y="90892"/>
                  </a:cubicBezTo>
                  <a:cubicBezTo>
                    <a:pt x="45899" y="87960"/>
                    <a:pt x="38914" y="83046"/>
                    <a:pt x="41652" y="70406"/>
                  </a:cubicBezTo>
                  <a:cubicBezTo>
                    <a:pt x="44668" y="56419"/>
                    <a:pt x="58996" y="40847"/>
                    <a:pt x="73799" y="40847"/>
                  </a:cubicBezTo>
                  <a:cubicBezTo>
                    <a:pt x="76657" y="40886"/>
                    <a:pt x="79594" y="41560"/>
                    <a:pt x="82411" y="42867"/>
                  </a:cubicBezTo>
                  <a:cubicBezTo>
                    <a:pt x="91817" y="47265"/>
                    <a:pt x="94953" y="53090"/>
                    <a:pt x="92889" y="62402"/>
                  </a:cubicBezTo>
                  <a:close/>
                  <a:moveTo>
                    <a:pt x="73601" y="-125"/>
                  </a:moveTo>
                  <a:cubicBezTo>
                    <a:pt x="36850" y="-125"/>
                    <a:pt x="8077" y="31337"/>
                    <a:pt x="1568" y="61768"/>
                  </a:cubicBezTo>
                  <a:cubicBezTo>
                    <a:pt x="-4624" y="90495"/>
                    <a:pt x="8355" y="115974"/>
                    <a:pt x="35421" y="128178"/>
                  </a:cubicBezTo>
                  <a:cubicBezTo>
                    <a:pt x="43200" y="131665"/>
                    <a:pt x="51415" y="133448"/>
                    <a:pt x="59869" y="133448"/>
                  </a:cubicBezTo>
                  <a:cubicBezTo>
                    <a:pt x="92532" y="133448"/>
                    <a:pt x="125313" y="105553"/>
                    <a:pt x="132934" y="71278"/>
                  </a:cubicBezTo>
                  <a:cubicBezTo>
                    <a:pt x="139125" y="43224"/>
                    <a:pt x="126385" y="18141"/>
                    <a:pt x="99715" y="5740"/>
                  </a:cubicBezTo>
                  <a:cubicBezTo>
                    <a:pt x="91619" y="1975"/>
                    <a:pt x="83086" y="-6"/>
                    <a:pt x="73601" y="-125"/>
                  </a:cubicBezTo>
                  <a:close/>
                </a:path>
              </a:pathLst>
            </a:custGeom>
            <a:grpFill/>
            <a:ln w="39688" cap="flat">
              <a:noFill/>
              <a:prstDash val="solid"/>
              <a:round/>
            </a:ln>
          </p:spPr>
          <p:txBody>
            <a:bodyPr rtlCol="0" anchor="ctr"/>
            <a:lstStyle/>
            <a:p>
              <a:endParaRPr lang="en-LT"/>
            </a:p>
          </p:txBody>
        </p:sp>
        <p:sp>
          <p:nvSpPr>
            <p:cNvPr id="104" name="Freeform 103">
              <a:extLst>
                <a:ext uri="{FF2B5EF4-FFF2-40B4-BE49-F238E27FC236}">
                  <a16:creationId xmlns:a16="http://schemas.microsoft.com/office/drawing/2014/main" id="{E0DF16F1-323D-864B-9E43-B4BA9CC8CEB8}"/>
                </a:ext>
              </a:extLst>
            </p:cNvPr>
            <p:cNvSpPr/>
            <p:nvPr/>
          </p:nvSpPr>
          <p:spPr>
            <a:xfrm>
              <a:off x="5844833" y="3179486"/>
              <a:ext cx="973887" cy="91178"/>
            </a:xfrm>
            <a:custGeom>
              <a:avLst/>
              <a:gdLst>
                <a:gd name="connsiteX0" fmla="*/ 957367 w 973887"/>
                <a:gd name="connsiteY0" fmla="*/ 5480 h 91178"/>
                <a:gd name="connsiteX1" fmla="*/ 755437 w 973887"/>
                <a:gd name="connsiteY1" fmla="*/ 18912 h 91178"/>
                <a:gd name="connsiteX2" fmla="*/ 687929 w 973887"/>
                <a:gd name="connsiteY2" fmla="*/ 31394 h 91178"/>
                <a:gd name="connsiteX3" fmla="*/ 502429 w 973887"/>
                <a:gd name="connsiteY3" fmla="*/ 42568 h 91178"/>
                <a:gd name="connsiteX4" fmla="*/ 20226 w 973887"/>
                <a:gd name="connsiteY4" fmla="*/ 50215 h 91178"/>
                <a:gd name="connsiteX5" fmla="*/ 25 w 973887"/>
                <a:gd name="connsiteY5" fmla="*/ 71018 h 91178"/>
                <a:gd name="connsiteX6" fmla="*/ 20543 w 973887"/>
                <a:gd name="connsiteY6" fmla="*/ 91147 h 91178"/>
                <a:gd name="connsiteX7" fmla="*/ 20861 w 973887"/>
                <a:gd name="connsiteY7" fmla="*/ 91147 h 91178"/>
                <a:gd name="connsiteX8" fmla="*/ 503064 w 973887"/>
                <a:gd name="connsiteY8" fmla="*/ 83539 h 91178"/>
                <a:gd name="connsiteX9" fmla="*/ 694080 w 973887"/>
                <a:gd name="connsiteY9" fmla="*/ 71850 h 91178"/>
                <a:gd name="connsiteX10" fmla="*/ 763533 w 973887"/>
                <a:gd name="connsiteY10" fmla="*/ 59052 h 91178"/>
                <a:gd name="connsiteX11" fmla="*/ 949430 w 973887"/>
                <a:gd name="connsiteY11" fmla="*/ 45698 h 91178"/>
                <a:gd name="connsiteX12" fmla="*/ 973520 w 973887"/>
                <a:gd name="connsiteY12" fmla="*/ 29571 h 91178"/>
                <a:gd name="connsiteX13" fmla="*/ 957367 w 973887"/>
                <a:gd name="connsiteY13" fmla="*/ 5480 h 9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3887" h="91178">
                  <a:moveTo>
                    <a:pt x="957367" y="5480"/>
                  </a:moveTo>
                  <a:cubicBezTo>
                    <a:pt x="889184" y="-7913"/>
                    <a:pt x="821159" y="5678"/>
                    <a:pt x="755437" y="18912"/>
                  </a:cubicBezTo>
                  <a:cubicBezTo>
                    <a:pt x="732894" y="23429"/>
                    <a:pt x="710392" y="27947"/>
                    <a:pt x="687929" y="31394"/>
                  </a:cubicBezTo>
                  <a:cubicBezTo>
                    <a:pt x="626929" y="40587"/>
                    <a:pt x="563627" y="41578"/>
                    <a:pt x="502429" y="42568"/>
                  </a:cubicBezTo>
                  <a:lnTo>
                    <a:pt x="20226" y="50215"/>
                  </a:lnTo>
                  <a:cubicBezTo>
                    <a:pt x="8875" y="50374"/>
                    <a:pt x="-134" y="59725"/>
                    <a:pt x="25" y="71018"/>
                  </a:cubicBezTo>
                  <a:cubicBezTo>
                    <a:pt x="223" y="82192"/>
                    <a:pt x="9391" y="91147"/>
                    <a:pt x="20543" y="91147"/>
                  </a:cubicBezTo>
                  <a:lnTo>
                    <a:pt x="20861" y="91147"/>
                  </a:lnTo>
                  <a:lnTo>
                    <a:pt x="503064" y="83539"/>
                  </a:lnTo>
                  <a:cubicBezTo>
                    <a:pt x="565652" y="82509"/>
                    <a:pt x="630342" y="81519"/>
                    <a:pt x="694080" y="71850"/>
                  </a:cubicBezTo>
                  <a:cubicBezTo>
                    <a:pt x="717218" y="68363"/>
                    <a:pt x="740356" y="63727"/>
                    <a:pt x="763533" y="59052"/>
                  </a:cubicBezTo>
                  <a:cubicBezTo>
                    <a:pt x="828184" y="46095"/>
                    <a:pt x="889224" y="33851"/>
                    <a:pt x="949430" y="45698"/>
                  </a:cubicBezTo>
                  <a:cubicBezTo>
                    <a:pt x="960224" y="47838"/>
                    <a:pt x="971298" y="40666"/>
                    <a:pt x="973520" y="29571"/>
                  </a:cubicBezTo>
                  <a:cubicBezTo>
                    <a:pt x="975703" y="18436"/>
                    <a:pt x="968519" y="7698"/>
                    <a:pt x="957367" y="5480"/>
                  </a:cubicBezTo>
                  <a:close/>
                </a:path>
              </a:pathLst>
            </a:custGeom>
            <a:grpFill/>
            <a:ln w="39688" cap="flat">
              <a:noFill/>
              <a:prstDash val="solid"/>
              <a:round/>
            </a:ln>
          </p:spPr>
          <p:txBody>
            <a:bodyPr rtlCol="0" anchor="ctr"/>
            <a:lstStyle/>
            <a:p>
              <a:endParaRPr lang="en-LT"/>
            </a:p>
          </p:txBody>
        </p:sp>
        <p:sp>
          <p:nvSpPr>
            <p:cNvPr id="105" name="Freeform 104">
              <a:extLst>
                <a:ext uri="{FF2B5EF4-FFF2-40B4-BE49-F238E27FC236}">
                  <a16:creationId xmlns:a16="http://schemas.microsoft.com/office/drawing/2014/main" id="{9AD744BC-2940-694E-B3F7-AF45A05AC5DB}"/>
                </a:ext>
              </a:extLst>
            </p:cNvPr>
            <p:cNvSpPr/>
            <p:nvPr/>
          </p:nvSpPr>
          <p:spPr>
            <a:xfrm>
              <a:off x="5614402" y="3277551"/>
              <a:ext cx="1163049" cy="116781"/>
            </a:xfrm>
            <a:custGeom>
              <a:avLst/>
              <a:gdLst>
                <a:gd name="connsiteX0" fmla="*/ 1139965 w 1163049"/>
                <a:gd name="connsiteY0" fmla="*/ 105 h 116781"/>
                <a:gd name="connsiteX1" fmla="*/ 659547 w 1163049"/>
                <a:gd name="connsiteY1" fmla="*/ 60374 h 116781"/>
                <a:gd name="connsiteX2" fmla="*/ 461109 w 1163049"/>
                <a:gd name="connsiteY2" fmla="*/ 75669 h 116781"/>
                <a:gd name="connsiteX3" fmla="*/ 302597 w 1163049"/>
                <a:gd name="connsiteY3" fmla="*/ 60453 h 116781"/>
                <a:gd name="connsiteX4" fmla="*/ 15974 w 1163049"/>
                <a:gd name="connsiteY4" fmla="*/ 56451 h 116781"/>
                <a:gd name="connsiteX5" fmla="*/ 536 w 1163049"/>
                <a:gd name="connsiteY5" fmla="*/ 80939 h 116781"/>
                <a:gd name="connsiteX6" fmla="*/ 25023 w 1163049"/>
                <a:gd name="connsiteY6" fmla="*/ 96392 h 116781"/>
                <a:gd name="connsiteX7" fmla="*/ 297121 w 1163049"/>
                <a:gd name="connsiteY7" fmla="*/ 101068 h 116781"/>
                <a:gd name="connsiteX8" fmla="*/ 460316 w 1163049"/>
                <a:gd name="connsiteY8" fmla="*/ 116601 h 116781"/>
                <a:gd name="connsiteX9" fmla="*/ 475000 w 1163049"/>
                <a:gd name="connsiteY9" fmla="*/ 116759 h 116781"/>
                <a:gd name="connsiteX10" fmla="*/ 664746 w 1163049"/>
                <a:gd name="connsiteY10" fmla="*/ 100989 h 116781"/>
                <a:gd name="connsiteX11" fmla="*/ 1145124 w 1163049"/>
                <a:gd name="connsiteY11" fmla="*/ 40720 h 116781"/>
                <a:gd name="connsiteX12" fmla="*/ 1162904 w 1163049"/>
                <a:gd name="connsiteY12" fmla="*/ 17857 h 116781"/>
                <a:gd name="connsiteX13" fmla="*/ 1139965 w 1163049"/>
                <a:gd name="connsiteY13" fmla="*/ 105 h 11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3049" h="116781">
                  <a:moveTo>
                    <a:pt x="1139965" y="105"/>
                  </a:moveTo>
                  <a:lnTo>
                    <a:pt x="659547" y="60374"/>
                  </a:lnTo>
                  <a:cubicBezTo>
                    <a:pt x="594340" y="68537"/>
                    <a:pt x="527110" y="77056"/>
                    <a:pt x="461109" y="75669"/>
                  </a:cubicBezTo>
                  <a:cubicBezTo>
                    <a:pt x="408722" y="74639"/>
                    <a:pt x="354786" y="67427"/>
                    <a:pt x="302597" y="60453"/>
                  </a:cubicBezTo>
                  <a:cubicBezTo>
                    <a:pt x="208498" y="47932"/>
                    <a:pt x="111304" y="34935"/>
                    <a:pt x="15974" y="56451"/>
                  </a:cubicBezTo>
                  <a:cubicBezTo>
                    <a:pt x="4941" y="58947"/>
                    <a:pt x="-2005" y="69884"/>
                    <a:pt x="536" y="80939"/>
                  </a:cubicBezTo>
                  <a:cubicBezTo>
                    <a:pt x="2956" y="91954"/>
                    <a:pt x="13910" y="98928"/>
                    <a:pt x="25023" y="96392"/>
                  </a:cubicBezTo>
                  <a:cubicBezTo>
                    <a:pt x="113129" y="76541"/>
                    <a:pt x="202545" y="88467"/>
                    <a:pt x="297121" y="101068"/>
                  </a:cubicBezTo>
                  <a:cubicBezTo>
                    <a:pt x="350500" y="108200"/>
                    <a:pt x="405587" y="115531"/>
                    <a:pt x="460316" y="116601"/>
                  </a:cubicBezTo>
                  <a:cubicBezTo>
                    <a:pt x="465197" y="116719"/>
                    <a:pt x="470119" y="116759"/>
                    <a:pt x="475000" y="116759"/>
                  </a:cubicBezTo>
                  <a:cubicBezTo>
                    <a:pt x="538937" y="116759"/>
                    <a:pt x="602794" y="108755"/>
                    <a:pt x="664746" y="100989"/>
                  </a:cubicBezTo>
                  <a:lnTo>
                    <a:pt x="1145124" y="40720"/>
                  </a:lnTo>
                  <a:cubicBezTo>
                    <a:pt x="1156316" y="39294"/>
                    <a:pt x="1164293" y="29071"/>
                    <a:pt x="1162904" y="17857"/>
                  </a:cubicBezTo>
                  <a:cubicBezTo>
                    <a:pt x="1161436" y="6643"/>
                    <a:pt x="1151038" y="-1123"/>
                    <a:pt x="1139965" y="105"/>
                  </a:cubicBezTo>
                  <a:close/>
                </a:path>
              </a:pathLst>
            </a:custGeom>
            <a:grpFill/>
            <a:ln w="39688" cap="flat">
              <a:noFill/>
              <a:prstDash val="solid"/>
              <a:round/>
            </a:ln>
          </p:spPr>
          <p:txBody>
            <a:bodyPr rtlCol="0" anchor="ctr"/>
            <a:lstStyle/>
            <a:p>
              <a:endParaRPr lang="en-LT"/>
            </a:p>
          </p:txBody>
        </p:sp>
        <p:sp>
          <p:nvSpPr>
            <p:cNvPr id="106" name="Freeform 105">
              <a:extLst>
                <a:ext uri="{FF2B5EF4-FFF2-40B4-BE49-F238E27FC236}">
                  <a16:creationId xmlns:a16="http://schemas.microsoft.com/office/drawing/2014/main" id="{06B14613-55B4-B14F-BBE4-9BAFC777980C}"/>
                </a:ext>
              </a:extLst>
            </p:cNvPr>
            <p:cNvSpPr/>
            <p:nvPr/>
          </p:nvSpPr>
          <p:spPr>
            <a:xfrm>
              <a:off x="5009734" y="1528902"/>
              <a:ext cx="2224912" cy="3839904"/>
            </a:xfrm>
            <a:custGeom>
              <a:avLst/>
              <a:gdLst>
                <a:gd name="connsiteX0" fmla="*/ 1842376 w 2224912"/>
                <a:gd name="connsiteY0" fmla="*/ 3722803 h 3839904"/>
                <a:gd name="connsiteX1" fmla="*/ 1821421 w 2224912"/>
                <a:gd name="connsiteY1" fmla="*/ 3725180 h 3839904"/>
                <a:gd name="connsiteX2" fmla="*/ 1829954 w 2224912"/>
                <a:gd name="connsiteY2" fmla="*/ 3727241 h 3839904"/>
                <a:gd name="connsiteX3" fmla="*/ 1833883 w 2224912"/>
                <a:gd name="connsiteY3" fmla="*/ 3726924 h 3839904"/>
                <a:gd name="connsiteX4" fmla="*/ 1842376 w 2224912"/>
                <a:gd name="connsiteY4" fmla="*/ 3722803 h 3839904"/>
                <a:gd name="connsiteX5" fmla="*/ 1773797 w 2224912"/>
                <a:gd name="connsiteY5" fmla="*/ 3439490 h 3839904"/>
                <a:gd name="connsiteX6" fmla="*/ 1773876 w 2224912"/>
                <a:gd name="connsiteY6" fmla="*/ 3439370 h 3839904"/>
                <a:gd name="connsiteX7" fmla="*/ 1773916 w 2224912"/>
                <a:gd name="connsiteY7" fmla="*/ 3439925 h 3839904"/>
                <a:gd name="connsiteX8" fmla="*/ 1773797 w 2224912"/>
                <a:gd name="connsiteY8" fmla="*/ 3439490 h 3839904"/>
                <a:gd name="connsiteX9" fmla="*/ 1507652 w 2224912"/>
                <a:gd name="connsiteY9" fmla="*/ 2053671 h 3839904"/>
                <a:gd name="connsiteX10" fmla="*/ 1590043 w 2224912"/>
                <a:gd name="connsiteY10" fmla="*/ 2050541 h 3839904"/>
                <a:gd name="connsiteX11" fmla="*/ 1749309 w 2224912"/>
                <a:gd name="connsiteY11" fmla="*/ 3253929 h 3839904"/>
                <a:gd name="connsiteX12" fmla="*/ 1507652 w 2224912"/>
                <a:gd name="connsiteY12" fmla="*/ 2053671 h 3839904"/>
                <a:gd name="connsiteX13" fmla="*/ 1620127 w 2224912"/>
                <a:gd name="connsiteY13" fmla="*/ 2899807 h 3839904"/>
                <a:gd name="connsiteX14" fmla="*/ 1414466 w 2224912"/>
                <a:gd name="connsiteY14" fmla="*/ 2057198 h 3839904"/>
                <a:gd name="connsiteX15" fmla="*/ 1465901 w 2224912"/>
                <a:gd name="connsiteY15" fmla="*/ 2055216 h 3839904"/>
                <a:gd name="connsiteX16" fmla="*/ 1698073 w 2224912"/>
                <a:gd name="connsiteY16" fmla="*/ 3191125 h 3839904"/>
                <a:gd name="connsiteX17" fmla="*/ 1620127 w 2224912"/>
                <a:gd name="connsiteY17" fmla="*/ 2899807 h 3839904"/>
                <a:gd name="connsiteX18" fmla="*/ 1029616 w 2224912"/>
                <a:gd name="connsiteY18" fmla="*/ 2030887 h 3839904"/>
                <a:gd name="connsiteX19" fmla="*/ 1028187 w 2224912"/>
                <a:gd name="connsiteY19" fmla="*/ 2030729 h 3839904"/>
                <a:gd name="connsiteX20" fmla="*/ 1027314 w 2224912"/>
                <a:gd name="connsiteY20" fmla="*/ 2030966 h 3839904"/>
                <a:gd name="connsiteX21" fmla="*/ 133630 w 2224912"/>
                <a:gd name="connsiteY21" fmla="*/ 2064568 h 3839904"/>
                <a:gd name="connsiteX22" fmla="*/ 107952 w 2224912"/>
                <a:gd name="connsiteY22" fmla="*/ 2066747 h 3839904"/>
                <a:gd name="connsiteX23" fmla="*/ 82076 w 2224912"/>
                <a:gd name="connsiteY23" fmla="*/ 2068689 h 3839904"/>
                <a:gd name="connsiteX24" fmla="*/ 47032 w 2224912"/>
                <a:gd name="connsiteY24" fmla="*/ 2052800 h 3839904"/>
                <a:gd name="connsiteX25" fmla="*/ 40920 w 2224912"/>
                <a:gd name="connsiteY25" fmla="*/ 2029342 h 3839904"/>
                <a:gd name="connsiteX26" fmla="*/ 2178213 w 2224912"/>
                <a:gd name="connsiteY26" fmla="*/ 1974343 h 3839904"/>
                <a:gd name="connsiteX27" fmla="*/ 2178649 w 2224912"/>
                <a:gd name="connsiteY27" fmla="*/ 1988291 h 3839904"/>
                <a:gd name="connsiteX28" fmla="*/ 1718948 w 2224912"/>
                <a:gd name="connsiteY28" fmla="*/ 2004973 h 3839904"/>
                <a:gd name="connsiteX29" fmla="*/ 1029616 w 2224912"/>
                <a:gd name="connsiteY29" fmla="*/ 2030887 h 3839904"/>
                <a:gd name="connsiteX30" fmla="*/ 1126969 w 2224912"/>
                <a:gd name="connsiteY30" fmla="*/ 2505705 h 3839904"/>
                <a:gd name="connsiteX31" fmla="*/ 1110697 w 2224912"/>
                <a:gd name="connsiteY31" fmla="*/ 2068649 h 3839904"/>
                <a:gd name="connsiteX32" fmla="*/ 1152131 w 2224912"/>
                <a:gd name="connsiteY32" fmla="*/ 2067104 h 3839904"/>
                <a:gd name="connsiteX33" fmla="*/ 1126969 w 2224912"/>
                <a:gd name="connsiteY33" fmla="*/ 2505705 h 3839904"/>
                <a:gd name="connsiteX34" fmla="*/ 1051801 w 2224912"/>
                <a:gd name="connsiteY34" fmla="*/ 2070908 h 3839904"/>
                <a:gd name="connsiteX35" fmla="*/ 1069740 w 2224912"/>
                <a:gd name="connsiteY35" fmla="*/ 2070195 h 3839904"/>
                <a:gd name="connsiteX36" fmla="*/ 1087797 w 2224912"/>
                <a:gd name="connsiteY36" fmla="*/ 2555948 h 3839904"/>
                <a:gd name="connsiteX37" fmla="*/ 1051801 w 2224912"/>
                <a:gd name="connsiteY37" fmla="*/ 2070908 h 3839904"/>
                <a:gd name="connsiteX38" fmla="*/ 764185 w 2224912"/>
                <a:gd name="connsiteY38" fmla="*/ 2083310 h 3839904"/>
                <a:gd name="connsiteX39" fmla="*/ 668657 w 2224912"/>
                <a:gd name="connsiteY39" fmla="*/ 2447299 h 3839904"/>
                <a:gd name="connsiteX40" fmla="*/ 623771 w 2224912"/>
                <a:gd name="connsiteY40" fmla="*/ 2625568 h 3839904"/>
                <a:gd name="connsiteX41" fmla="*/ 539991 w 2224912"/>
                <a:gd name="connsiteY41" fmla="*/ 2886256 h 3839904"/>
                <a:gd name="connsiteX42" fmla="*/ 468751 w 2224912"/>
                <a:gd name="connsiteY42" fmla="*/ 3100662 h 3839904"/>
                <a:gd name="connsiteX43" fmla="*/ 464783 w 2224912"/>
                <a:gd name="connsiteY43" fmla="*/ 3114214 h 3839904"/>
                <a:gd name="connsiteX44" fmla="*/ 689850 w 2224912"/>
                <a:gd name="connsiteY44" fmla="*/ 2084539 h 3839904"/>
                <a:gd name="connsiteX45" fmla="*/ 765019 w 2224912"/>
                <a:gd name="connsiteY45" fmla="*/ 2081685 h 3839904"/>
                <a:gd name="connsiteX46" fmla="*/ 764185 w 2224912"/>
                <a:gd name="connsiteY46" fmla="*/ 2083310 h 3839904"/>
                <a:gd name="connsiteX47" fmla="*/ 578527 w 2224912"/>
                <a:gd name="connsiteY47" fmla="*/ 2092305 h 3839904"/>
                <a:gd name="connsiteX48" fmla="*/ 578368 w 2224912"/>
                <a:gd name="connsiteY48" fmla="*/ 2088778 h 3839904"/>
                <a:gd name="connsiteX49" fmla="*/ 647583 w 2224912"/>
                <a:gd name="connsiteY49" fmla="*/ 2086123 h 3839904"/>
                <a:gd name="connsiteX50" fmla="*/ 393464 w 2224912"/>
                <a:gd name="connsiteY50" fmla="*/ 3248699 h 3839904"/>
                <a:gd name="connsiteX51" fmla="*/ 578527 w 2224912"/>
                <a:gd name="connsiteY51" fmla="*/ 2092305 h 3839904"/>
                <a:gd name="connsiteX52" fmla="*/ 353856 w 2224912"/>
                <a:gd name="connsiteY52" fmla="*/ 3496271 h 3839904"/>
                <a:gd name="connsiteX53" fmla="*/ 354491 w 2224912"/>
                <a:gd name="connsiteY53" fmla="*/ 3492189 h 3839904"/>
                <a:gd name="connsiteX54" fmla="*/ 354967 w 2224912"/>
                <a:gd name="connsiteY54" fmla="*/ 3492428 h 3839904"/>
                <a:gd name="connsiteX55" fmla="*/ 353856 w 2224912"/>
                <a:gd name="connsiteY55" fmla="*/ 3496271 h 3839904"/>
                <a:gd name="connsiteX56" fmla="*/ 49175 w 2224912"/>
                <a:gd name="connsiteY56" fmla="*/ 1968123 h 3839904"/>
                <a:gd name="connsiteX57" fmla="*/ 92236 w 2224912"/>
                <a:gd name="connsiteY57" fmla="*/ 1956473 h 3839904"/>
                <a:gd name="connsiteX58" fmla="*/ 211298 w 2224912"/>
                <a:gd name="connsiteY58" fmla="*/ 1944744 h 3839904"/>
                <a:gd name="connsiteX59" fmla="*/ 230110 w 2224912"/>
                <a:gd name="connsiteY59" fmla="*/ 1957107 h 3839904"/>
                <a:gd name="connsiteX60" fmla="*/ 248882 w 2224912"/>
                <a:gd name="connsiteY60" fmla="*/ 1944744 h 3839904"/>
                <a:gd name="connsiteX61" fmla="*/ 312263 w 2224912"/>
                <a:gd name="connsiteY61" fmla="*/ 1946052 h 3839904"/>
                <a:gd name="connsiteX62" fmla="*/ 422039 w 2224912"/>
                <a:gd name="connsiteY62" fmla="*/ 1947439 h 3839904"/>
                <a:gd name="connsiteX63" fmla="*/ 1117166 w 2224912"/>
                <a:gd name="connsiteY63" fmla="*/ 1930599 h 3839904"/>
                <a:gd name="connsiteX64" fmla="*/ 1840829 w 2224912"/>
                <a:gd name="connsiteY64" fmla="*/ 1913362 h 3839904"/>
                <a:gd name="connsiteX65" fmla="*/ 1944572 w 2224912"/>
                <a:gd name="connsiteY65" fmla="*/ 1904248 h 3839904"/>
                <a:gd name="connsiteX66" fmla="*/ 2092170 w 2224912"/>
                <a:gd name="connsiteY66" fmla="*/ 1896878 h 3839904"/>
                <a:gd name="connsiteX67" fmla="*/ 2172061 w 2224912"/>
                <a:gd name="connsiteY67" fmla="*/ 1933531 h 3839904"/>
                <a:gd name="connsiteX68" fmla="*/ 41912 w 2224912"/>
                <a:gd name="connsiteY68" fmla="*/ 1988371 h 3839904"/>
                <a:gd name="connsiteX69" fmla="*/ 49175 w 2224912"/>
                <a:gd name="connsiteY69" fmla="*/ 1968123 h 3839904"/>
                <a:gd name="connsiteX70" fmla="*/ 244557 w 2224912"/>
                <a:gd name="connsiteY70" fmla="*/ 317694 h 3839904"/>
                <a:gd name="connsiteX71" fmla="*/ 1029695 w 2224912"/>
                <a:gd name="connsiteY71" fmla="*/ 278427 h 3839904"/>
                <a:gd name="connsiteX72" fmla="*/ 1029854 w 2224912"/>
                <a:gd name="connsiteY72" fmla="*/ 278427 h 3839904"/>
                <a:gd name="connsiteX73" fmla="*/ 1095021 w 2224912"/>
                <a:gd name="connsiteY73" fmla="*/ 273513 h 3839904"/>
                <a:gd name="connsiteX74" fmla="*/ 1581312 w 2224912"/>
                <a:gd name="connsiteY74" fmla="*/ 239991 h 3839904"/>
                <a:gd name="connsiteX75" fmla="*/ 1961042 w 2224912"/>
                <a:gd name="connsiteY75" fmla="*/ 275098 h 3839904"/>
                <a:gd name="connsiteX76" fmla="*/ 1974536 w 2224912"/>
                <a:gd name="connsiteY76" fmla="*/ 881943 h 3839904"/>
                <a:gd name="connsiteX77" fmla="*/ 1983387 w 2224912"/>
                <a:gd name="connsiteY77" fmla="*/ 1032515 h 3839904"/>
                <a:gd name="connsiteX78" fmla="*/ 1982632 w 2224912"/>
                <a:gd name="connsiteY78" fmla="*/ 1471433 h 3839904"/>
                <a:gd name="connsiteX79" fmla="*/ 1963265 w 2224912"/>
                <a:gd name="connsiteY79" fmla="*/ 1860900 h 3839904"/>
                <a:gd name="connsiteX80" fmla="*/ 1939690 w 2224912"/>
                <a:gd name="connsiteY80" fmla="*/ 1863594 h 3839904"/>
                <a:gd name="connsiteX81" fmla="*/ 1839876 w 2224912"/>
                <a:gd name="connsiteY81" fmla="*/ 1872390 h 3839904"/>
                <a:gd name="connsiteX82" fmla="*/ 1116174 w 2224912"/>
                <a:gd name="connsiteY82" fmla="*/ 1889667 h 3839904"/>
                <a:gd name="connsiteX83" fmla="*/ 420968 w 2224912"/>
                <a:gd name="connsiteY83" fmla="*/ 1906467 h 3839904"/>
                <a:gd name="connsiteX84" fmla="*/ 313534 w 2224912"/>
                <a:gd name="connsiteY84" fmla="*/ 1905160 h 3839904"/>
                <a:gd name="connsiteX85" fmla="*/ 250589 w 2224912"/>
                <a:gd name="connsiteY85" fmla="*/ 1903852 h 3839904"/>
                <a:gd name="connsiteX86" fmla="*/ 250391 w 2224912"/>
                <a:gd name="connsiteY86" fmla="*/ 1308181 h 3839904"/>
                <a:gd name="connsiteX87" fmla="*/ 247374 w 2224912"/>
                <a:gd name="connsiteY87" fmla="*/ 1139540 h 3839904"/>
                <a:gd name="connsiteX88" fmla="*/ 244557 w 2224912"/>
                <a:gd name="connsiteY88" fmla="*/ 317694 h 3839904"/>
                <a:gd name="connsiteX89" fmla="*/ 1059342 w 2224912"/>
                <a:gd name="connsiteY89" fmla="*/ 61444 h 3839904"/>
                <a:gd name="connsiteX90" fmla="*/ 1067517 w 2224912"/>
                <a:gd name="connsiteY90" fmla="*/ 53321 h 3839904"/>
                <a:gd name="connsiteX91" fmla="*/ 1064541 w 2224912"/>
                <a:gd name="connsiteY91" fmla="*/ 234721 h 3839904"/>
                <a:gd name="connsiteX92" fmla="*/ 1049737 w 2224912"/>
                <a:gd name="connsiteY92" fmla="*/ 235830 h 3839904"/>
                <a:gd name="connsiteX93" fmla="*/ 1049181 w 2224912"/>
                <a:gd name="connsiteY93" fmla="*/ 219069 h 3839904"/>
                <a:gd name="connsiteX94" fmla="*/ 1059342 w 2224912"/>
                <a:gd name="connsiteY94" fmla="*/ 61444 h 3839904"/>
                <a:gd name="connsiteX95" fmla="*/ 1108752 w 2224912"/>
                <a:gd name="connsiteY95" fmla="*/ 41355 h 3839904"/>
                <a:gd name="connsiteX96" fmla="*/ 1157886 w 2224912"/>
                <a:gd name="connsiteY96" fmla="*/ 64891 h 3839904"/>
                <a:gd name="connsiteX97" fmla="*/ 1158838 w 2224912"/>
                <a:gd name="connsiteY97" fmla="*/ 162208 h 3839904"/>
                <a:gd name="connsiteX98" fmla="*/ 1153084 w 2224912"/>
                <a:gd name="connsiteY98" fmla="*/ 214988 h 3839904"/>
                <a:gd name="connsiteX99" fmla="*/ 1157886 w 2224912"/>
                <a:gd name="connsiteY99" fmla="*/ 227707 h 3839904"/>
                <a:gd name="connsiteX100" fmla="*/ 1105617 w 2224912"/>
                <a:gd name="connsiteY100" fmla="*/ 231630 h 3839904"/>
                <a:gd name="connsiteX101" fmla="*/ 1108752 w 2224912"/>
                <a:gd name="connsiteY101" fmla="*/ 41355 h 3839904"/>
                <a:gd name="connsiteX102" fmla="*/ 1808126 w 2224912"/>
                <a:gd name="connsiteY102" fmla="*/ 3705011 h 3839904"/>
                <a:gd name="connsiteX103" fmla="*/ 1849798 w 2224912"/>
                <a:gd name="connsiteY103" fmla="*/ 3700533 h 3839904"/>
                <a:gd name="connsiteX104" fmla="*/ 1631239 w 2224912"/>
                <a:gd name="connsiteY104" fmla="*/ 2048996 h 3839904"/>
                <a:gd name="connsiteX105" fmla="*/ 1662830 w 2224912"/>
                <a:gd name="connsiteY105" fmla="*/ 2047807 h 3839904"/>
                <a:gd name="connsiteX106" fmla="*/ 1720297 w 2224912"/>
                <a:gd name="connsiteY106" fmla="*/ 2045905 h 3839904"/>
                <a:gd name="connsiteX107" fmla="*/ 2040060 w 2224912"/>
                <a:gd name="connsiteY107" fmla="*/ 2034850 h 3839904"/>
                <a:gd name="connsiteX108" fmla="*/ 2217424 w 2224912"/>
                <a:gd name="connsiteY108" fmla="*/ 1969034 h 3839904"/>
                <a:gd name="connsiteX109" fmla="*/ 2216074 w 2224912"/>
                <a:gd name="connsiteY109" fmla="*/ 1935670 h 3839904"/>
                <a:gd name="connsiteX110" fmla="*/ 2095940 w 2224912"/>
                <a:gd name="connsiteY110" fmla="*/ 1856065 h 3839904"/>
                <a:gd name="connsiteX111" fmla="*/ 2004302 w 2224912"/>
                <a:gd name="connsiteY111" fmla="*/ 1856898 h 3839904"/>
                <a:gd name="connsiteX112" fmla="*/ 2023272 w 2224912"/>
                <a:gd name="connsiteY112" fmla="*/ 1477337 h 3839904"/>
                <a:gd name="connsiteX113" fmla="*/ 2024344 w 2224912"/>
                <a:gd name="connsiteY113" fmla="*/ 1029781 h 3839904"/>
                <a:gd name="connsiteX114" fmla="*/ 2015573 w 2224912"/>
                <a:gd name="connsiteY114" fmla="*/ 880200 h 3839904"/>
                <a:gd name="connsiteX115" fmla="*/ 2001960 w 2224912"/>
                <a:gd name="connsiteY115" fmla="*/ 261388 h 3839904"/>
                <a:gd name="connsiteX116" fmla="*/ 1989816 w 2224912"/>
                <a:gd name="connsiteY116" fmla="*/ 242844 h 3839904"/>
                <a:gd name="connsiteX117" fmla="*/ 1579169 w 2224912"/>
                <a:gd name="connsiteY117" fmla="*/ 199059 h 3839904"/>
                <a:gd name="connsiteX118" fmla="*/ 1190985 w 2224912"/>
                <a:gd name="connsiteY118" fmla="*/ 225211 h 3839904"/>
                <a:gd name="connsiteX119" fmla="*/ 1194120 w 2224912"/>
                <a:gd name="connsiteY119" fmla="*/ 214988 h 3839904"/>
                <a:gd name="connsiteX120" fmla="*/ 1199399 w 2224912"/>
                <a:gd name="connsiteY120" fmla="*/ 168390 h 3839904"/>
                <a:gd name="connsiteX121" fmla="*/ 1192572 w 2224912"/>
                <a:gd name="connsiteY121" fmla="*/ 43019 h 3839904"/>
                <a:gd name="connsiteX122" fmla="*/ 1104427 w 2224912"/>
                <a:gd name="connsiteY122" fmla="*/ -13 h 3839904"/>
                <a:gd name="connsiteX123" fmla="*/ 1025052 w 2224912"/>
                <a:gd name="connsiteY123" fmla="*/ 38977 h 3839904"/>
                <a:gd name="connsiteX124" fmla="*/ 1008184 w 2224912"/>
                <a:gd name="connsiteY124" fmla="*/ 220575 h 3839904"/>
                <a:gd name="connsiteX125" fmla="*/ 1008819 w 2224912"/>
                <a:gd name="connsiteY125" fmla="*/ 238921 h 3839904"/>
                <a:gd name="connsiteX126" fmla="*/ 229793 w 2224912"/>
                <a:gd name="connsiteY126" fmla="*/ 276723 h 3839904"/>
                <a:gd name="connsiteX127" fmla="*/ 214195 w 2224912"/>
                <a:gd name="connsiteY127" fmla="*/ 283577 h 3839904"/>
                <a:gd name="connsiteX128" fmla="*/ 206337 w 2224912"/>
                <a:gd name="connsiteY128" fmla="*/ 1140372 h 3839904"/>
                <a:gd name="connsiteX129" fmla="*/ 209393 w 2224912"/>
                <a:gd name="connsiteY129" fmla="*/ 1308181 h 3839904"/>
                <a:gd name="connsiteX130" fmla="*/ 209552 w 2224912"/>
                <a:gd name="connsiteY130" fmla="*/ 1903812 h 3839904"/>
                <a:gd name="connsiteX131" fmla="*/ 22306 w 2224912"/>
                <a:gd name="connsiteY131" fmla="*/ 1932303 h 3839904"/>
                <a:gd name="connsiteX132" fmla="*/ 13893 w 2224912"/>
                <a:gd name="connsiteY132" fmla="*/ 2076931 h 3839904"/>
                <a:gd name="connsiteX133" fmla="*/ 537292 w 2224912"/>
                <a:gd name="connsiteY133" fmla="*/ 2090324 h 3839904"/>
                <a:gd name="connsiteX134" fmla="*/ 261106 w 2224912"/>
                <a:gd name="connsiteY134" fmla="*/ 3816197 h 3839904"/>
                <a:gd name="connsiteX135" fmla="*/ 276902 w 2224912"/>
                <a:gd name="connsiteY135" fmla="*/ 3839377 h 3839904"/>
                <a:gd name="connsiteX136" fmla="*/ 281386 w 2224912"/>
                <a:gd name="connsiteY136" fmla="*/ 3839892 h 3839904"/>
                <a:gd name="connsiteX137" fmla="*/ 301072 w 2224912"/>
                <a:gd name="connsiteY137" fmla="*/ 3825113 h 3839904"/>
                <a:gd name="connsiteX138" fmla="*/ 508161 w 2224912"/>
                <a:gd name="connsiteY138" fmla="*/ 3112035 h 3839904"/>
                <a:gd name="connsiteX139" fmla="*/ 578646 w 2224912"/>
                <a:gd name="connsiteY139" fmla="*/ 2899886 h 3839904"/>
                <a:gd name="connsiteX140" fmla="*/ 663498 w 2224912"/>
                <a:gd name="connsiteY140" fmla="*/ 2635791 h 3839904"/>
                <a:gd name="connsiteX141" fmla="*/ 708504 w 2224912"/>
                <a:gd name="connsiteY141" fmla="*/ 2457165 h 3839904"/>
                <a:gd name="connsiteX142" fmla="*/ 803595 w 2224912"/>
                <a:gd name="connsiteY142" fmla="*/ 2094722 h 3839904"/>
                <a:gd name="connsiteX143" fmla="*/ 802246 w 2224912"/>
                <a:gd name="connsiteY143" fmla="*/ 2080299 h 3839904"/>
                <a:gd name="connsiteX144" fmla="*/ 1010724 w 2224912"/>
                <a:gd name="connsiteY144" fmla="*/ 2072454 h 3839904"/>
                <a:gd name="connsiteX145" fmla="*/ 1090377 w 2224912"/>
                <a:gd name="connsiteY145" fmla="*/ 3145161 h 3839904"/>
                <a:gd name="connsiteX146" fmla="*/ 1111015 w 2224912"/>
                <a:gd name="connsiteY146" fmla="*/ 3164101 h 3839904"/>
                <a:gd name="connsiteX147" fmla="*/ 1131335 w 2224912"/>
                <a:gd name="connsiteY147" fmla="*/ 3144844 h 3839904"/>
                <a:gd name="connsiteX148" fmla="*/ 1193327 w 2224912"/>
                <a:gd name="connsiteY148" fmla="*/ 2065519 h 3839904"/>
                <a:gd name="connsiteX149" fmla="*/ 1372476 w 2224912"/>
                <a:gd name="connsiteY149" fmla="*/ 2058783 h 3839904"/>
                <a:gd name="connsiteX150" fmla="*/ 1580082 w 2224912"/>
                <a:gd name="connsiteY150" fmla="*/ 2908762 h 3839904"/>
                <a:gd name="connsiteX151" fmla="*/ 1711090 w 2224912"/>
                <a:gd name="connsiteY151" fmla="*/ 3375337 h 3839904"/>
                <a:gd name="connsiteX152" fmla="*/ 1808126 w 2224912"/>
                <a:gd name="connsiteY152" fmla="*/ 3705011 h 383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2224912" h="3839904">
                  <a:moveTo>
                    <a:pt x="1842376" y="3722803"/>
                  </a:moveTo>
                  <a:cubicBezTo>
                    <a:pt x="1874285" y="3719554"/>
                    <a:pt x="1676522" y="3744517"/>
                    <a:pt x="1821421" y="3725180"/>
                  </a:cubicBezTo>
                  <a:cubicBezTo>
                    <a:pt x="1824081" y="3726409"/>
                    <a:pt x="1826898" y="3727241"/>
                    <a:pt x="1829954" y="3727241"/>
                  </a:cubicBezTo>
                  <a:cubicBezTo>
                    <a:pt x="1831225" y="3727241"/>
                    <a:pt x="1832574" y="3727122"/>
                    <a:pt x="1833883" y="3726924"/>
                  </a:cubicBezTo>
                  <a:cubicBezTo>
                    <a:pt x="1837138" y="3726250"/>
                    <a:pt x="1839916" y="3724705"/>
                    <a:pt x="1842376" y="3722803"/>
                  </a:cubicBezTo>
                  <a:close/>
                  <a:moveTo>
                    <a:pt x="1773797" y="3439490"/>
                  </a:moveTo>
                  <a:cubicBezTo>
                    <a:pt x="1773836" y="3439450"/>
                    <a:pt x="1773836" y="3439410"/>
                    <a:pt x="1773876" y="3439370"/>
                  </a:cubicBezTo>
                  <a:lnTo>
                    <a:pt x="1773916" y="3439925"/>
                  </a:lnTo>
                  <a:cubicBezTo>
                    <a:pt x="1773876" y="3439767"/>
                    <a:pt x="1773836" y="3439648"/>
                    <a:pt x="1773797" y="3439490"/>
                  </a:cubicBezTo>
                  <a:close/>
                  <a:moveTo>
                    <a:pt x="1507652" y="2053671"/>
                  </a:moveTo>
                  <a:lnTo>
                    <a:pt x="1590043" y="2050541"/>
                  </a:lnTo>
                  <a:lnTo>
                    <a:pt x="1749309" y="3253929"/>
                  </a:lnTo>
                  <a:cubicBezTo>
                    <a:pt x="1685532" y="2850634"/>
                    <a:pt x="1605521" y="2450191"/>
                    <a:pt x="1507652" y="2053671"/>
                  </a:cubicBezTo>
                  <a:close/>
                  <a:moveTo>
                    <a:pt x="1620127" y="2899807"/>
                  </a:moveTo>
                  <a:cubicBezTo>
                    <a:pt x="1555554" y="2613284"/>
                    <a:pt x="1486340" y="2330130"/>
                    <a:pt x="1414466" y="2057198"/>
                  </a:cubicBezTo>
                  <a:lnTo>
                    <a:pt x="1465901" y="2055216"/>
                  </a:lnTo>
                  <a:cubicBezTo>
                    <a:pt x="1558849" y="2430696"/>
                    <a:pt x="1635723" y="2809583"/>
                    <a:pt x="1698073" y="3191125"/>
                  </a:cubicBezTo>
                  <a:cubicBezTo>
                    <a:pt x="1669299" y="3094164"/>
                    <a:pt x="1641915" y="2996451"/>
                    <a:pt x="1620127" y="2899807"/>
                  </a:cubicBezTo>
                  <a:close/>
                  <a:moveTo>
                    <a:pt x="1029616" y="2030887"/>
                  </a:moveTo>
                  <a:cubicBezTo>
                    <a:pt x="1029100" y="2030887"/>
                    <a:pt x="1028703" y="2030690"/>
                    <a:pt x="1028187" y="2030729"/>
                  </a:cubicBezTo>
                  <a:cubicBezTo>
                    <a:pt x="1027909" y="2030769"/>
                    <a:pt x="1027631" y="2030927"/>
                    <a:pt x="1027314" y="2030966"/>
                  </a:cubicBezTo>
                  <a:lnTo>
                    <a:pt x="133630" y="2064568"/>
                  </a:lnTo>
                  <a:cubicBezTo>
                    <a:pt x="125057" y="2064925"/>
                    <a:pt x="116485" y="2065836"/>
                    <a:pt x="107952" y="2066747"/>
                  </a:cubicBezTo>
                  <a:cubicBezTo>
                    <a:pt x="99141" y="2067698"/>
                    <a:pt x="90450" y="2068689"/>
                    <a:pt x="82076" y="2068689"/>
                  </a:cubicBezTo>
                  <a:cubicBezTo>
                    <a:pt x="64931" y="2068689"/>
                    <a:pt x="55445" y="2064410"/>
                    <a:pt x="47032" y="2052800"/>
                  </a:cubicBezTo>
                  <a:cubicBezTo>
                    <a:pt x="43856" y="2048401"/>
                    <a:pt x="41952" y="2039565"/>
                    <a:pt x="40920" y="2029342"/>
                  </a:cubicBezTo>
                  <a:cubicBezTo>
                    <a:pt x="753351" y="2010996"/>
                    <a:pt x="1465782" y="1992690"/>
                    <a:pt x="2178213" y="1974343"/>
                  </a:cubicBezTo>
                  <a:cubicBezTo>
                    <a:pt x="2178371" y="1978900"/>
                    <a:pt x="2178609" y="1983140"/>
                    <a:pt x="2178649" y="1988291"/>
                  </a:cubicBezTo>
                  <a:cubicBezTo>
                    <a:pt x="2105148" y="1992254"/>
                    <a:pt x="1819834" y="2001645"/>
                    <a:pt x="1718948" y="2004973"/>
                  </a:cubicBezTo>
                  <a:lnTo>
                    <a:pt x="1029616" y="2030887"/>
                  </a:lnTo>
                  <a:close/>
                  <a:moveTo>
                    <a:pt x="1126969" y="2505705"/>
                  </a:moveTo>
                  <a:cubicBezTo>
                    <a:pt x="1121532" y="2360006"/>
                    <a:pt x="1116135" y="2214348"/>
                    <a:pt x="1110697" y="2068649"/>
                  </a:cubicBezTo>
                  <a:lnTo>
                    <a:pt x="1152131" y="2067104"/>
                  </a:lnTo>
                  <a:lnTo>
                    <a:pt x="1126969" y="2505705"/>
                  </a:lnTo>
                  <a:close/>
                  <a:moveTo>
                    <a:pt x="1051801" y="2070908"/>
                  </a:moveTo>
                  <a:lnTo>
                    <a:pt x="1069740" y="2070195"/>
                  </a:lnTo>
                  <a:cubicBezTo>
                    <a:pt x="1075772" y="2232099"/>
                    <a:pt x="1081805" y="2394044"/>
                    <a:pt x="1087797" y="2555948"/>
                  </a:cubicBezTo>
                  <a:lnTo>
                    <a:pt x="1051801" y="2070908"/>
                  </a:lnTo>
                  <a:close/>
                  <a:moveTo>
                    <a:pt x="764185" y="2083310"/>
                  </a:moveTo>
                  <a:cubicBezTo>
                    <a:pt x="729181" y="2203887"/>
                    <a:pt x="698423" y="2327633"/>
                    <a:pt x="668657" y="2447299"/>
                  </a:cubicBezTo>
                  <a:cubicBezTo>
                    <a:pt x="653894" y="2506775"/>
                    <a:pt x="639090" y="2566250"/>
                    <a:pt x="623771" y="2625568"/>
                  </a:cubicBezTo>
                  <a:cubicBezTo>
                    <a:pt x="600832" y="2714247"/>
                    <a:pt x="569875" y="2801698"/>
                    <a:pt x="539991" y="2886256"/>
                  </a:cubicBezTo>
                  <a:cubicBezTo>
                    <a:pt x="515424" y="2955757"/>
                    <a:pt x="489945" y="3027635"/>
                    <a:pt x="468751" y="3100662"/>
                  </a:cubicBezTo>
                  <a:lnTo>
                    <a:pt x="464783" y="3114214"/>
                  </a:lnTo>
                  <a:cubicBezTo>
                    <a:pt x="539832" y="2770989"/>
                    <a:pt x="614841" y="2427764"/>
                    <a:pt x="689850" y="2084539"/>
                  </a:cubicBezTo>
                  <a:lnTo>
                    <a:pt x="765019" y="2081685"/>
                  </a:lnTo>
                  <a:cubicBezTo>
                    <a:pt x="764781" y="2082320"/>
                    <a:pt x="764344" y="2082716"/>
                    <a:pt x="764185" y="2083310"/>
                  </a:cubicBezTo>
                  <a:close/>
                  <a:moveTo>
                    <a:pt x="578527" y="2092305"/>
                  </a:moveTo>
                  <a:cubicBezTo>
                    <a:pt x="578726" y="2091037"/>
                    <a:pt x="578408" y="2089928"/>
                    <a:pt x="578368" y="2088778"/>
                  </a:cubicBezTo>
                  <a:lnTo>
                    <a:pt x="647583" y="2086123"/>
                  </a:lnTo>
                  <a:cubicBezTo>
                    <a:pt x="562851" y="2473688"/>
                    <a:pt x="478157" y="2861174"/>
                    <a:pt x="393464" y="3248699"/>
                  </a:cubicBezTo>
                  <a:lnTo>
                    <a:pt x="578527" y="2092305"/>
                  </a:lnTo>
                  <a:close/>
                  <a:moveTo>
                    <a:pt x="353856" y="3496271"/>
                  </a:moveTo>
                  <a:lnTo>
                    <a:pt x="354491" y="3492189"/>
                  </a:lnTo>
                  <a:cubicBezTo>
                    <a:pt x="354650" y="3492308"/>
                    <a:pt x="354809" y="3492348"/>
                    <a:pt x="354967" y="3492428"/>
                  </a:cubicBezTo>
                  <a:lnTo>
                    <a:pt x="353856" y="3496271"/>
                  </a:lnTo>
                  <a:close/>
                  <a:moveTo>
                    <a:pt x="49175" y="1968123"/>
                  </a:moveTo>
                  <a:cubicBezTo>
                    <a:pt x="52945" y="1964952"/>
                    <a:pt x="69892" y="1961307"/>
                    <a:pt x="92236" y="1956473"/>
                  </a:cubicBezTo>
                  <a:cubicBezTo>
                    <a:pt x="125970" y="1949222"/>
                    <a:pt x="164546" y="1945537"/>
                    <a:pt x="211298" y="1944744"/>
                  </a:cubicBezTo>
                  <a:cubicBezTo>
                    <a:pt x="214434" y="1951996"/>
                    <a:pt x="221657" y="1957107"/>
                    <a:pt x="230110" y="1957107"/>
                  </a:cubicBezTo>
                  <a:cubicBezTo>
                    <a:pt x="238524" y="1957107"/>
                    <a:pt x="245747" y="1951996"/>
                    <a:pt x="248882" y="1944744"/>
                  </a:cubicBezTo>
                  <a:cubicBezTo>
                    <a:pt x="269996" y="1945022"/>
                    <a:pt x="291189" y="1945418"/>
                    <a:pt x="312263" y="1946052"/>
                  </a:cubicBezTo>
                  <a:cubicBezTo>
                    <a:pt x="349292" y="1947241"/>
                    <a:pt x="386201" y="1948350"/>
                    <a:pt x="422039" y="1947439"/>
                  </a:cubicBezTo>
                  <a:cubicBezTo>
                    <a:pt x="653695" y="1941455"/>
                    <a:pt x="885470" y="1935988"/>
                    <a:pt x="1117166" y="1930599"/>
                  </a:cubicBezTo>
                  <a:lnTo>
                    <a:pt x="1840829" y="1913362"/>
                  </a:lnTo>
                  <a:cubicBezTo>
                    <a:pt x="1875714" y="1912530"/>
                    <a:pt x="1910718" y="1908329"/>
                    <a:pt x="1944572" y="1904248"/>
                  </a:cubicBezTo>
                  <a:cubicBezTo>
                    <a:pt x="1993348" y="1898384"/>
                    <a:pt x="2043354" y="1892242"/>
                    <a:pt x="2092170" y="1896878"/>
                  </a:cubicBezTo>
                  <a:cubicBezTo>
                    <a:pt x="2141581" y="1901396"/>
                    <a:pt x="2162893" y="1908964"/>
                    <a:pt x="2172061" y="1933531"/>
                  </a:cubicBezTo>
                  <a:cubicBezTo>
                    <a:pt x="1462011" y="1951837"/>
                    <a:pt x="751962" y="1970104"/>
                    <a:pt x="41912" y="1988371"/>
                  </a:cubicBezTo>
                  <a:cubicBezTo>
                    <a:pt x="43460" y="1978742"/>
                    <a:pt x="45841" y="1970936"/>
                    <a:pt x="49175" y="1968123"/>
                  </a:cubicBezTo>
                  <a:close/>
                  <a:moveTo>
                    <a:pt x="244557" y="317694"/>
                  </a:moveTo>
                  <a:cubicBezTo>
                    <a:pt x="508915" y="317021"/>
                    <a:pt x="772798" y="298080"/>
                    <a:pt x="1029695" y="278427"/>
                  </a:cubicBezTo>
                  <a:lnTo>
                    <a:pt x="1029854" y="278427"/>
                  </a:lnTo>
                  <a:cubicBezTo>
                    <a:pt x="1051483" y="276762"/>
                    <a:pt x="1073470" y="275138"/>
                    <a:pt x="1095021" y="273513"/>
                  </a:cubicBezTo>
                  <a:cubicBezTo>
                    <a:pt x="1253850" y="261229"/>
                    <a:pt x="1418157" y="248589"/>
                    <a:pt x="1581312" y="239991"/>
                  </a:cubicBezTo>
                  <a:cubicBezTo>
                    <a:pt x="1703510" y="233532"/>
                    <a:pt x="1841543" y="226281"/>
                    <a:pt x="1961042" y="275098"/>
                  </a:cubicBezTo>
                  <a:cubicBezTo>
                    <a:pt x="1962987" y="519421"/>
                    <a:pt x="1967194" y="707041"/>
                    <a:pt x="1974536" y="881943"/>
                  </a:cubicBezTo>
                  <a:cubicBezTo>
                    <a:pt x="1976679" y="931434"/>
                    <a:pt x="1980013" y="981796"/>
                    <a:pt x="1983387" y="1032515"/>
                  </a:cubicBezTo>
                  <a:cubicBezTo>
                    <a:pt x="1993149" y="1178689"/>
                    <a:pt x="2003230" y="1329855"/>
                    <a:pt x="1982632" y="1471433"/>
                  </a:cubicBezTo>
                  <a:cubicBezTo>
                    <a:pt x="1963900" y="1600846"/>
                    <a:pt x="1963304" y="1726454"/>
                    <a:pt x="1963265" y="1860900"/>
                  </a:cubicBezTo>
                  <a:cubicBezTo>
                    <a:pt x="1955407" y="1861771"/>
                    <a:pt x="1947509" y="1862643"/>
                    <a:pt x="1939690" y="1863594"/>
                  </a:cubicBezTo>
                  <a:cubicBezTo>
                    <a:pt x="1906829" y="1867556"/>
                    <a:pt x="1872817" y="1871598"/>
                    <a:pt x="1839876" y="1872390"/>
                  </a:cubicBezTo>
                  <a:lnTo>
                    <a:pt x="1116174" y="1889667"/>
                  </a:lnTo>
                  <a:cubicBezTo>
                    <a:pt x="884478" y="1895095"/>
                    <a:pt x="652703" y="1900484"/>
                    <a:pt x="420968" y="1906467"/>
                  </a:cubicBezTo>
                  <a:cubicBezTo>
                    <a:pt x="385725" y="1907418"/>
                    <a:pt x="349768" y="1906230"/>
                    <a:pt x="313534" y="1905160"/>
                  </a:cubicBezTo>
                  <a:cubicBezTo>
                    <a:pt x="292618" y="1904486"/>
                    <a:pt x="271584" y="1904130"/>
                    <a:pt x="250589" y="1903852"/>
                  </a:cubicBezTo>
                  <a:lnTo>
                    <a:pt x="250391" y="1308181"/>
                  </a:lnTo>
                  <a:cubicBezTo>
                    <a:pt x="250391" y="1284961"/>
                    <a:pt x="249081" y="1222632"/>
                    <a:pt x="247374" y="1139540"/>
                  </a:cubicBezTo>
                  <a:cubicBezTo>
                    <a:pt x="242651" y="915228"/>
                    <a:pt x="231976" y="404709"/>
                    <a:pt x="244557" y="317694"/>
                  </a:cubicBezTo>
                  <a:close/>
                  <a:moveTo>
                    <a:pt x="1059342" y="61444"/>
                  </a:moveTo>
                  <a:cubicBezTo>
                    <a:pt x="1061604" y="57997"/>
                    <a:pt x="1064580" y="55699"/>
                    <a:pt x="1067517" y="53321"/>
                  </a:cubicBezTo>
                  <a:cubicBezTo>
                    <a:pt x="1066525" y="113787"/>
                    <a:pt x="1065533" y="174254"/>
                    <a:pt x="1064541" y="234721"/>
                  </a:cubicBezTo>
                  <a:cubicBezTo>
                    <a:pt x="1059580" y="235077"/>
                    <a:pt x="1054658" y="235434"/>
                    <a:pt x="1049737" y="235830"/>
                  </a:cubicBezTo>
                  <a:cubicBezTo>
                    <a:pt x="1049578" y="230481"/>
                    <a:pt x="1049420" y="225092"/>
                    <a:pt x="1049181" y="219069"/>
                  </a:cubicBezTo>
                  <a:cubicBezTo>
                    <a:pt x="1047396" y="172075"/>
                    <a:pt x="1044141" y="84584"/>
                    <a:pt x="1059342" y="61444"/>
                  </a:cubicBezTo>
                  <a:close/>
                  <a:moveTo>
                    <a:pt x="1108752" y="41355"/>
                  </a:moveTo>
                  <a:cubicBezTo>
                    <a:pt x="1129985" y="42504"/>
                    <a:pt x="1149472" y="51538"/>
                    <a:pt x="1157886" y="64891"/>
                  </a:cubicBezTo>
                  <a:cubicBezTo>
                    <a:pt x="1170665" y="85060"/>
                    <a:pt x="1164117" y="127854"/>
                    <a:pt x="1158838" y="162208"/>
                  </a:cubicBezTo>
                  <a:cubicBezTo>
                    <a:pt x="1155901" y="181426"/>
                    <a:pt x="1153084" y="199613"/>
                    <a:pt x="1153084" y="214988"/>
                  </a:cubicBezTo>
                  <a:cubicBezTo>
                    <a:pt x="1153084" y="219862"/>
                    <a:pt x="1155028" y="224181"/>
                    <a:pt x="1157886" y="227707"/>
                  </a:cubicBezTo>
                  <a:cubicBezTo>
                    <a:pt x="1140542" y="229015"/>
                    <a:pt x="1123000" y="230323"/>
                    <a:pt x="1105617" y="231630"/>
                  </a:cubicBezTo>
                  <a:cubicBezTo>
                    <a:pt x="1106649" y="168191"/>
                    <a:pt x="1107721" y="104793"/>
                    <a:pt x="1108752" y="41355"/>
                  </a:cubicBezTo>
                  <a:close/>
                  <a:moveTo>
                    <a:pt x="1808126" y="3705011"/>
                  </a:moveTo>
                  <a:cubicBezTo>
                    <a:pt x="1666918" y="3726012"/>
                    <a:pt x="1880437" y="3697799"/>
                    <a:pt x="1849798" y="3700533"/>
                  </a:cubicBezTo>
                  <a:lnTo>
                    <a:pt x="1631239" y="2048996"/>
                  </a:lnTo>
                  <a:lnTo>
                    <a:pt x="1662830" y="2047807"/>
                  </a:lnTo>
                  <a:lnTo>
                    <a:pt x="1720297" y="2045905"/>
                  </a:lnTo>
                  <a:cubicBezTo>
                    <a:pt x="1826859" y="2042418"/>
                    <a:pt x="1933499" y="2039209"/>
                    <a:pt x="2040060" y="2034850"/>
                  </a:cubicBezTo>
                  <a:cubicBezTo>
                    <a:pt x="2103917" y="2032234"/>
                    <a:pt x="2208296" y="2047450"/>
                    <a:pt x="2217424" y="1969034"/>
                  </a:cubicBezTo>
                  <a:cubicBezTo>
                    <a:pt x="2227822" y="1960594"/>
                    <a:pt x="2227425" y="1942605"/>
                    <a:pt x="2216074" y="1935670"/>
                  </a:cubicBezTo>
                  <a:cubicBezTo>
                    <a:pt x="2204763" y="1881227"/>
                    <a:pt x="2151027" y="1861137"/>
                    <a:pt x="2095940" y="1856065"/>
                  </a:cubicBezTo>
                  <a:cubicBezTo>
                    <a:pt x="2065381" y="1853252"/>
                    <a:pt x="2034703" y="1854401"/>
                    <a:pt x="2004302" y="1856898"/>
                  </a:cubicBezTo>
                  <a:cubicBezTo>
                    <a:pt x="2004342" y="1726851"/>
                    <a:pt x="2004976" y="1603302"/>
                    <a:pt x="2023272" y="1477337"/>
                  </a:cubicBezTo>
                  <a:cubicBezTo>
                    <a:pt x="2044465" y="1331441"/>
                    <a:pt x="2034226" y="1178094"/>
                    <a:pt x="2024344" y="1029781"/>
                  </a:cubicBezTo>
                  <a:cubicBezTo>
                    <a:pt x="2020970" y="979419"/>
                    <a:pt x="2017597" y="929413"/>
                    <a:pt x="2015573" y="880200"/>
                  </a:cubicBezTo>
                  <a:cubicBezTo>
                    <a:pt x="2008032" y="702643"/>
                    <a:pt x="2003826" y="511773"/>
                    <a:pt x="2001960" y="261388"/>
                  </a:cubicBezTo>
                  <a:cubicBezTo>
                    <a:pt x="2001881" y="253384"/>
                    <a:pt x="1997118" y="246133"/>
                    <a:pt x="1989816" y="242844"/>
                  </a:cubicBezTo>
                  <a:cubicBezTo>
                    <a:pt x="1858569" y="184398"/>
                    <a:pt x="1710217" y="192244"/>
                    <a:pt x="1579169" y="199059"/>
                  </a:cubicBezTo>
                  <a:cubicBezTo>
                    <a:pt x="1449034" y="205953"/>
                    <a:pt x="1319017" y="215464"/>
                    <a:pt x="1190985" y="225211"/>
                  </a:cubicBezTo>
                  <a:cubicBezTo>
                    <a:pt x="1192771" y="222160"/>
                    <a:pt x="1194120" y="218792"/>
                    <a:pt x="1194120" y="214988"/>
                  </a:cubicBezTo>
                  <a:cubicBezTo>
                    <a:pt x="1194120" y="202704"/>
                    <a:pt x="1196660" y="186062"/>
                    <a:pt x="1199399" y="168390"/>
                  </a:cubicBezTo>
                  <a:cubicBezTo>
                    <a:pt x="1206027" y="125160"/>
                    <a:pt x="1213567" y="76144"/>
                    <a:pt x="1192572" y="43019"/>
                  </a:cubicBezTo>
                  <a:cubicBezTo>
                    <a:pt x="1176261" y="17223"/>
                    <a:pt x="1142130" y="344"/>
                    <a:pt x="1104427" y="-13"/>
                  </a:cubicBezTo>
                  <a:cubicBezTo>
                    <a:pt x="1070256" y="-13"/>
                    <a:pt x="1041323" y="14172"/>
                    <a:pt x="1025052" y="38977"/>
                  </a:cubicBezTo>
                  <a:cubicBezTo>
                    <a:pt x="1004335" y="70479"/>
                    <a:pt x="1005168" y="139860"/>
                    <a:pt x="1008184" y="220575"/>
                  </a:cubicBezTo>
                  <a:cubicBezTo>
                    <a:pt x="1008422" y="227153"/>
                    <a:pt x="1008661" y="233215"/>
                    <a:pt x="1008819" y="238921"/>
                  </a:cubicBezTo>
                  <a:cubicBezTo>
                    <a:pt x="753589" y="258376"/>
                    <a:pt x="491691" y="276723"/>
                    <a:pt x="229793" y="276723"/>
                  </a:cubicBezTo>
                  <a:cubicBezTo>
                    <a:pt x="224356" y="276802"/>
                    <a:pt x="218005" y="279655"/>
                    <a:pt x="214195" y="283577"/>
                  </a:cubicBezTo>
                  <a:cubicBezTo>
                    <a:pt x="198956" y="299388"/>
                    <a:pt x="190145" y="367541"/>
                    <a:pt x="206337" y="1140372"/>
                  </a:cubicBezTo>
                  <a:cubicBezTo>
                    <a:pt x="208044" y="1223068"/>
                    <a:pt x="209393" y="1285120"/>
                    <a:pt x="209393" y="1308181"/>
                  </a:cubicBezTo>
                  <a:lnTo>
                    <a:pt x="209552" y="1903812"/>
                  </a:lnTo>
                  <a:cubicBezTo>
                    <a:pt x="153275" y="1904843"/>
                    <a:pt x="55803" y="1885982"/>
                    <a:pt x="22306" y="1932303"/>
                  </a:cubicBezTo>
                  <a:cubicBezTo>
                    <a:pt x="-633" y="1964041"/>
                    <a:pt x="-9801" y="2044598"/>
                    <a:pt x="13893" y="2076931"/>
                  </a:cubicBezTo>
                  <a:cubicBezTo>
                    <a:pt x="47032" y="2122142"/>
                    <a:pt x="534910" y="2105143"/>
                    <a:pt x="537292" y="2090324"/>
                  </a:cubicBezTo>
                  <a:cubicBezTo>
                    <a:pt x="537252" y="2090522"/>
                    <a:pt x="261106" y="3816197"/>
                    <a:pt x="261106" y="3816197"/>
                  </a:cubicBezTo>
                  <a:cubicBezTo>
                    <a:pt x="259399" y="3826895"/>
                    <a:pt x="266305" y="3837039"/>
                    <a:pt x="276902" y="3839377"/>
                  </a:cubicBezTo>
                  <a:cubicBezTo>
                    <a:pt x="278410" y="3839733"/>
                    <a:pt x="279879" y="3839892"/>
                    <a:pt x="281386" y="3839892"/>
                  </a:cubicBezTo>
                  <a:cubicBezTo>
                    <a:pt x="290356" y="3839892"/>
                    <a:pt x="298492" y="3834067"/>
                    <a:pt x="301072" y="3825113"/>
                  </a:cubicBezTo>
                  <a:lnTo>
                    <a:pt x="508161" y="3112035"/>
                  </a:lnTo>
                  <a:cubicBezTo>
                    <a:pt x="529037" y="3040196"/>
                    <a:pt x="554278" y="2968872"/>
                    <a:pt x="578646" y="2899886"/>
                  </a:cubicBezTo>
                  <a:cubicBezTo>
                    <a:pt x="608888" y="2814496"/>
                    <a:pt x="640122" y="2726214"/>
                    <a:pt x="663498" y="2635791"/>
                  </a:cubicBezTo>
                  <a:cubicBezTo>
                    <a:pt x="678857" y="2576355"/>
                    <a:pt x="693661" y="2516799"/>
                    <a:pt x="708504" y="2457165"/>
                  </a:cubicBezTo>
                  <a:cubicBezTo>
                    <a:pt x="738150" y="2337896"/>
                    <a:pt x="768789" y="2214546"/>
                    <a:pt x="803595" y="2094722"/>
                  </a:cubicBezTo>
                  <a:cubicBezTo>
                    <a:pt x="805024" y="2089729"/>
                    <a:pt x="804309" y="2084658"/>
                    <a:pt x="802246" y="2080299"/>
                  </a:cubicBezTo>
                  <a:lnTo>
                    <a:pt x="1010724" y="2072454"/>
                  </a:lnTo>
                  <a:lnTo>
                    <a:pt x="1090377" y="3145161"/>
                  </a:lnTo>
                  <a:cubicBezTo>
                    <a:pt x="1091171" y="3155859"/>
                    <a:pt x="1100101" y="3164101"/>
                    <a:pt x="1111015" y="3164101"/>
                  </a:cubicBezTo>
                  <a:cubicBezTo>
                    <a:pt x="1121810" y="3164061"/>
                    <a:pt x="1130700" y="3155622"/>
                    <a:pt x="1131335" y="3144844"/>
                  </a:cubicBezTo>
                  <a:lnTo>
                    <a:pt x="1193327" y="2065519"/>
                  </a:lnTo>
                  <a:lnTo>
                    <a:pt x="1372476" y="2058783"/>
                  </a:lnTo>
                  <a:cubicBezTo>
                    <a:pt x="1445065" y="2333894"/>
                    <a:pt x="1514954" y="2619664"/>
                    <a:pt x="1580082" y="2908762"/>
                  </a:cubicBezTo>
                  <a:cubicBezTo>
                    <a:pt x="1615205" y="3064525"/>
                    <a:pt x="1663941" y="3222507"/>
                    <a:pt x="1711090" y="3375337"/>
                  </a:cubicBezTo>
                  <a:cubicBezTo>
                    <a:pt x="1744507" y="3483432"/>
                    <a:pt x="1778837" y="3595173"/>
                    <a:pt x="1808126" y="3705011"/>
                  </a:cubicBezTo>
                  <a:close/>
                </a:path>
              </a:pathLst>
            </a:custGeom>
            <a:grpFill/>
            <a:ln w="39688" cap="flat">
              <a:noFill/>
              <a:prstDash val="solid"/>
              <a:round/>
            </a:ln>
          </p:spPr>
          <p:txBody>
            <a:bodyPr rtlCol="0" anchor="ctr"/>
            <a:lstStyle/>
            <a:p>
              <a:endParaRPr lang="en-LT" dirty="0"/>
            </a:p>
          </p:txBody>
        </p:sp>
      </p:grpSp>
      <p:grpSp>
        <p:nvGrpSpPr>
          <p:cNvPr id="107" name="Graphic 142">
            <a:extLst>
              <a:ext uri="{FF2B5EF4-FFF2-40B4-BE49-F238E27FC236}">
                <a16:creationId xmlns:a16="http://schemas.microsoft.com/office/drawing/2014/main" id="{0A3BABE9-09DA-3F4A-970E-C2AB1D1739A1}"/>
              </a:ext>
            </a:extLst>
          </p:cNvPr>
          <p:cNvGrpSpPr/>
          <p:nvPr/>
        </p:nvGrpSpPr>
        <p:grpSpPr>
          <a:xfrm>
            <a:off x="9224239" y="1556298"/>
            <a:ext cx="657017" cy="1133925"/>
            <a:chOff x="5009734" y="1528902"/>
            <a:chExt cx="2224912" cy="3839904"/>
          </a:xfrm>
          <a:solidFill>
            <a:schemeClr val="tx1">
              <a:lumMod val="75000"/>
              <a:lumOff val="25000"/>
            </a:schemeClr>
          </a:solidFill>
        </p:grpSpPr>
        <p:sp>
          <p:nvSpPr>
            <p:cNvPr id="108" name="Freeform 107">
              <a:extLst>
                <a:ext uri="{FF2B5EF4-FFF2-40B4-BE49-F238E27FC236}">
                  <a16:creationId xmlns:a16="http://schemas.microsoft.com/office/drawing/2014/main" id="{6C1B4E43-2D6C-CB40-A659-C30AF34821EF}"/>
                </a:ext>
              </a:extLst>
            </p:cNvPr>
            <p:cNvSpPr/>
            <p:nvPr/>
          </p:nvSpPr>
          <p:spPr>
            <a:xfrm>
              <a:off x="5417566" y="2003597"/>
              <a:ext cx="1483633" cy="1215002"/>
            </a:xfrm>
            <a:custGeom>
              <a:avLst/>
              <a:gdLst>
                <a:gd name="connsiteX0" fmla="*/ 1034379 w 1483633"/>
                <a:gd name="connsiteY0" fmla="*/ 631692 h 1215002"/>
                <a:gd name="connsiteX1" fmla="*/ 973220 w 1483633"/>
                <a:gd name="connsiteY1" fmla="*/ 738004 h 1215002"/>
                <a:gd name="connsiteX2" fmla="*/ 904481 w 1483633"/>
                <a:gd name="connsiteY2" fmla="*/ 600469 h 1215002"/>
                <a:gd name="connsiteX3" fmla="*/ 976712 w 1483633"/>
                <a:gd name="connsiteY3" fmla="*/ 366686 h 1215002"/>
                <a:gd name="connsiteX4" fmla="*/ 1034379 w 1483633"/>
                <a:gd name="connsiteY4" fmla="*/ 631692 h 1215002"/>
                <a:gd name="connsiteX5" fmla="*/ 1388987 w 1483633"/>
                <a:gd name="connsiteY5" fmla="*/ 64987 h 1215002"/>
                <a:gd name="connsiteX6" fmla="*/ 1387756 w 1483633"/>
                <a:gd name="connsiteY6" fmla="*/ 69464 h 1215002"/>
                <a:gd name="connsiteX7" fmla="*/ 1387439 w 1483633"/>
                <a:gd name="connsiteY7" fmla="*/ 65898 h 1215002"/>
                <a:gd name="connsiteX8" fmla="*/ 1388987 w 1483633"/>
                <a:gd name="connsiteY8" fmla="*/ 64987 h 1215002"/>
                <a:gd name="connsiteX9" fmla="*/ 756050 w 1483633"/>
                <a:gd name="connsiteY9" fmla="*/ 959583 h 1215002"/>
                <a:gd name="connsiteX10" fmla="*/ 641750 w 1483633"/>
                <a:gd name="connsiteY10" fmla="*/ 724572 h 1215002"/>
                <a:gd name="connsiteX11" fmla="*/ 766130 w 1483633"/>
                <a:gd name="connsiteY11" fmla="*/ 367121 h 1215002"/>
                <a:gd name="connsiteX12" fmla="*/ 860547 w 1483633"/>
                <a:gd name="connsiteY12" fmla="*/ 603480 h 1215002"/>
                <a:gd name="connsiteX13" fmla="*/ 756050 w 1483633"/>
                <a:gd name="connsiteY13" fmla="*/ 959583 h 1215002"/>
                <a:gd name="connsiteX14" fmla="*/ 526973 w 1483633"/>
                <a:gd name="connsiteY14" fmla="*/ 947894 h 1215002"/>
                <a:gd name="connsiteX15" fmla="*/ 411006 w 1483633"/>
                <a:gd name="connsiteY15" fmla="*/ 661252 h 1215002"/>
                <a:gd name="connsiteX16" fmla="*/ 491492 w 1483633"/>
                <a:gd name="connsiteY16" fmla="*/ 498278 h 1215002"/>
                <a:gd name="connsiteX17" fmla="*/ 597180 w 1483633"/>
                <a:gd name="connsiteY17" fmla="*/ 727583 h 1215002"/>
                <a:gd name="connsiteX18" fmla="*/ 526973 w 1483633"/>
                <a:gd name="connsiteY18" fmla="*/ 947894 h 1215002"/>
                <a:gd name="connsiteX19" fmla="*/ 960798 w 1483633"/>
                <a:gd name="connsiteY19" fmla="*/ 280463 h 1215002"/>
                <a:gd name="connsiteX20" fmla="*/ 879478 w 1483633"/>
                <a:gd name="connsiteY20" fmla="*/ 541825 h 1215002"/>
                <a:gd name="connsiteX21" fmla="*/ 785022 w 1483633"/>
                <a:gd name="connsiteY21" fmla="*/ 300038 h 1215002"/>
                <a:gd name="connsiteX22" fmla="*/ 765773 w 1483633"/>
                <a:gd name="connsiteY22" fmla="*/ 286605 h 1215002"/>
                <a:gd name="connsiteX23" fmla="*/ 765694 w 1483633"/>
                <a:gd name="connsiteY23" fmla="*/ 286605 h 1215002"/>
                <a:gd name="connsiteX24" fmla="*/ 746445 w 1483633"/>
                <a:gd name="connsiteY24" fmla="*/ 300236 h 1215002"/>
                <a:gd name="connsiteX25" fmla="*/ 616508 w 1483633"/>
                <a:gd name="connsiteY25" fmla="*/ 670722 h 1215002"/>
                <a:gd name="connsiteX26" fmla="*/ 510940 w 1483633"/>
                <a:gd name="connsiteY26" fmla="*/ 441972 h 1215002"/>
                <a:gd name="connsiteX27" fmla="*/ 492604 w 1483633"/>
                <a:gd name="connsiteY27" fmla="*/ 429966 h 1215002"/>
                <a:gd name="connsiteX28" fmla="*/ 473871 w 1483633"/>
                <a:gd name="connsiteY28" fmla="*/ 441417 h 1215002"/>
                <a:gd name="connsiteX29" fmla="*/ 390607 w 1483633"/>
                <a:gd name="connsiteY29" fmla="*/ 610018 h 1215002"/>
                <a:gd name="connsiteX30" fmla="*/ 354094 w 1483633"/>
                <a:gd name="connsiteY30" fmla="*/ 518011 h 1215002"/>
                <a:gd name="connsiteX31" fmla="*/ 336433 w 1483633"/>
                <a:gd name="connsiteY31" fmla="*/ 505093 h 1215002"/>
                <a:gd name="connsiteX32" fmla="*/ 317106 w 1483633"/>
                <a:gd name="connsiteY32" fmla="*/ 515515 h 1215002"/>
                <a:gd name="connsiteX33" fmla="*/ 2622 w 1483633"/>
                <a:gd name="connsiteY33" fmla="*/ 1075246 h 1215002"/>
                <a:gd name="connsiteX34" fmla="*/ 10519 w 1483633"/>
                <a:gd name="connsiteY34" fmla="*/ 1103142 h 1215002"/>
                <a:gd name="connsiteX35" fmla="*/ 20521 w 1483633"/>
                <a:gd name="connsiteY35" fmla="*/ 1105757 h 1215002"/>
                <a:gd name="connsiteX36" fmla="*/ 38420 w 1483633"/>
                <a:gd name="connsiteY36" fmla="*/ 1095296 h 1215002"/>
                <a:gd name="connsiteX37" fmla="*/ 331790 w 1483633"/>
                <a:gd name="connsiteY37" fmla="*/ 573128 h 1215002"/>
                <a:gd name="connsiteX38" fmla="*/ 366040 w 1483633"/>
                <a:gd name="connsiteY38" fmla="*/ 659707 h 1215002"/>
                <a:gd name="connsiteX39" fmla="*/ 106404 w 1483633"/>
                <a:gd name="connsiteY39" fmla="*/ 1185401 h 1215002"/>
                <a:gd name="connsiteX40" fmla="*/ 115771 w 1483633"/>
                <a:gd name="connsiteY40" fmla="*/ 1212822 h 1215002"/>
                <a:gd name="connsiteX41" fmla="*/ 124819 w 1483633"/>
                <a:gd name="connsiteY41" fmla="*/ 1214922 h 1215002"/>
                <a:gd name="connsiteX42" fmla="*/ 143195 w 1483633"/>
                <a:gd name="connsiteY42" fmla="*/ 1203510 h 1215002"/>
                <a:gd name="connsiteX43" fmla="*/ 386400 w 1483633"/>
                <a:gd name="connsiteY43" fmla="*/ 711060 h 1215002"/>
                <a:gd name="connsiteX44" fmla="*/ 513122 w 1483633"/>
                <a:gd name="connsiteY44" fmla="*/ 1013987 h 1215002"/>
                <a:gd name="connsiteX45" fmla="*/ 513202 w 1483633"/>
                <a:gd name="connsiteY45" fmla="*/ 1014185 h 1215002"/>
                <a:gd name="connsiteX46" fmla="*/ 513281 w 1483633"/>
                <a:gd name="connsiteY46" fmla="*/ 1014185 h 1215002"/>
                <a:gd name="connsiteX47" fmla="*/ 539157 w 1483633"/>
                <a:gd name="connsiteY47" fmla="*/ 1031422 h 1215002"/>
                <a:gd name="connsiteX48" fmla="*/ 553643 w 1483633"/>
                <a:gd name="connsiteY48" fmla="*/ 1008440 h 1215002"/>
                <a:gd name="connsiteX49" fmla="*/ 622541 w 1483633"/>
                <a:gd name="connsiteY49" fmla="*/ 781552 h 1215002"/>
                <a:gd name="connsiteX50" fmla="*/ 769345 w 1483633"/>
                <a:gd name="connsiteY50" fmla="*/ 1032175 h 1215002"/>
                <a:gd name="connsiteX51" fmla="*/ 786291 w 1483633"/>
                <a:gd name="connsiteY51" fmla="*/ 1010421 h 1215002"/>
                <a:gd name="connsiteX52" fmla="*/ 886265 w 1483633"/>
                <a:gd name="connsiteY52" fmla="*/ 660183 h 1215002"/>
                <a:gd name="connsiteX53" fmla="*/ 971910 w 1483633"/>
                <a:gd name="connsiteY53" fmla="*/ 786980 h 1215002"/>
                <a:gd name="connsiteX54" fmla="*/ 996636 w 1483633"/>
                <a:gd name="connsiteY54" fmla="*/ 776916 h 1215002"/>
                <a:gd name="connsiteX55" fmla="*/ 1047435 w 1483633"/>
                <a:gd name="connsiteY55" fmla="*/ 691842 h 1215002"/>
                <a:gd name="connsiteX56" fmla="*/ 1101252 w 1483633"/>
                <a:gd name="connsiteY56" fmla="*/ 939414 h 1215002"/>
                <a:gd name="connsiteX57" fmla="*/ 1117167 w 1483633"/>
                <a:gd name="connsiteY57" fmla="*/ 955145 h 1215002"/>
                <a:gd name="connsiteX58" fmla="*/ 1138042 w 1483633"/>
                <a:gd name="connsiteY58" fmla="*/ 946943 h 1215002"/>
                <a:gd name="connsiteX59" fmla="*/ 1401012 w 1483633"/>
                <a:gd name="connsiteY59" fmla="*/ 566907 h 1215002"/>
                <a:gd name="connsiteX60" fmla="*/ 1368032 w 1483633"/>
                <a:gd name="connsiteY60" fmla="*/ 662164 h 1215002"/>
                <a:gd name="connsiteX61" fmla="*/ 1380731 w 1483633"/>
                <a:gd name="connsiteY61" fmla="*/ 688236 h 1215002"/>
                <a:gd name="connsiteX62" fmla="*/ 1387439 w 1483633"/>
                <a:gd name="connsiteY62" fmla="*/ 689346 h 1215002"/>
                <a:gd name="connsiteX63" fmla="*/ 1406806 w 1483633"/>
                <a:gd name="connsiteY63" fmla="*/ 675557 h 1215002"/>
                <a:gd name="connsiteX64" fmla="*/ 1482530 w 1483633"/>
                <a:gd name="connsiteY64" fmla="*/ 457148 h 1215002"/>
                <a:gd name="connsiteX65" fmla="*/ 1474791 w 1483633"/>
                <a:gd name="connsiteY65" fmla="*/ 433571 h 1215002"/>
                <a:gd name="connsiteX66" fmla="*/ 1449986 w 1483633"/>
                <a:gd name="connsiteY66" fmla="*/ 434721 h 1215002"/>
                <a:gd name="connsiteX67" fmla="*/ 1298499 w 1483633"/>
                <a:gd name="connsiteY67" fmla="*/ 561003 h 1215002"/>
                <a:gd name="connsiteX68" fmla="*/ 1295919 w 1483633"/>
                <a:gd name="connsiteY68" fmla="*/ 589849 h 1215002"/>
                <a:gd name="connsiteX69" fmla="*/ 1324772 w 1483633"/>
                <a:gd name="connsiteY69" fmla="*/ 592425 h 1215002"/>
                <a:gd name="connsiteX70" fmla="*/ 1347989 w 1483633"/>
                <a:gd name="connsiteY70" fmla="*/ 573089 h 1215002"/>
                <a:gd name="connsiteX71" fmla="*/ 1131454 w 1483633"/>
                <a:gd name="connsiteY71" fmla="*/ 885327 h 1215002"/>
                <a:gd name="connsiteX72" fmla="*/ 1077757 w 1483633"/>
                <a:gd name="connsiteY72" fmla="*/ 638191 h 1215002"/>
                <a:gd name="connsiteX73" fmla="*/ 1265717 w 1483633"/>
                <a:gd name="connsiteY73" fmla="*/ 297740 h 1215002"/>
                <a:gd name="connsiteX74" fmla="*/ 1285362 w 1483633"/>
                <a:gd name="connsiteY74" fmla="*/ 313907 h 1215002"/>
                <a:gd name="connsiteX75" fmla="*/ 1456415 w 1483633"/>
                <a:gd name="connsiteY75" fmla="*/ 313907 h 1215002"/>
                <a:gd name="connsiteX76" fmla="*/ 1476934 w 1483633"/>
                <a:gd name="connsiteY76" fmla="*/ 293460 h 1215002"/>
                <a:gd name="connsiteX77" fmla="*/ 1456415 w 1483633"/>
                <a:gd name="connsiteY77" fmla="*/ 272974 h 1215002"/>
                <a:gd name="connsiteX78" fmla="*/ 1285362 w 1483633"/>
                <a:gd name="connsiteY78" fmla="*/ 272974 h 1215002"/>
                <a:gd name="connsiteX79" fmla="*/ 1278497 w 1483633"/>
                <a:gd name="connsiteY79" fmla="*/ 274361 h 1215002"/>
                <a:gd name="connsiteX80" fmla="*/ 1385454 w 1483633"/>
                <a:gd name="connsiteY80" fmla="*/ 77944 h 1215002"/>
                <a:gd name="connsiteX81" fmla="*/ 1385891 w 1483633"/>
                <a:gd name="connsiteY81" fmla="*/ 76517 h 1215002"/>
                <a:gd name="connsiteX82" fmla="*/ 1347592 w 1483633"/>
                <a:gd name="connsiteY82" fmla="*/ 219917 h 1215002"/>
                <a:gd name="connsiteX83" fmla="*/ 1362118 w 1483633"/>
                <a:gd name="connsiteY83" fmla="*/ 244960 h 1215002"/>
                <a:gd name="connsiteX84" fmla="*/ 1367436 w 1483633"/>
                <a:gd name="connsiteY84" fmla="*/ 245674 h 1215002"/>
                <a:gd name="connsiteX85" fmla="*/ 1387240 w 1483633"/>
                <a:gd name="connsiteY85" fmla="*/ 230458 h 1215002"/>
                <a:gd name="connsiteX86" fmla="*/ 1441930 w 1483633"/>
                <a:gd name="connsiteY86" fmla="*/ 25680 h 1215002"/>
                <a:gd name="connsiteX87" fmla="*/ 1434310 w 1483633"/>
                <a:gd name="connsiteY87" fmla="*/ 3965 h 1215002"/>
                <a:gd name="connsiteX88" fmla="*/ 1411331 w 1483633"/>
                <a:gd name="connsiteY88" fmla="*/ 3014 h 1215002"/>
                <a:gd name="connsiteX89" fmla="*/ 1190430 w 1483633"/>
                <a:gd name="connsiteY89" fmla="*/ 139480 h 1215002"/>
                <a:gd name="connsiteX90" fmla="*/ 1183802 w 1483633"/>
                <a:gd name="connsiteY90" fmla="*/ 167693 h 1215002"/>
                <a:gd name="connsiteX91" fmla="*/ 1211980 w 1483633"/>
                <a:gd name="connsiteY91" fmla="*/ 174350 h 1215002"/>
                <a:gd name="connsiteX92" fmla="*/ 1324018 w 1483633"/>
                <a:gd name="connsiteY92" fmla="*/ 105087 h 1215002"/>
                <a:gd name="connsiteX93" fmla="*/ 1064581 w 1483633"/>
                <a:gd name="connsiteY93" fmla="*/ 577645 h 1215002"/>
                <a:gd name="connsiteX94" fmla="*/ 1000406 w 1483633"/>
                <a:gd name="connsiteY94" fmla="*/ 282286 h 1215002"/>
                <a:gd name="connsiteX95" fmla="*/ 981237 w 1483633"/>
                <a:gd name="connsiteY95" fmla="*/ 266159 h 1215002"/>
                <a:gd name="connsiteX96" fmla="*/ 960798 w 1483633"/>
                <a:gd name="connsiteY96" fmla="*/ 280463 h 12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483633" h="1215002">
                  <a:moveTo>
                    <a:pt x="1034379" y="631692"/>
                  </a:moveTo>
                  <a:cubicBezTo>
                    <a:pt x="1007232" y="679955"/>
                    <a:pt x="985404" y="718113"/>
                    <a:pt x="973220" y="738004"/>
                  </a:cubicBezTo>
                  <a:cubicBezTo>
                    <a:pt x="957861" y="716647"/>
                    <a:pt x="933096" y="666126"/>
                    <a:pt x="904481" y="600469"/>
                  </a:cubicBezTo>
                  <a:cubicBezTo>
                    <a:pt x="928651" y="521260"/>
                    <a:pt x="953813" y="440189"/>
                    <a:pt x="976712" y="366686"/>
                  </a:cubicBezTo>
                  <a:lnTo>
                    <a:pt x="1034379" y="631692"/>
                  </a:lnTo>
                  <a:close/>
                  <a:moveTo>
                    <a:pt x="1388987" y="64987"/>
                  </a:moveTo>
                  <a:lnTo>
                    <a:pt x="1387756" y="69464"/>
                  </a:lnTo>
                  <a:cubicBezTo>
                    <a:pt x="1387835" y="68276"/>
                    <a:pt x="1387558" y="67087"/>
                    <a:pt x="1387439" y="65898"/>
                  </a:cubicBezTo>
                  <a:lnTo>
                    <a:pt x="1388987" y="64987"/>
                  </a:lnTo>
                  <a:close/>
                  <a:moveTo>
                    <a:pt x="756050" y="959583"/>
                  </a:moveTo>
                  <a:cubicBezTo>
                    <a:pt x="730531" y="911043"/>
                    <a:pt x="687708" y="822166"/>
                    <a:pt x="641750" y="724572"/>
                  </a:cubicBezTo>
                  <a:cubicBezTo>
                    <a:pt x="680881" y="609265"/>
                    <a:pt x="726840" y="477752"/>
                    <a:pt x="766130" y="367121"/>
                  </a:cubicBezTo>
                  <a:cubicBezTo>
                    <a:pt x="801651" y="462022"/>
                    <a:pt x="833083" y="540596"/>
                    <a:pt x="860547" y="603480"/>
                  </a:cubicBezTo>
                  <a:cubicBezTo>
                    <a:pt x="818478" y="741016"/>
                    <a:pt x="775576" y="884495"/>
                    <a:pt x="756050" y="959583"/>
                  </a:cubicBezTo>
                  <a:close/>
                  <a:moveTo>
                    <a:pt x="526973" y="947894"/>
                  </a:moveTo>
                  <a:cubicBezTo>
                    <a:pt x="500184" y="883782"/>
                    <a:pt x="454782" y="770972"/>
                    <a:pt x="411006" y="661252"/>
                  </a:cubicBezTo>
                  <a:lnTo>
                    <a:pt x="491492" y="498278"/>
                  </a:lnTo>
                  <a:cubicBezTo>
                    <a:pt x="533085" y="589334"/>
                    <a:pt x="567812" y="664700"/>
                    <a:pt x="597180" y="727583"/>
                  </a:cubicBezTo>
                  <a:cubicBezTo>
                    <a:pt x="567415" y="816025"/>
                    <a:pt x="541856" y="894996"/>
                    <a:pt x="526973" y="947894"/>
                  </a:cubicBezTo>
                  <a:close/>
                  <a:moveTo>
                    <a:pt x="960798" y="280463"/>
                  </a:moveTo>
                  <a:cubicBezTo>
                    <a:pt x="947621" y="322346"/>
                    <a:pt x="915237" y="425686"/>
                    <a:pt x="879478" y="541825"/>
                  </a:cubicBezTo>
                  <a:cubicBezTo>
                    <a:pt x="848641" y="467886"/>
                    <a:pt x="815343" y="382496"/>
                    <a:pt x="785022" y="300038"/>
                  </a:cubicBezTo>
                  <a:cubicBezTo>
                    <a:pt x="782085" y="291994"/>
                    <a:pt x="774385" y="286605"/>
                    <a:pt x="765773" y="286605"/>
                  </a:cubicBezTo>
                  <a:lnTo>
                    <a:pt x="765694" y="286605"/>
                  </a:lnTo>
                  <a:cubicBezTo>
                    <a:pt x="757042" y="286684"/>
                    <a:pt x="749342" y="292113"/>
                    <a:pt x="746445" y="300236"/>
                  </a:cubicBezTo>
                  <a:cubicBezTo>
                    <a:pt x="708385" y="406666"/>
                    <a:pt x="659609" y="544440"/>
                    <a:pt x="616508" y="670722"/>
                  </a:cubicBezTo>
                  <a:cubicBezTo>
                    <a:pt x="579202" y="590999"/>
                    <a:pt x="541618" y="509373"/>
                    <a:pt x="510940" y="441972"/>
                  </a:cubicBezTo>
                  <a:cubicBezTo>
                    <a:pt x="507645" y="434760"/>
                    <a:pt x="500502" y="430084"/>
                    <a:pt x="492604" y="429966"/>
                  </a:cubicBezTo>
                  <a:cubicBezTo>
                    <a:pt x="483277" y="429054"/>
                    <a:pt x="477404" y="434285"/>
                    <a:pt x="473871" y="441417"/>
                  </a:cubicBezTo>
                  <a:lnTo>
                    <a:pt x="390607" y="610018"/>
                  </a:lnTo>
                  <a:cubicBezTo>
                    <a:pt x="377827" y="577883"/>
                    <a:pt x="365485" y="546738"/>
                    <a:pt x="354094" y="518011"/>
                  </a:cubicBezTo>
                  <a:cubicBezTo>
                    <a:pt x="351237" y="510641"/>
                    <a:pt x="344331" y="505608"/>
                    <a:pt x="336433" y="505093"/>
                  </a:cubicBezTo>
                  <a:cubicBezTo>
                    <a:pt x="328020" y="504776"/>
                    <a:pt x="320995" y="508659"/>
                    <a:pt x="317106" y="515515"/>
                  </a:cubicBezTo>
                  <a:lnTo>
                    <a:pt x="2622" y="1075246"/>
                  </a:lnTo>
                  <a:cubicBezTo>
                    <a:pt x="-2895" y="1085113"/>
                    <a:pt x="597" y="1097595"/>
                    <a:pt x="10519" y="1103142"/>
                  </a:cubicBezTo>
                  <a:cubicBezTo>
                    <a:pt x="13655" y="1104925"/>
                    <a:pt x="17108" y="1105757"/>
                    <a:pt x="20521" y="1105757"/>
                  </a:cubicBezTo>
                  <a:cubicBezTo>
                    <a:pt x="27704" y="1105757"/>
                    <a:pt x="34649" y="1101993"/>
                    <a:pt x="38420" y="1095296"/>
                  </a:cubicBezTo>
                  <a:lnTo>
                    <a:pt x="331790" y="573128"/>
                  </a:lnTo>
                  <a:cubicBezTo>
                    <a:pt x="344093" y="604154"/>
                    <a:pt x="355364" y="632683"/>
                    <a:pt x="366040" y="659707"/>
                  </a:cubicBezTo>
                  <a:lnTo>
                    <a:pt x="106404" y="1185401"/>
                  </a:lnTo>
                  <a:cubicBezTo>
                    <a:pt x="101404" y="1195546"/>
                    <a:pt x="105571" y="1207829"/>
                    <a:pt x="115771" y="1212822"/>
                  </a:cubicBezTo>
                  <a:cubicBezTo>
                    <a:pt x="118628" y="1214288"/>
                    <a:pt x="121764" y="1214922"/>
                    <a:pt x="124819" y="1214922"/>
                  </a:cubicBezTo>
                  <a:cubicBezTo>
                    <a:pt x="132360" y="1214922"/>
                    <a:pt x="139623" y="1210761"/>
                    <a:pt x="143195" y="1203510"/>
                  </a:cubicBezTo>
                  <a:lnTo>
                    <a:pt x="386400" y="711060"/>
                  </a:lnTo>
                  <a:cubicBezTo>
                    <a:pt x="462957" y="903991"/>
                    <a:pt x="495342" y="983081"/>
                    <a:pt x="513122" y="1013987"/>
                  </a:cubicBezTo>
                  <a:cubicBezTo>
                    <a:pt x="513122" y="1014067"/>
                    <a:pt x="513202" y="1014146"/>
                    <a:pt x="513202" y="1014185"/>
                  </a:cubicBezTo>
                  <a:lnTo>
                    <a:pt x="513281" y="1014185"/>
                  </a:lnTo>
                  <a:cubicBezTo>
                    <a:pt x="525505" y="1035463"/>
                    <a:pt x="530942" y="1033879"/>
                    <a:pt x="539157" y="1031422"/>
                  </a:cubicBezTo>
                  <a:cubicBezTo>
                    <a:pt x="549317" y="1028411"/>
                    <a:pt x="555747" y="1018782"/>
                    <a:pt x="553643" y="1008440"/>
                  </a:cubicBezTo>
                  <a:cubicBezTo>
                    <a:pt x="554040" y="991758"/>
                    <a:pt x="582933" y="899909"/>
                    <a:pt x="622541" y="781552"/>
                  </a:cubicBezTo>
                  <a:cubicBezTo>
                    <a:pt x="743508" y="1037564"/>
                    <a:pt x="753906" y="1035741"/>
                    <a:pt x="769345" y="1032175"/>
                  </a:cubicBezTo>
                  <a:cubicBezTo>
                    <a:pt x="778394" y="1030233"/>
                    <a:pt x="785736" y="1019653"/>
                    <a:pt x="786291" y="1010421"/>
                  </a:cubicBezTo>
                  <a:cubicBezTo>
                    <a:pt x="787363" y="990728"/>
                    <a:pt x="832607" y="836550"/>
                    <a:pt x="886265" y="660183"/>
                  </a:cubicBezTo>
                  <a:cubicBezTo>
                    <a:pt x="924761" y="741452"/>
                    <a:pt x="953456" y="784167"/>
                    <a:pt x="971910" y="786980"/>
                  </a:cubicBezTo>
                  <a:cubicBezTo>
                    <a:pt x="981594" y="788644"/>
                    <a:pt x="990683" y="784721"/>
                    <a:pt x="996636" y="776916"/>
                  </a:cubicBezTo>
                  <a:cubicBezTo>
                    <a:pt x="1003065" y="768515"/>
                    <a:pt x="1021718" y="736975"/>
                    <a:pt x="1047435" y="691842"/>
                  </a:cubicBezTo>
                  <a:lnTo>
                    <a:pt x="1101252" y="939414"/>
                  </a:lnTo>
                  <a:cubicBezTo>
                    <a:pt x="1102998" y="947379"/>
                    <a:pt x="1109229" y="953521"/>
                    <a:pt x="1117167" y="955145"/>
                  </a:cubicBezTo>
                  <a:cubicBezTo>
                    <a:pt x="1125303" y="956730"/>
                    <a:pt x="1133319" y="953560"/>
                    <a:pt x="1138042" y="946943"/>
                  </a:cubicBezTo>
                  <a:cubicBezTo>
                    <a:pt x="1285918" y="738837"/>
                    <a:pt x="1361919" y="627493"/>
                    <a:pt x="1401012" y="566907"/>
                  </a:cubicBezTo>
                  <a:lnTo>
                    <a:pt x="1368032" y="662164"/>
                  </a:lnTo>
                  <a:cubicBezTo>
                    <a:pt x="1364340" y="672862"/>
                    <a:pt x="1369976" y="684512"/>
                    <a:pt x="1380731" y="688236"/>
                  </a:cubicBezTo>
                  <a:cubicBezTo>
                    <a:pt x="1382914" y="688989"/>
                    <a:pt x="1385176" y="689346"/>
                    <a:pt x="1387439" y="689346"/>
                  </a:cubicBezTo>
                  <a:cubicBezTo>
                    <a:pt x="1395892" y="689346"/>
                    <a:pt x="1403869" y="684036"/>
                    <a:pt x="1406806" y="675557"/>
                  </a:cubicBezTo>
                  <a:lnTo>
                    <a:pt x="1482530" y="457148"/>
                  </a:lnTo>
                  <a:cubicBezTo>
                    <a:pt x="1485506" y="448430"/>
                    <a:pt x="1482371" y="438842"/>
                    <a:pt x="1474791" y="433571"/>
                  </a:cubicBezTo>
                  <a:cubicBezTo>
                    <a:pt x="1467171" y="428341"/>
                    <a:pt x="1457011" y="428896"/>
                    <a:pt x="1449986" y="434721"/>
                  </a:cubicBezTo>
                  <a:lnTo>
                    <a:pt x="1298499" y="561003"/>
                  </a:lnTo>
                  <a:cubicBezTo>
                    <a:pt x="1289847" y="568254"/>
                    <a:pt x="1288656" y="581132"/>
                    <a:pt x="1295919" y="589849"/>
                  </a:cubicBezTo>
                  <a:cubicBezTo>
                    <a:pt x="1303182" y="598527"/>
                    <a:pt x="1316120" y="599676"/>
                    <a:pt x="1324772" y="592425"/>
                  </a:cubicBezTo>
                  <a:lnTo>
                    <a:pt x="1347989" y="573089"/>
                  </a:lnTo>
                  <a:cubicBezTo>
                    <a:pt x="1291792" y="656933"/>
                    <a:pt x="1202812" y="784444"/>
                    <a:pt x="1131454" y="885327"/>
                  </a:cubicBezTo>
                  <a:lnTo>
                    <a:pt x="1077757" y="638191"/>
                  </a:lnTo>
                  <a:cubicBezTo>
                    <a:pt x="1132367" y="540913"/>
                    <a:pt x="1204598" y="409520"/>
                    <a:pt x="1265717" y="297740"/>
                  </a:cubicBezTo>
                  <a:cubicBezTo>
                    <a:pt x="1267741" y="306893"/>
                    <a:pt x="1275560" y="313907"/>
                    <a:pt x="1285362" y="313907"/>
                  </a:cubicBezTo>
                  <a:lnTo>
                    <a:pt x="1456415" y="313907"/>
                  </a:lnTo>
                  <a:cubicBezTo>
                    <a:pt x="1467766" y="313907"/>
                    <a:pt x="1476934" y="304753"/>
                    <a:pt x="1476934" y="293460"/>
                  </a:cubicBezTo>
                  <a:cubicBezTo>
                    <a:pt x="1476934" y="282128"/>
                    <a:pt x="1467766" y="272974"/>
                    <a:pt x="1456415" y="272974"/>
                  </a:cubicBezTo>
                  <a:lnTo>
                    <a:pt x="1285362" y="272974"/>
                  </a:lnTo>
                  <a:cubicBezTo>
                    <a:pt x="1282942" y="272974"/>
                    <a:pt x="1280679" y="273569"/>
                    <a:pt x="1278497" y="274361"/>
                  </a:cubicBezTo>
                  <a:cubicBezTo>
                    <a:pt x="1331162" y="177995"/>
                    <a:pt x="1373508" y="99896"/>
                    <a:pt x="1385454" y="77944"/>
                  </a:cubicBezTo>
                  <a:cubicBezTo>
                    <a:pt x="1385692" y="77468"/>
                    <a:pt x="1385692" y="76953"/>
                    <a:pt x="1385891" y="76517"/>
                  </a:cubicBezTo>
                  <a:lnTo>
                    <a:pt x="1347592" y="219917"/>
                  </a:lnTo>
                  <a:cubicBezTo>
                    <a:pt x="1344655" y="230854"/>
                    <a:pt x="1351204" y="242068"/>
                    <a:pt x="1362118" y="244960"/>
                  </a:cubicBezTo>
                  <a:cubicBezTo>
                    <a:pt x="1363904" y="245435"/>
                    <a:pt x="1365690" y="245674"/>
                    <a:pt x="1367436" y="245674"/>
                  </a:cubicBezTo>
                  <a:cubicBezTo>
                    <a:pt x="1376525" y="245674"/>
                    <a:pt x="1384820" y="239611"/>
                    <a:pt x="1387240" y="230458"/>
                  </a:cubicBezTo>
                  <a:lnTo>
                    <a:pt x="1441930" y="25680"/>
                  </a:lnTo>
                  <a:cubicBezTo>
                    <a:pt x="1444112" y="17557"/>
                    <a:pt x="1441096" y="8958"/>
                    <a:pt x="1434310" y="3965"/>
                  </a:cubicBezTo>
                  <a:cubicBezTo>
                    <a:pt x="1427642" y="-1027"/>
                    <a:pt x="1418395" y="-1463"/>
                    <a:pt x="1411331" y="3014"/>
                  </a:cubicBezTo>
                  <a:lnTo>
                    <a:pt x="1190430" y="139480"/>
                  </a:lnTo>
                  <a:cubicBezTo>
                    <a:pt x="1180786" y="145464"/>
                    <a:pt x="1177809" y="158064"/>
                    <a:pt x="1183802" y="167693"/>
                  </a:cubicBezTo>
                  <a:cubicBezTo>
                    <a:pt x="1189755" y="177322"/>
                    <a:pt x="1202455" y="180293"/>
                    <a:pt x="1211980" y="174350"/>
                  </a:cubicBezTo>
                  <a:lnTo>
                    <a:pt x="1324018" y="105087"/>
                  </a:lnTo>
                  <a:cubicBezTo>
                    <a:pt x="1255755" y="230695"/>
                    <a:pt x="1145583" y="432303"/>
                    <a:pt x="1064581" y="577645"/>
                  </a:cubicBezTo>
                  <a:lnTo>
                    <a:pt x="1000406" y="282286"/>
                  </a:lnTo>
                  <a:cubicBezTo>
                    <a:pt x="998421" y="273212"/>
                    <a:pt x="990563" y="266595"/>
                    <a:pt x="981237" y="266159"/>
                  </a:cubicBezTo>
                  <a:cubicBezTo>
                    <a:pt x="971831" y="265327"/>
                    <a:pt x="963536" y="271627"/>
                    <a:pt x="960798" y="280463"/>
                  </a:cubicBezTo>
                  <a:close/>
                </a:path>
              </a:pathLst>
            </a:custGeom>
            <a:grpFill/>
            <a:ln w="39688" cap="flat">
              <a:noFill/>
              <a:prstDash val="solid"/>
              <a:round/>
            </a:ln>
          </p:spPr>
          <p:txBody>
            <a:bodyPr rtlCol="0" anchor="ctr"/>
            <a:lstStyle/>
            <a:p>
              <a:endParaRPr lang="en-LT"/>
            </a:p>
          </p:txBody>
        </p:sp>
        <p:sp>
          <p:nvSpPr>
            <p:cNvPr id="109" name="Freeform 108">
              <a:extLst>
                <a:ext uri="{FF2B5EF4-FFF2-40B4-BE49-F238E27FC236}">
                  <a16:creationId xmlns:a16="http://schemas.microsoft.com/office/drawing/2014/main" id="{9FD5E82B-C773-4347-8B97-E8FD0C98575B}"/>
                </a:ext>
              </a:extLst>
            </p:cNvPr>
            <p:cNvSpPr/>
            <p:nvPr/>
          </p:nvSpPr>
          <p:spPr>
            <a:xfrm>
              <a:off x="5314661" y="2323207"/>
              <a:ext cx="178118" cy="45966"/>
            </a:xfrm>
            <a:custGeom>
              <a:avLst/>
              <a:gdLst>
                <a:gd name="connsiteX0" fmla="*/ 20416 w 178118"/>
                <a:gd name="connsiteY0" fmla="*/ 45866 h 45966"/>
                <a:gd name="connsiteX1" fmla="*/ 22837 w 178118"/>
                <a:gd name="connsiteY1" fmla="*/ 45746 h 45966"/>
                <a:gd name="connsiteX2" fmla="*/ 156068 w 178118"/>
                <a:gd name="connsiteY2" fmla="*/ 42656 h 45966"/>
                <a:gd name="connsiteX3" fmla="*/ 178015 w 178118"/>
                <a:gd name="connsiteY3" fmla="*/ 23675 h 45966"/>
                <a:gd name="connsiteX4" fmla="*/ 159045 w 178118"/>
                <a:gd name="connsiteY4" fmla="*/ 1803 h 45966"/>
                <a:gd name="connsiteX5" fmla="*/ 18035 w 178118"/>
                <a:gd name="connsiteY5" fmla="*/ 5052 h 45966"/>
                <a:gd name="connsiteX6" fmla="*/ 96 w 178118"/>
                <a:gd name="connsiteY6" fmla="*/ 27836 h 45966"/>
                <a:gd name="connsiteX7" fmla="*/ 20416 w 178118"/>
                <a:gd name="connsiteY7" fmla="*/ 45866 h 4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118" h="45966">
                  <a:moveTo>
                    <a:pt x="20416" y="45866"/>
                  </a:moveTo>
                  <a:cubicBezTo>
                    <a:pt x="21250" y="45866"/>
                    <a:pt x="22043" y="45866"/>
                    <a:pt x="22837" y="45746"/>
                  </a:cubicBezTo>
                  <a:cubicBezTo>
                    <a:pt x="66930" y="40516"/>
                    <a:pt x="111777" y="39446"/>
                    <a:pt x="156068" y="42656"/>
                  </a:cubicBezTo>
                  <a:cubicBezTo>
                    <a:pt x="167379" y="43646"/>
                    <a:pt x="177182" y="35048"/>
                    <a:pt x="178015" y="23675"/>
                  </a:cubicBezTo>
                  <a:cubicBezTo>
                    <a:pt x="178809" y="12422"/>
                    <a:pt x="170316" y="2595"/>
                    <a:pt x="159045" y="1803"/>
                  </a:cubicBezTo>
                  <a:cubicBezTo>
                    <a:pt x="112134" y="-1565"/>
                    <a:pt x="64628" y="-455"/>
                    <a:pt x="18035" y="5052"/>
                  </a:cubicBezTo>
                  <a:cubicBezTo>
                    <a:pt x="6803" y="6400"/>
                    <a:pt x="-1253" y="16583"/>
                    <a:pt x="96" y="27836"/>
                  </a:cubicBezTo>
                  <a:cubicBezTo>
                    <a:pt x="1327" y="38218"/>
                    <a:pt x="10217" y="45866"/>
                    <a:pt x="20416" y="45866"/>
                  </a:cubicBezTo>
                  <a:close/>
                </a:path>
              </a:pathLst>
            </a:custGeom>
            <a:grpFill/>
            <a:ln w="39688" cap="flat">
              <a:noFill/>
              <a:prstDash val="solid"/>
              <a:round/>
            </a:ln>
          </p:spPr>
          <p:txBody>
            <a:bodyPr rtlCol="0" anchor="ctr"/>
            <a:lstStyle/>
            <a:p>
              <a:endParaRPr lang="en-LT"/>
            </a:p>
          </p:txBody>
        </p:sp>
        <p:sp>
          <p:nvSpPr>
            <p:cNvPr id="110" name="Freeform 109">
              <a:extLst>
                <a:ext uri="{FF2B5EF4-FFF2-40B4-BE49-F238E27FC236}">
                  <a16:creationId xmlns:a16="http://schemas.microsoft.com/office/drawing/2014/main" id="{ACC87DA2-115A-6241-8403-997FB4A175D0}"/>
                </a:ext>
              </a:extLst>
            </p:cNvPr>
            <p:cNvSpPr/>
            <p:nvPr/>
          </p:nvSpPr>
          <p:spPr>
            <a:xfrm>
              <a:off x="5581667" y="2324438"/>
              <a:ext cx="123031" cy="40932"/>
            </a:xfrm>
            <a:custGeom>
              <a:avLst/>
              <a:gdLst>
                <a:gd name="connsiteX0" fmla="*/ 102520 w 123031"/>
                <a:gd name="connsiteY0" fmla="*/ 40831 h 40932"/>
                <a:gd name="connsiteX1" fmla="*/ 122999 w 123031"/>
                <a:gd name="connsiteY1" fmla="*/ 20345 h 40932"/>
                <a:gd name="connsiteX2" fmla="*/ 102520 w 123031"/>
                <a:gd name="connsiteY2" fmla="*/ -101 h 40932"/>
                <a:gd name="connsiteX3" fmla="*/ 20447 w 123031"/>
                <a:gd name="connsiteY3" fmla="*/ -101 h 40932"/>
                <a:gd name="connsiteX4" fmla="*/ -32 w 123031"/>
                <a:gd name="connsiteY4" fmla="*/ 20345 h 40932"/>
                <a:gd name="connsiteX5" fmla="*/ 20447 w 123031"/>
                <a:gd name="connsiteY5" fmla="*/ 40831 h 40932"/>
                <a:gd name="connsiteX6" fmla="*/ 102520 w 123031"/>
                <a:gd name="connsiteY6" fmla="*/ 40831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031" h="40932">
                  <a:moveTo>
                    <a:pt x="102520" y="40831"/>
                  </a:moveTo>
                  <a:cubicBezTo>
                    <a:pt x="113831" y="40831"/>
                    <a:pt x="122999" y="31677"/>
                    <a:pt x="122999" y="20345"/>
                  </a:cubicBezTo>
                  <a:cubicBezTo>
                    <a:pt x="122999" y="9052"/>
                    <a:pt x="113831" y="-101"/>
                    <a:pt x="102520" y="-101"/>
                  </a:cubicBezTo>
                  <a:lnTo>
                    <a:pt x="20447" y="-101"/>
                  </a:lnTo>
                  <a:cubicBezTo>
                    <a:pt x="9136" y="-101"/>
                    <a:pt x="-32" y="9052"/>
                    <a:pt x="-32" y="20345"/>
                  </a:cubicBezTo>
                  <a:cubicBezTo>
                    <a:pt x="-32" y="31677"/>
                    <a:pt x="9136" y="40831"/>
                    <a:pt x="20447" y="40831"/>
                  </a:cubicBezTo>
                  <a:lnTo>
                    <a:pt x="102520" y="40831"/>
                  </a:lnTo>
                  <a:close/>
                </a:path>
              </a:pathLst>
            </a:custGeom>
            <a:grpFill/>
            <a:ln w="39688" cap="flat">
              <a:noFill/>
              <a:prstDash val="solid"/>
              <a:round/>
            </a:ln>
          </p:spPr>
          <p:txBody>
            <a:bodyPr rtlCol="0" anchor="ctr"/>
            <a:lstStyle/>
            <a:p>
              <a:endParaRPr lang="en-LT"/>
            </a:p>
          </p:txBody>
        </p:sp>
        <p:sp>
          <p:nvSpPr>
            <p:cNvPr id="111" name="Freeform 110">
              <a:extLst>
                <a:ext uri="{FF2B5EF4-FFF2-40B4-BE49-F238E27FC236}">
                  <a16:creationId xmlns:a16="http://schemas.microsoft.com/office/drawing/2014/main" id="{03E5E962-1D08-0B46-B57C-21C71F9D5D88}"/>
                </a:ext>
              </a:extLst>
            </p:cNvPr>
            <p:cNvSpPr/>
            <p:nvPr/>
          </p:nvSpPr>
          <p:spPr>
            <a:xfrm>
              <a:off x="5807251" y="2310767"/>
              <a:ext cx="158115" cy="40971"/>
            </a:xfrm>
            <a:custGeom>
              <a:avLst/>
              <a:gdLst>
                <a:gd name="connsiteX0" fmla="*/ 20545 w 158115"/>
                <a:gd name="connsiteY0" fmla="*/ 40869 h 40971"/>
                <a:gd name="connsiteX1" fmla="*/ 137583 w 158115"/>
                <a:gd name="connsiteY1" fmla="*/ 40869 h 40971"/>
                <a:gd name="connsiteX2" fmla="*/ 158102 w 158115"/>
                <a:gd name="connsiteY2" fmla="*/ 20384 h 40971"/>
                <a:gd name="connsiteX3" fmla="*/ 137583 w 158115"/>
                <a:gd name="connsiteY3" fmla="*/ -103 h 40971"/>
                <a:gd name="connsiteX4" fmla="*/ 20545 w 158115"/>
                <a:gd name="connsiteY4" fmla="*/ -103 h 40971"/>
                <a:gd name="connsiteX5" fmla="*/ -13 w 158115"/>
                <a:gd name="connsiteY5" fmla="*/ 20384 h 40971"/>
                <a:gd name="connsiteX6" fmla="*/ 20545 w 158115"/>
                <a:gd name="connsiteY6" fmla="*/ 40869 h 40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115" h="40971">
                  <a:moveTo>
                    <a:pt x="20545" y="40869"/>
                  </a:moveTo>
                  <a:lnTo>
                    <a:pt x="137583" y="40869"/>
                  </a:lnTo>
                  <a:cubicBezTo>
                    <a:pt x="148895" y="40869"/>
                    <a:pt x="158102" y="31716"/>
                    <a:pt x="158102" y="20384"/>
                  </a:cubicBezTo>
                  <a:cubicBezTo>
                    <a:pt x="158102" y="9051"/>
                    <a:pt x="148895" y="-103"/>
                    <a:pt x="137583" y="-103"/>
                  </a:cubicBezTo>
                  <a:lnTo>
                    <a:pt x="20545" y="-103"/>
                  </a:lnTo>
                  <a:cubicBezTo>
                    <a:pt x="9194" y="-103"/>
                    <a:pt x="-13" y="9051"/>
                    <a:pt x="-13" y="20384"/>
                  </a:cubicBezTo>
                  <a:cubicBezTo>
                    <a:pt x="-13" y="31716"/>
                    <a:pt x="9194" y="40869"/>
                    <a:pt x="20545" y="40869"/>
                  </a:cubicBezTo>
                  <a:close/>
                </a:path>
              </a:pathLst>
            </a:custGeom>
            <a:grpFill/>
            <a:ln w="39688" cap="flat">
              <a:noFill/>
              <a:prstDash val="solid"/>
              <a:round/>
            </a:ln>
          </p:spPr>
          <p:txBody>
            <a:bodyPr rtlCol="0" anchor="ctr"/>
            <a:lstStyle/>
            <a:p>
              <a:endParaRPr lang="en-LT"/>
            </a:p>
          </p:txBody>
        </p:sp>
        <p:sp>
          <p:nvSpPr>
            <p:cNvPr id="112" name="Freeform 111">
              <a:extLst>
                <a:ext uri="{FF2B5EF4-FFF2-40B4-BE49-F238E27FC236}">
                  <a16:creationId xmlns:a16="http://schemas.microsoft.com/office/drawing/2014/main" id="{33D64553-9703-2E45-A069-89736C833646}"/>
                </a:ext>
              </a:extLst>
            </p:cNvPr>
            <p:cNvSpPr/>
            <p:nvPr/>
          </p:nvSpPr>
          <p:spPr>
            <a:xfrm>
              <a:off x="6470470" y="2269836"/>
              <a:ext cx="116522" cy="40931"/>
            </a:xfrm>
            <a:custGeom>
              <a:avLst/>
              <a:gdLst>
                <a:gd name="connsiteX0" fmla="*/ 20557 w 116522"/>
                <a:gd name="connsiteY0" fmla="*/ -106 h 40931"/>
                <a:gd name="connsiteX1" fmla="*/ 38 w 116522"/>
                <a:gd name="connsiteY1" fmla="*/ 20340 h 40931"/>
                <a:gd name="connsiteX2" fmla="*/ 20557 w 116522"/>
                <a:gd name="connsiteY2" fmla="*/ 40826 h 40931"/>
                <a:gd name="connsiteX3" fmla="*/ 96043 w 116522"/>
                <a:gd name="connsiteY3" fmla="*/ 40826 h 40931"/>
                <a:gd name="connsiteX4" fmla="*/ 116561 w 116522"/>
                <a:gd name="connsiteY4" fmla="*/ 20340 h 40931"/>
                <a:gd name="connsiteX5" fmla="*/ 96043 w 116522"/>
                <a:gd name="connsiteY5" fmla="*/ -106 h 40931"/>
                <a:gd name="connsiteX6" fmla="*/ 20557 w 116522"/>
                <a:gd name="connsiteY6" fmla="*/ -106 h 40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522" h="40931">
                  <a:moveTo>
                    <a:pt x="20557" y="-106"/>
                  </a:moveTo>
                  <a:cubicBezTo>
                    <a:pt x="9206" y="-106"/>
                    <a:pt x="38" y="9048"/>
                    <a:pt x="38" y="20340"/>
                  </a:cubicBezTo>
                  <a:cubicBezTo>
                    <a:pt x="38" y="31673"/>
                    <a:pt x="9206" y="40826"/>
                    <a:pt x="20557" y="40826"/>
                  </a:cubicBezTo>
                  <a:lnTo>
                    <a:pt x="96043" y="40826"/>
                  </a:lnTo>
                  <a:cubicBezTo>
                    <a:pt x="107393" y="40826"/>
                    <a:pt x="116561" y="31673"/>
                    <a:pt x="116561" y="20340"/>
                  </a:cubicBezTo>
                  <a:cubicBezTo>
                    <a:pt x="116561" y="9048"/>
                    <a:pt x="107393" y="-106"/>
                    <a:pt x="96043" y="-106"/>
                  </a:cubicBezTo>
                  <a:lnTo>
                    <a:pt x="20557" y="-106"/>
                  </a:lnTo>
                  <a:close/>
                </a:path>
              </a:pathLst>
            </a:custGeom>
            <a:grpFill/>
            <a:ln w="39688" cap="flat">
              <a:noFill/>
              <a:prstDash val="solid"/>
              <a:round/>
            </a:ln>
          </p:spPr>
          <p:txBody>
            <a:bodyPr rtlCol="0" anchor="ctr"/>
            <a:lstStyle/>
            <a:p>
              <a:endParaRPr lang="en-LT"/>
            </a:p>
          </p:txBody>
        </p:sp>
        <p:sp>
          <p:nvSpPr>
            <p:cNvPr id="113" name="Freeform 112">
              <a:extLst>
                <a:ext uri="{FF2B5EF4-FFF2-40B4-BE49-F238E27FC236}">
                  <a16:creationId xmlns:a16="http://schemas.microsoft.com/office/drawing/2014/main" id="{D66D981D-15F9-BB4D-B516-95A327BA2F7A}"/>
                </a:ext>
              </a:extLst>
            </p:cNvPr>
            <p:cNvSpPr/>
            <p:nvPr/>
          </p:nvSpPr>
          <p:spPr>
            <a:xfrm>
              <a:off x="5697912" y="3013860"/>
              <a:ext cx="213161" cy="40932"/>
            </a:xfrm>
            <a:custGeom>
              <a:avLst/>
              <a:gdLst>
                <a:gd name="connsiteX0" fmla="*/ 192624 w 213161"/>
                <a:gd name="connsiteY0" fmla="*/ 40886 h 40932"/>
                <a:gd name="connsiteX1" fmla="*/ 213142 w 213161"/>
                <a:gd name="connsiteY1" fmla="*/ 20439 h 40932"/>
                <a:gd name="connsiteX2" fmla="*/ 192624 w 213161"/>
                <a:gd name="connsiteY2" fmla="*/ -46 h 40932"/>
                <a:gd name="connsiteX3" fmla="*/ 20499 w 213161"/>
                <a:gd name="connsiteY3" fmla="*/ -46 h 40932"/>
                <a:gd name="connsiteX4" fmla="*/ -20 w 213161"/>
                <a:gd name="connsiteY4" fmla="*/ 20439 h 40932"/>
                <a:gd name="connsiteX5" fmla="*/ 20499 w 213161"/>
                <a:gd name="connsiteY5" fmla="*/ 40886 h 40932"/>
                <a:gd name="connsiteX6" fmla="*/ 192624 w 213161"/>
                <a:gd name="connsiteY6" fmla="*/ 4088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161" h="40932">
                  <a:moveTo>
                    <a:pt x="192624" y="40886"/>
                  </a:moveTo>
                  <a:cubicBezTo>
                    <a:pt x="203974" y="40886"/>
                    <a:pt x="213142" y="31732"/>
                    <a:pt x="213142" y="20439"/>
                  </a:cubicBezTo>
                  <a:cubicBezTo>
                    <a:pt x="213142" y="9107"/>
                    <a:pt x="203974" y="-46"/>
                    <a:pt x="192624" y="-46"/>
                  </a:cubicBezTo>
                  <a:lnTo>
                    <a:pt x="20499" y="-46"/>
                  </a:lnTo>
                  <a:cubicBezTo>
                    <a:pt x="9148" y="-46"/>
                    <a:pt x="-20" y="9107"/>
                    <a:pt x="-20" y="20439"/>
                  </a:cubicBezTo>
                  <a:cubicBezTo>
                    <a:pt x="-20" y="31732"/>
                    <a:pt x="9148" y="40886"/>
                    <a:pt x="20499" y="40886"/>
                  </a:cubicBezTo>
                  <a:lnTo>
                    <a:pt x="192624" y="40886"/>
                  </a:lnTo>
                  <a:close/>
                </a:path>
              </a:pathLst>
            </a:custGeom>
            <a:grpFill/>
            <a:ln w="39688" cap="flat">
              <a:noFill/>
              <a:prstDash val="solid"/>
              <a:round/>
            </a:ln>
          </p:spPr>
          <p:txBody>
            <a:bodyPr rtlCol="0" anchor="ctr"/>
            <a:lstStyle/>
            <a:p>
              <a:endParaRPr lang="en-LT"/>
            </a:p>
          </p:txBody>
        </p:sp>
        <p:sp>
          <p:nvSpPr>
            <p:cNvPr id="114" name="Freeform 113">
              <a:extLst>
                <a:ext uri="{FF2B5EF4-FFF2-40B4-BE49-F238E27FC236}">
                  <a16:creationId xmlns:a16="http://schemas.microsoft.com/office/drawing/2014/main" id="{22D00199-788A-444B-88A2-39F1E2CBB514}"/>
                </a:ext>
              </a:extLst>
            </p:cNvPr>
            <p:cNvSpPr/>
            <p:nvPr/>
          </p:nvSpPr>
          <p:spPr>
            <a:xfrm>
              <a:off x="6244846" y="3007045"/>
              <a:ext cx="172521" cy="40932"/>
            </a:xfrm>
            <a:custGeom>
              <a:avLst/>
              <a:gdLst>
                <a:gd name="connsiteX0" fmla="*/ 152065 w 172521"/>
                <a:gd name="connsiteY0" fmla="*/ 40885 h 40932"/>
                <a:gd name="connsiteX1" fmla="*/ 172544 w 172521"/>
                <a:gd name="connsiteY1" fmla="*/ 20399 h 40932"/>
                <a:gd name="connsiteX2" fmla="*/ 152065 w 172521"/>
                <a:gd name="connsiteY2" fmla="*/ -47 h 40932"/>
                <a:gd name="connsiteX3" fmla="*/ 20541 w 172521"/>
                <a:gd name="connsiteY3" fmla="*/ -47 h 40932"/>
                <a:gd name="connsiteX4" fmla="*/ 22 w 172521"/>
                <a:gd name="connsiteY4" fmla="*/ 20399 h 40932"/>
                <a:gd name="connsiteX5" fmla="*/ 20541 w 172521"/>
                <a:gd name="connsiteY5" fmla="*/ 40885 h 40932"/>
                <a:gd name="connsiteX6" fmla="*/ 152065 w 172521"/>
                <a:gd name="connsiteY6" fmla="*/ 40885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21" h="40932">
                  <a:moveTo>
                    <a:pt x="152065" y="40885"/>
                  </a:moveTo>
                  <a:cubicBezTo>
                    <a:pt x="163416" y="40885"/>
                    <a:pt x="172544" y="31732"/>
                    <a:pt x="172544" y="20399"/>
                  </a:cubicBezTo>
                  <a:cubicBezTo>
                    <a:pt x="172544" y="9106"/>
                    <a:pt x="163416" y="-47"/>
                    <a:pt x="152065" y="-47"/>
                  </a:cubicBezTo>
                  <a:lnTo>
                    <a:pt x="20541" y="-47"/>
                  </a:lnTo>
                  <a:cubicBezTo>
                    <a:pt x="9190" y="-47"/>
                    <a:pt x="22" y="9106"/>
                    <a:pt x="22" y="20399"/>
                  </a:cubicBezTo>
                  <a:cubicBezTo>
                    <a:pt x="22" y="31732"/>
                    <a:pt x="9190" y="40885"/>
                    <a:pt x="20541" y="40885"/>
                  </a:cubicBezTo>
                  <a:lnTo>
                    <a:pt x="152065" y="40885"/>
                  </a:lnTo>
                  <a:close/>
                </a:path>
              </a:pathLst>
            </a:custGeom>
            <a:grpFill/>
            <a:ln w="39688" cap="flat">
              <a:noFill/>
              <a:prstDash val="solid"/>
              <a:round/>
            </a:ln>
          </p:spPr>
          <p:txBody>
            <a:bodyPr rtlCol="0" anchor="ctr"/>
            <a:lstStyle/>
            <a:p>
              <a:endParaRPr lang="en-LT"/>
            </a:p>
          </p:txBody>
        </p:sp>
        <p:sp>
          <p:nvSpPr>
            <p:cNvPr id="115" name="Freeform 114">
              <a:extLst>
                <a:ext uri="{FF2B5EF4-FFF2-40B4-BE49-F238E27FC236}">
                  <a16:creationId xmlns:a16="http://schemas.microsoft.com/office/drawing/2014/main" id="{34E47DDF-8C58-6049-938F-C9337C463C2E}"/>
                </a:ext>
              </a:extLst>
            </p:cNvPr>
            <p:cNvSpPr/>
            <p:nvPr/>
          </p:nvSpPr>
          <p:spPr>
            <a:xfrm>
              <a:off x="6490988" y="3013860"/>
              <a:ext cx="422275" cy="40932"/>
            </a:xfrm>
            <a:custGeom>
              <a:avLst/>
              <a:gdLst>
                <a:gd name="connsiteX0" fmla="*/ 20570 w 422275"/>
                <a:gd name="connsiteY0" fmla="*/ -46 h 40932"/>
                <a:gd name="connsiteX1" fmla="*/ 52 w 422275"/>
                <a:gd name="connsiteY1" fmla="*/ 20439 h 40932"/>
                <a:gd name="connsiteX2" fmla="*/ 20570 w 422275"/>
                <a:gd name="connsiteY2" fmla="*/ 40886 h 40932"/>
                <a:gd name="connsiteX3" fmla="*/ 401809 w 422275"/>
                <a:gd name="connsiteY3" fmla="*/ 40886 h 40932"/>
                <a:gd name="connsiteX4" fmla="*/ 422327 w 422275"/>
                <a:gd name="connsiteY4" fmla="*/ 20439 h 40932"/>
                <a:gd name="connsiteX5" fmla="*/ 401809 w 422275"/>
                <a:gd name="connsiteY5" fmla="*/ -46 h 40932"/>
                <a:gd name="connsiteX6" fmla="*/ 20570 w 422275"/>
                <a:gd name="connsiteY6" fmla="*/ -4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275" h="40932">
                  <a:moveTo>
                    <a:pt x="20570" y="-46"/>
                  </a:moveTo>
                  <a:cubicBezTo>
                    <a:pt x="9220" y="-46"/>
                    <a:pt x="52" y="9107"/>
                    <a:pt x="52" y="20439"/>
                  </a:cubicBezTo>
                  <a:cubicBezTo>
                    <a:pt x="52" y="31732"/>
                    <a:pt x="9220" y="40886"/>
                    <a:pt x="20570" y="40886"/>
                  </a:cubicBezTo>
                  <a:lnTo>
                    <a:pt x="401809" y="40886"/>
                  </a:lnTo>
                  <a:cubicBezTo>
                    <a:pt x="413159" y="40886"/>
                    <a:pt x="422327" y="31732"/>
                    <a:pt x="422327" y="20439"/>
                  </a:cubicBezTo>
                  <a:cubicBezTo>
                    <a:pt x="422327" y="9107"/>
                    <a:pt x="413159" y="-46"/>
                    <a:pt x="401809" y="-46"/>
                  </a:cubicBezTo>
                  <a:lnTo>
                    <a:pt x="20570" y="-46"/>
                  </a:lnTo>
                  <a:close/>
                </a:path>
              </a:pathLst>
            </a:custGeom>
            <a:grpFill/>
            <a:ln w="39688" cap="flat">
              <a:noFill/>
              <a:prstDash val="solid"/>
              <a:round/>
            </a:ln>
          </p:spPr>
          <p:txBody>
            <a:bodyPr rtlCol="0" anchor="ctr"/>
            <a:lstStyle/>
            <a:p>
              <a:endParaRPr lang="en-LT"/>
            </a:p>
          </p:txBody>
        </p:sp>
        <p:sp>
          <p:nvSpPr>
            <p:cNvPr id="116" name="Freeform 115">
              <a:extLst>
                <a:ext uri="{FF2B5EF4-FFF2-40B4-BE49-F238E27FC236}">
                  <a16:creationId xmlns:a16="http://schemas.microsoft.com/office/drawing/2014/main" id="{D703AF9C-10C5-8442-B817-15B343CC21EA}"/>
                </a:ext>
              </a:extLst>
            </p:cNvPr>
            <p:cNvSpPr/>
            <p:nvPr/>
          </p:nvSpPr>
          <p:spPr>
            <a:xfrm>
              <a:off x="5361802" y="1907238"/>
              <a:ext cx="350719" cy="376030"/>
            </a:xfrm>
            <a:custGeom>
              <a:avLst/>
              <a:gdLst>
                <a:gd name="connsiteX0" fmla="*/ 100801 w 350719"/>
                <a:gd name="connsiteY0" fmla="*/ 100085 h 376030"/>
                <a:gd name="connsiteX1" fmla="*/ 205219 w 350719"/>
                <a:gd name="connsiteY1" fmla="*/ 46434 h 376030"/>
                <a:gd name="connsiteX2" fmla="*/ 145450 w 350719"/>
                <a:gd name="connsiteY2" fmla="*/ 189557 h 376030"/>
                <a:gd name="connsiteX3" fmla="*/ 135805 w 350719"/>
                <a:gd name="connsiteY3" fmla="*/ 209963 h 376030"/>
                <a:gd name="connsiteX4" fmla="*/ 137195 w 350719"/>
                <a:gd name="connsiteY4" fmla="*/ 229815 h 376030"/>
                <a:gd name="connsiteX5" fmla="*/ 154856 w 350719"/>
                <a:gd name="connsiteY5" fmla="*/ 239126 h 376030"/>
                <a:gd name="connsiteX6" fmla="*/ 305708 w 350719"/>
                <a:gd name="connsiteY6" fmla="*/ 246536 h 376030"/>
                <a:gd name="connsiteX7" fmla="*/ 309399 w 350719"/>
                <a:gd name="connsiteY7" fmla="*/ 246180 h 376030"/>
                <a:gd name="connsiteX8" fmla="*/ 309676 w 350719"/>
                <a:gd name="connsiteY8" fmla="*/ 251846 h 376030"/>
                <a:gd name="connsiteX9" fmla="*/ 298167 w 350719"/>
                <a:gd name="connsiteY9" fmla="*/ 298682 h 376030"/>
                <a:gd name="connsiteX10" fmla="*/ 133702 w 350719"/>
                <a:gd name="connsiteY10" fmla="*/ 327568 h 376030"/>
                <a:gd name="connsiteX11" fmla="*/ 41111 w 350719"/>
                <a:gd name="connsiteY11" fmla="*/ 206357 h 376030"/>
                <a:gd name="connsiteX12" fmla="*/ 100801 w 350719"/>
                <a:gd name="connsiteY12" fmla="*/ 100085 h 376030"/>
                <a:gd name="connsiteX13" fmla="*/ 121201 w 350719"/>
                <a:gd name="connsiteY13" fmla="*/ 366637 h 376030"/>
                <a:gd name="connsiteX14" fmla="*/ 182438 w 350719"/>
                <a:gd name="connsiteY14" fmla="*/ 375909 h 376030"/>
                <a:gd name="connsiteX15" fmla="*/ 320630 w 350719"/>
                <a:gd name="connsiteY15" fmla="*/ 332956 h 376030"/>
                <a:gd name="connsiteX16" fmla="*/ 350674 w 350719"/>
                <a:gd name="connsiteY16" fmla="*/ 251172 h 376030"/>
                <a:gd name="connsiteX17" fmla="*/ 338252 w 350719"/>
                <a:gd name="connsiteY17" fmla="*/ 216779 h 376030"/>
                <a:gd name="connsiteX18" fmla="*/ 310629 w 350719"/>
                <a:gd name="connsiteY18" fmla="*/ 205882 h 376030"/>
                <a:gd name="connsiteX19" fmla="*/ 186844 w 350719"/>
                <a:gd name="connsiteY19" fmla="*/ 197917 h 376030"/>
                <a:gd name="connsiteX20" fmla="*/ 253519 w 350719"/>
                <a:gd name="connsiteY20" fmla="*/ 24997 h 376030"/>
                <a:gd name="connsiteX21" fmla="*/ 248756 w 350719"/>
                <a:gd name="connsiteY21" fmla="*/ 6691 h 376030"/>
                <a:gd name="connsiteX22" fmla="*/ 231056 w 350719"/>
                <a:gd name="connsiteY22" fmla="*/ 74 h 376030"/>
                <a:gd name="connsiteX23" fmla="*/ 74091 w 350719"/>
                <a:gd name="connsiteY23" fmla="*/ 68980 h 376030"/>
                <a:gd name="connsiteX24" fmla="*/ 74 w 350719"/>
                <a:gd name="connsiteY24" fmla="*/ 204654 h 376030"/>
                <a:gd name="connsiteX25" fmla="*/ 121201 w 350719"/>
                <a:gd name="connsiteY25" fmla="*/ 366637 h 37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0719" h="376030">
                  <a:moveTo>
                    <a:pt x="100801" y="100085"/>
                  </a:moveTo>
                  <a:cubicBezTo>
                    <a:pt x="130646" y="74567"/>
                    <a:pt x="166921" y="56023"/>
                    <a:pt x="205219" y="46434"/>
                  </a:cubicBezTo>
                  <a:cubicBezTo>
                    <a:pt x="190376" y="94617"/>
                    <a:pt x="167556" y="142721"/>
                    <a:pt x="145450" y="189557"/>
                  </a:cubicBezTo>
                  <a:lnTo>
                    <a:pt x="135805" y="209963"/>
                  </a:lnTo>
                  <a:cubicBezTo>
                    <a:pt x="132789" y="216383"/>
                    <a:pt x="133345" y="223871"/>
                    <a:pt x="137195" y="229815"/>
                  </a:cubicBezTo>
                  <a:cubicBezTo>
                    <a:pt x="141084" y="235759"/>
                    <a:pt x="147196" y="238611"/>
                    <a:pt x="154856" y="239126"/>
                  </a:cubicBezTo>
                  <a:cubicBezTo>
                    <a:pt x="205060" y="237859"/>
                    <a:pt x="255781" y="240513"/>
                    <a:pt x="305708" y="246536"/>
                  </a:cubicBezTo>
                  <a:cubicBezTo>
                    <a:pt x="306660" y="246655"/>
                    <a:pt x="308962" y="246933"/>
                    <a:pt x="309399" y="246180"/>
                  </a:cubicBezTo>
                  <a:cubicBezTo>
                    <a:pt x="309518" y="247091"/>
                    <a:pt x="309676" y="248795"/>
                    <a:pt x="309676" y="251846"/>
                  </a:cubicBezTo>
                  <a:cubicBezTo>
                    <a:pt x="309597" y="276333"/>
                    <a:pt x="308804" y="291748"/>
                    <a:pt x="298167" y="298682"/>
                  </a:cubicBezTo>
                  <a:cubicBezTo>
                    <a:pt x="246692" y="332283"/>
                    <a:pt x="184026" y="343655"/>
                    <a:pt x="133702" y="327568"/>
                  </a:cubicBezTo>
                  <a:cubicBezTo>
                    <a:pt x="78775" y="310093"/>
                    <a:pt x="38928" y="257948"/>
                    <a:pt x="41111" y="206357"/>
                  </a:cubicBezTo>
                  <a:cubicBezTo>
                    <a:pt x="42580" y="169903"/>
                    <a:pt x="64328" y="131190"/>
                    <a:pt x="100801" y="100085"/>
                  </a:cubicBezTo>
                  <a:close/>
                  <a:moveTo>
                    <a:pt x="121201" y="366637"/>
                  </a:moveTo>
                  <a:cubicBezTo>
                    <a:pt x="140608" y="372779"/>
                    <a:pt x="161205" y="375909"/>
                    <a:pt x="182438" y="375909"/>
                  </a:cubicBezTo>
                  <a:cubicBezTo>
                    <a:pt x="229150" y="375909"/>
                    <a:pt x="278244" y="360654"/>
                    <a:pt x="320630" y="332956"/>
                  </a:cubicBezTo>
                  <a:cubicBezTo>
                    <a:pt x="350476" y="313422"/>
                    <a:pt x="350595" y="279345"/>
                    <a:pt x="350674" y="251172"/>
                  </a:cubicBezTo>
                  <a:cubicBezTo>
                    <a:pt x="350714" y="245546"/>
                    <a:pt x="350793" y="228468"/>
                    <a:pt x="338252" y="216779"/>
                  </a:cubicBezTo>
                  <a:cubicBezTo>
                    <a:pt x="328925" y="208140"/>
                    <a:pt x="317059" y="206674"/>
                    <a:pt x="310629" y="205882"/>
                  </a:cubicBezTo>
                  <a:cubicBezTo>
                    <a:pt x="269751" y="200928"/>
                    <a:pt x="228119" y="198274"/>
                    <a:pt x="186844" y="197917"/>
                  </a:cubicBezTo>
                  <a:cubicBezTo>
                    <a:pt x="213236" y="142087"/>
                    <a:pt x="239747" y="84434"/>
                    <a:pt x="253519" y="24997"/>
                  </a:cubicBezTo>
                  <a:cubicBezTo>
                    <a:pt x="254987" y="18499"/>
                    <a:pt x="253241" y="11644"/>
                    <a:pt x="248756" y="6691"/>
                  </a:cubicBezTo>
                  <a:cubicBezTo>
                    <a:pt x="244311" y="1698"/>
                    <a:pt x="237644" y="-877"/>
                    <a:pt x="231056" y="74"/>
                  </a:cubicBezTo>
                  <a:cubicBezTo>
                    <a:pt x="173707" y="7047"/>
                    <a:pt x="117986" y="31535"/>
                    <a:pt x="74091" y="68980"/>
                  </a:cubicBezTo>
                  <a:cubicBezTo>
                    <a:pt x="28411" y="107970"/>
                    <a:pt x="2098" y="156193"/>
                    <a:pt x="74" y="204654"/>
                  </a:cubicBezTo>
                  <a:cubicBezTo>
                    <a:pt x="-2823" y="274114"/>
                    <a:pt x="49287" y="343695"/>
                    <a:pt x="121201" y="366637"/>
                  </a:cubicBezTo>
                  <a:close/>
                </a:path>
              </a:pathLst>
            </a:custGeom>
            <a:grpFill/>
            <a:ln w="39688" cap="flat">
              <a:noFill/>
              <a:prstDash val="solid"/>
              <a:round/>
            </a:ln>
          </p:spPr>
          <p:txBody>
            <a:bodyPr rtlCol="0" anchor="ctr"/>
            <a:lstStyle/>
            <a:p>
              <a:endParaRPr lang="en-LT"/>
            </a:p>
          </p:txBody>
        </p:sp>
        <p:sp>
          <p:nvSpPr>
            <p:cNvPr id="117" name="Freeform 116">
              <a:extLst>
                <a:ext uri="{FF2B5EF4-FFF2-40B4-BE49-F238E27FC236}">
                  <a16:creationId xmlns:a16="http://schemas.microsoft.com/office/drawing/2014/main" id="{E7511582-559C-584D-A3BC-7F68D2CCE993}"/>
                </a:ext>
              </a:extLst>
            </p:cNvPr>
            <p:cNvSpPr/>
            <p:nvPr/>
          </p:nvSpPr>
          <p:spPr>
            <a:xfrm>
              <a:off x="5568014" y="1916018"/>
              <a:ext cx="717856" cy="183393"/>
            </a:xfrm>
            <a:custGeom>
              <a:avLst/>
              <a:gdLst>
                <a:gd name="connsiteX0" fmla="*/ 86906 w 717856"/>
                <a:gd name="connsiteY0" fmla="*/ 52822 h 183393"/>
                <a:gd name="connsiteX1" fmla="*/ 124093 w 717856"/>
                <a:gd name="connsiteY1" fmla="*/ 141581 h 183393"/>
                <a:gd name="connsiteX2" fmla="*/ 53291 w 717856"/>
                <a:gd name="connsiteY2" fmla="*/ 142056 h 183393"/>
                <a:gd name="connsiteX3" fmla="*/ 86906 w 717856"/>
                <a:gd name="connsiteY3" fmla="*/ 52822 h 183393"/>
                <a:gd name="connsiteX4" fmla="*/ -9 w 717856"/>
                <a:gd name="connsiteY4" fmla="*/ 162978 h 183393"/>
                <a:gd name="connsiteX5" fmla="*/ 20469 w 717856"/>
                <a:gd name="connsiteY5" fmla="*/ 183265 h 183393"/>
                <a:gd name="connsiteX6" fmla="*/ 20668 w 717856"/>
                <a:gd name="connsiteY6" fmla="*/ 183265 h 183393"/>
                <a:gd name="connsiteX7" fmla="*/ 142548 w 717856"/>
                <a:gd name="connsiteY7" fmla="*/ 182394 h 183393"/>
                <a:gd name="connsiteX8" fmla="*/ 162511 w 717856"/>
                <a:gd name="connsiteY8" fmla="*/ 165870 h 183393"/>
                <a:gd name="connsiteX9" fmla="*/ 159733 w 717856"/>
                <a:gd name="connsiteY9" fmla="*/ 98786 h 183393"/>
                <a:gd name="connsiteX10" fmla="*/ 170964 w 717856"/>
                <a:gd name="connsiteY10" fmla="*/ 102551 h 183393"/>
                <a:gd name="connsiteX11" fmla="*/ 172393 w 717856"/>
                <a:gd name="connsiteY11" fmla="*/ 102511 h 183393"/>
                <a:gd name="connsiteX12" fmla="*/ 410638 w 717856"/>
                <a:gd name="connsiteY12" fmla="*/ 97043 h 183393"/>
                <a:gd name="connsiteX13" fmla="*/ 699404 w 717856"/>
                <a:gd name="connsiteY13" fmla="*/ 87454 h 183393"/>
                <a:gd name="connsiteX14" fmla="*/ 717740 w 717856"/>
                <a:gd name="connsiteY14" fmla="*/ 65026 h 183393"/>
                <a:gd name="connsiteX15" fmla="*/ 695316 w 717856"/>
                <a:gd name="connsiteY15" fmla="*/ 46720 h 183393"/>
                <a:gd name="connsiteX16" fmla="*/ 410677 w 717856"/>
                <a:gd name="connsiteY16" fmla="*/ 56071 h 183393"/>
                <a:gd name="connsiteX17" fmla="*/ 169615 w 717856"/>
                <a:gd name="connsiteY17" fmla="*/ 61619 h 183393"/>
                <a:gd name="connsiteX18" fmla="*/ 151597 w 717856"/>
                <a:gd name="connsiteY18" fmla="*/ 75368 h 183393"/>
                <a:gd name="connsiteX19" fmla="*/ 87343 w 717856"/>
                <a:gd name="connsiteY19" fmla="*/ 2539 h 183393"/>
                <a:gd name="connsiteX20" fmla="*/ 70237 w 717856"/>
                <a:gd name="connsiteY20" fmla="*/ 1073 h 183393"/>
                <a:gd name="connsiteX21" fmla="*/ 58014 w 717856"/>
                <a:gd name="connsiteY21" fmla="*/ 13158 h 183393"/>
                <a:gd name="connsiteX22" fmla="*/ 7690 w 717856"/>
                <a:gd name="connsiteY22" fmla="*/ 146771 h 183393"/>
                <a:gd name="connsiteX23" fmla="*/ -9 w 717856"/>
                <a:gd name="connsiteY23" fmla="*/ 162978 h 18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7856" h="183393">
                  <a:moveTo>
                    <a:pt x="86906" y="52822"/>
                  </a:moveTo>
                  <a:cubicBezTo>
                    <a:pt x="110838" y="75289"/>
                    <a:pt x="125086" y="108930"/>
                    <a:pt x="124093" y="141581"/>
                  </a:cubicBezTo>
                  <a:lnTo>
                    <a:pt x="53291" y="142056"/>
                  </a:lnTo>
                  <a:lnTo>
                    <a:pt x="86906" y="52822"/>
                  </a:lnTo>
                  <a:close/>
                  <a:moveTo>
                    <a:pt x="-9" y="162978"/>
                  </a:moveTo>
                  <a:cubicBezTo>
                    <a:pt x="70" y="174191"/>
                    <a:pt x="9238" y="183265"/>
                    <a:pt x="20469" y="183265"/>
                  </a:cubicBezTo>
                  <a:lnTo>
                    <a:pt x="20668" y="183265"/>
                  </a:lnTo>
                  <a:lnTo>
                    <a:pt x="142548" y="182394"/>
                  </a:lnTo>
                  <a:cubicBezTo>
                    <a:pt x="152272" y="182354"/>
                    <a:pt x="160646" y="175419"/>
                    <a:pt x="162511" y="165870"/>
                  </a:cubicBezTo>
                  <a:cubicBezTo>
                    <a:pt x="166876" y="143561"/>
                    <a:pt x="165527" y="120619"/>
                    <a:pt x="159733" y="98786"/>
                  </a:cubicBezTo>
                  <a:cubicBezTo>
                    <a:pt x="163027" y="101005"/>
                    <a:pt x="166757" y="102551"/>
                    <a:pt x="170964" y="102551"/>
                  </a:cubicBezTo>
                  <a:cubicBezTo>
                    <a:pt x="171441" y="102551"/>
                    <a:pt x="171917" y="102511"/>
                    <a:pt x="172393" y="102511"/>
                  </a:cubicBezTo>
                  <a:cubicBezTo>
                    <a:pt x="251689" y="96964"/>
                    <a:pt x="332731" y="97241"/>
                    <a:pt x="410638" y="97043"/>
                  </a:cubicBezTo>
                  <a:cubicBezTo>
                    <a:pt x="505491" y="97122"/>
                    <a:pt x="602804" y="97122"/>
                    <a:pt x="699404" y="87454"/>
                  </a:cubicBezTo>
                  <a:cubicBezTo>
                    <a:pt x="710636" y="86344"/>
                    <a:pt x="718891" y="76319"/>
                    <a:pt x="717740" y="65026"/>
                  </a:cubicBezTo>
                  <a:cubicBezTo>
                    <a:pt x="716589" y="53773"/>
                    <a:pt x="706151" y="45492"/>
                    <a:pt x="695316" y="46720"/>
                  </a:cubicBezTo>
                  <a:cubicBezTo>
                    <a:pt x="600781" y="56151"/>
                    <a:pt x="503863" y="56507"/>
                    <a:pt x="410677" y="56071"/>
                  </a:cubicBezTo>
                  <a:cubicBezTo>
                    <a:pt x="331381" y="55992"/>
                    <a:pt x="250260" y="56032"/>
                    <a:pt x="169615" y="61619"/>
                  </a:cubicBezTo>
                  <a:cubicBezTo>
                    <a:pt x="161122" y="62213"/>
                    <a:pt x="154216" y="67840"/>
                    <a:pt x="151597" y="75368"/>
                  </a:cubicBezTo>
                  <a:cubicBezTo>
                    <a:pt x="138421" y="45174"/>
                    <a:pt x="116196" y="18864"/>
                    <a:pt x="87343" y="2539"/>
                  </a:cubicBezTo>
                  <a:cubicBezTo>
                    <a:pt x="82144" y="-393"/>
                    <a:pt x="75833" y="-948"/>
                    <a:pt x="70237" y="1073"/>
                  </a:cubicBezTo>
                  <a:cubicBezTo>
                    <a:pt x="64602" y="3134"/>
                    <a:pt x="60117" y="7532"/>
                    <a:pt x="58014" y="13158"/>
                  </a:cubicBezTo>
                  <a:lnTo>
                    <a:pt x="7690" y="146771"/>
                  </a:lnTo>
                  <a:cubicBezTo>
                    <a:pt x="2967" y="150536"/>
                    <a:pt x="-49" y="156400"/>
                    <a:pt x="-9" y="162978"/>
                  </a:cubicBezTo>
                  <a:close/>
                </a:path>
              </a:pathLst>
            </a:custGeom>
            <a:grpFill/>
            <a:ln w="39688" cap="flat">
              <a:noFill/>
              <a:prstDash val="solid"/>
              <a:round/>
            </a:ln>
          </p:spPr>
          <p:txBody>
            <a:bodyPr rtlCol="0" anchor="ctr"/>
            <a:lstStyle/>
            <a:p>
              <a:endParaRPr lang="en-LT"/>
            </a:p>
          </p:txBody>
        </p:sp>
        <p:sp>
          <p:nvSpPr>
            <p:cNvPr id="118" name="Freeform 117">
              <a:extLst>
                <a:ext uri="{FF2B5EF4-FFF2-40B4-BE49-F238E27FC236}">
                  <a16:creationId xmlns:a16="http://schemas.microsoft.com/office/drawing/2014/main" id="{3F1A5EB3-DFDF-E446-B9CA-7A22F6BE44D4}"/>
                </a:ext>
              </a:extLst>
            </p:cNvPr>
            <p:cNvSpPr/>
            <p:nvPr/>
          </p:nvSpPr>
          <p:spPr>
            <a:xfrm>
              <a:off x="5711960" y="1988760"/>
              <a:ext cx="695728" cy="246562"/>
            </a:xfrm>
            <a:custGeom>
              <a:avLst/>
              <a:gdLst>
                <a:gd name="connsiteX0" fmla="*/ 516893 w 695728"/>
                <a:gd name="connsiteY0" fmla="*/ 153286 h 246562"/>
                <a:gd name="connsiteX1" fmla="*/ 462958 w 695728"/>
                <a:gd name="connsiteY1" fmla="*/ 170840 h 246562"/>
                <a:gd name="connsiteX2" fmla="*/ 263805 w 695728"/>
                <a:gd name="connsiteY2" fmla="*/ 190216 h 246562"/>
                <a:gd name="connsiteX3" fmla="*/ 19251 w 695728"/>
                <a:gd name="connsiteY3" fmla="*/ 205511 h 246562"/>
                <a:gd name="connsiteX4" fmla="*/ 42 w 695728"/>
                <a:gd name="connsiteY4" fmla="*/ 227264 h 246562"/>
                <a:gd name="connsiteX5" fmla="*/ 20521 w 695728"/>
                <a:gd name="connsiteY5" fmla="*/ 246443 h 246562"/>
                <a:gd name="connsiteX6" fmla="*/ 21791 w 695728"/>
                <a:gd name="connsiteY6" fmla="*/ 246403 h 246562"/>
                <a:gd name="connsiteX7" fmla="*/ 266346 w 695728"/>
                <a:gd name="connsiteY7" fmla="*/ 231069 h 246562"/>
                <a:gd name="connsiteX8" fmla="*/ 469704 w 695728"/>
                <a:gd name="connsiteY8" fmla="*/ 211256 h 246562"/>
                <a:gd name="connsiteX9" fmla="*/ 540507 w 695728"/>
                <a:gd name="connsiteY9" fmla="*/ 186808 h 246562"/>
                <a:gd name="connsiteX10" fmla="*/ 566661 w 695728"/>
                <a:gd name="connsiteY10" fmla="*/ 163034 h 246562"/>
                <a:gd name="connsiteX11" fmla="*/ 690010 w 695728"/>
                <a:gd name="connsiteY11" fmla="*/ 34493 h 246562"/>
                <a:gd name="connsiteX12" fmla="*/ 689415 w 695728"/>
                <a:gd name="connsiteY12" fmla="*/ 5527 h 246562"/>
                <a:gd name="connsiteX13" fmla="*/ 660403 w 695728"/>
                <a:gd name="connsiteY13" fmla="*/ 6162 h 246562"/>
                <a:gd name="connsiteX14" fmla="*/ 537015 w 695728"/>
                <a:gd name="connsiteY14" fmla="*/ 134702 h 246562"/>
                <a:gd name="connsiteX15" fmla="*/ 516893 w 695728"/>
                <a:gd name="connsiteY15" fmla="*/ 153286 h 24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5728" h="246562">
                  <a:moveTo>
                    <a:pt x="516893" y="153286"/>
                  </a:moveTo>
                  <a:cubicBezTo>
                    <a:pt x="502090" y="163668"/>
                    <a:pt x="482127" y="167670"/>
                    <a:pt x="462958" y="170840"/>
                  </a:cubicBezTo>
                  <a:cubicBezTo>
                    <a:pt x="397394" y="181816"/>
                    <a:pt x="329489" y="186095"/>
                    <a:pt x="263805" y="190216"/>
                  </a:cubicBezTo>
                  <a:lnTo>
                    <a:pt x="19251" y="205511"/>
                  </a:lnTo>
                  <a:cubicBezTo>
                    <a:pt x="7940" y="206224"/>
                    <a:pt x="-672" y="215972"/>
                    <a:pt x="42" y="227264"/>
                  </a:cubicBezTo>
                  <a:cubicBezTo>
                    <a:pt x="757" y="238121"/>
                    <a:pt x="9766" y="246443"/>
                    <a:pt x="20521" y="246443"/>
                  </a:cubicBezTo>
                  <a:cubicBezTo>
                    <a:pt x="20918" y="246443"/>
                    <a:pt x="21355" y="246443"/>
                    <a:pt x="21791" y="246403"/>
                  </a:cubicBezTo>
                  <a:lnTo>
                    <a:pt x="266346" y="231069"/>
                  </a:lnTo>
                  <a:cubicBezTo>
                    <a:pt x="333100" y="226908"/>
                    <a:pt x="402077" y="222589"/>
                    <a:pt x="469704" y="211256"/>
                  </a:cubicBezTo>
                  <a:cubicBezTo>
                    <a:pt x="492485" y="207452"/>
                    <a:pt x="518600" y="202143"/>
                    <a:pt x="540507" y="186808"/>
                  </a:cubicBezTo>
                  <a:cubicBezTo>
                    <a:pt x="550746" y="179597"/>
                    <a:pt x="559200" y="170800"/>
                    <a:pt x="566661" y="163034"/>
                  </a:cubicBezTo>
                  <a:lnTo>
                    <a:pt x="690010" y="34493"/>
                  </a:lnTo>
                  <a:cubicBezTo>
                    <a:pt x="697868" y="26330"/>
                    <a:pt x="697590" y="13373"/>
                    <a:pt x="689415" y="5527"/>
                  </a:cubicBezTo>
                  <a:cubicBezTo>
                    <a:pt x="681199" y="-2279"/>
                    <a:pt x="668261" y="-1922"/>
                    <a:pt x="660403" y="6162"/>
                  </a:cubicBezTo>
                  <a:lnTo>
                    <a:pt x="537015" y="134702"/>
                  </a:lnTo>
                  <a:cubicBezTo>
                    <a:pt x="530585" y="141439"/>
                    <a:pt x="523878" y="148373"/>
                    <a:pt x="516893" y="153286"/>
                  </a:cubicBezTo>
                  <a:close/>
                </a:path>
              </a:pathLst>
            </a:custGeom>
            <a:grpFill/>
            <a:ln w="39688" cap="flat">
              <a:noFill/>
              <a:prstDash val="solid"/>
              <a:round/>
            </a:ln>
          </p:spPr>
          <p:txBody>
            <a:bodyPr rtlCol="0" anchor="ctr"/>
            <a:lstStyle/>
            <a:p>
              <a:endParaRPr lang="en-LT"/>
            </a:p>
          </p:txBody>
        </p:sp>
        <p:sp>
          <p:nvSpPr>
            <p:cNvPr id="119" name="Freeform 118">
              <a:extLst>
                <a:ext uri="{FF2B5EF4-FFF2-40B4-BE49-F238E27FC236}">
                  <a16:creationId xmlns:a16="http://schemas.microsoft.com/office/drawing/2014/main" id="{F01EBBB9-B9BC-6A43-A83F-C990CCA253BD}"/>
                </a:ext>
              </a:extLst>
            </p:cNvPr>
            <p:cNvSpPr/>
            <p:nvPr/>
          </p:nvSpPr>
          <p:spPr>
            <a:xfrm>
              <a:off x="6452962" y="1844330"/>
              <a:ext cx="208950" cy="278657"/>
            </a:xfrm>
            <a:custGeom>
              <a:avLst/>
              <a:gdLst>
                <a:gd name="connsiteX0" fmla="*/ 562 w 208950"/>
                <a:gd name="connsiteY0" fmla="*/ 253525 h 278657"/>
                <a:gd name="connsiteX1" fmla="*/ 16041 w 208950"/>
                <a:gd name="connsiteY1" fmla="*/ 278012 h 278657"/>
                <a:gd name="connsiteX2" fmla="*/ 20565 w 208950"/>
                <a:gd name="connsiteY2" fmla="*/ 278528 h 278657"/>
                <a:gd name="connsiteX3" fmla="*/ 40527 w 208950"/>
                <a:gd name="connsiteY3" fmla="*/ 262559 h 278657"/>
                <a:gd name="connsiteX4" fmla="*/ 53267 w 208950"/>
                <a:gd name="connsiteY4" fmla="*/ 239894 h 278657"/>
                <a:gd name="connsiteX5" fmla="*/ 204953 w 208950"/>
                <a:gd name="connsiteY5" fmla="*/ 32541 h 278657"/>
                <a:gd name="connsiteX6" fmla="*/ 200707 w 208950"/>
                <a:gd name="connsiteY6" fmla="*/ 3853 h 278657"/>
                <a:gd name="connsiteX7" fmla="*/ 172012 w 208950"/>
                <a:gd name="connsiteY7" fmla="*/ 8132 h 278657"/>
                <a:gd name="connsiteX8" fmla="*/ 19930 w 208950"/>
                <a:gd name="connsiteY8" fmla="*/ 215961 h 278657"/>
                <a:gd name="connsiteX9" fmla="*/ 562 w 208950"/>
                <a:gd name="connsiteY9" fmla="*/ 253525 h 278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950" h="278657">
                  <a:moveTo>
                    <a:pt x="562" y="253525"/>
                  </a:moveTo>
                  <a:cubicBezTo>
                    <a:pt x="-1978" y="264580"/>
                    <a:pt x="5007" y="275517"/>
                    <a:pt x="16041" y="278012"/>
                  </a:cubicBezTo>
                  <a:cubicBezTo>
                    <a:pt x="17548" y="278369"/>
                    <a:pt x="19056" y="278528"/>
                    <a:pt x="20565" y="278528"/>
                  </a:cubicBezTo>
                  <a:cubicBezTo>
                    <a:pt x="29971" y="278528"/>
                    <a:pt x="38424" y="272069"/>
                    <a:pt x="40527" y="262559"/>
                  </a:cubicBezTo>
                  <a:cubicBezTo>
                    <a:pt x="42234" y="255268"/>
                    <a:pt x="47830" y="247423"/>
                    <a:pt x="53267" y="239894"/>
                  </a:cubicBezTo>
                  <a:cubicBezTo>
                    <a:pt x="103353" y="170433"/>
                    <a:pt x="153915" y="101249"/>
                    <a:pt x="204953" y="32541"/>
                  </a:cubicBezTo>
                  <a:cubicBezTo>
                    <a:pt x="211700" y="23466"/>
                    <a:pt x="209795" y="10589"/>
                    <a:pt x="200707" y="3853"/>
                  </a:cubicBezTo>
                  <a:cubicBezTo>
                    <a:pt x="191618" y="-2804"/>
                    <a:pt x="178799" y="-942"/>
                    <a:pt x="172012" y="8132"/>
                  </a:cubicBezTo>
                  <a:cubicBezTo>
                    <a:pt x="120816" y="77039"/>
                    <a:pt x="70214" y="146341"/>
                    <a:pt x="19930" y="215961"/>
                  </a:cubicBezTo>
                  <a:cubicBezTo>
                    <a:pt x="12865" y="225867"/>
                    <a:pt x="4015" y="238111"/>
                    <a:pt x="562" y="253525"/>
                  </a:cubicBezTo>
                  <a:close/>
                </a:path>
              </a:pathLst>
            </a:custGeom>
            <a:grpFill/>
            <a:ln w="39688" cap="flat">
              <a:noFill/>
              <a:prstDash val="solid"/>
              <a:round/>
            </a:ln>
          </p:spPr>
          <p:txBody>
            <a:bodyPr rtlCol="0" anchor="ctr"/>
            <a:lstStyle/>
            <a:p>
              <a:endParaRPr lang="en-LT"/>
            </a:p>
          </p:txBody>
        </p:sp>
        <p:sp>
          <p:nvSpPr>
            <p:cNvPr id="120" name="Freeform 119">
              <a:extLst>
                <a:ext uri="{FF2B5EF4-FFF2-40B4-BE49-F238E27FC236}">
                  <a16:creationId xmlns:a16="http://schemas.microsoft.com/office/drawing/2014/main" id="{0423CAF0-DC43-684F-BAB0-36AB2D4017DD}"/>
                </a:ext>
              </a:extLst>
            </p:cNvPr>
            <p:cNvSpPr/>
            <p:nvPr/>
          </p:nvSpPr>
          <p:spPr>
            <a:xfrm>
              <a:off x="6420009" y="1826062"/>
              <a:ext cx="126162" cy="138072"/>
            </a:xfrm>
            <a:custGeom>
              <a:avLst/>
              <a:gdLst>
                <a:gd name="connsiteX0" fmla="*/ 42002 w 126162"/>
                <a:gd name="connsiteY0" fmla="*/ 45650 h 138072"/>
                <a:gd name="connsiteX1" fmla="*/ 48114 w 126162"/>
                <a:gd name="connsiteY1" fmla="*/ 40143 h 138072"/>
                <a:gd name="connsiteX2" fmla="*/ 68553 w 126162"/>
                <a:gd name="connsiteY2" fmla="*/ 48503 h 138072"/>
                <a:gd name="connsiteX3" fmla="*/ 83952 w 126162"/>
                <a:gd name="connsiteY3" fmla="*/ 85314 h 138072"/>
                <a:gd name="connsiteX4" fmla="*/ 56964 w 126162"/>
                <a:gd name="connsiteY4" fmla="*/ 87731 h 138072"/>
                <a:gd name="connsiteX5" fmla="*/ 42002 w 126162"/>
                <a:gd name="connsiteY5" fmla="*/ 45650 h 138072"/>
                <a:gd name="connsiteX6" fmla="*/ 72879 w 126162"/>
                <a:gd name="connsiteY6" fmla="*/ 137935 h 138072"/>
                <a:gd name="connsiteX7" fmla="*/ 123242 w 126162"/>
                <a:gd name="connsiteY7" fmla="*/ 97162 h 138072"/>
                <a:gd name="connsiteX8" fmla="*/ 91334 w 126162"/>
                <a:gd name="connsiteY8" fmla="*/ 14387 h 138072"/>
                <a:gd name="connsiteX9" fmla="*/ 2751 w 126162"/>
                <a:gd name="connsiteY9" fmla="*/ 33803 h 138072"/>
                <a:gd name="connsiteX10" fmla="*/ 27913 w 126162"/>
                <a:gd name="connsiteY10" fmla="*/ 116617 h 138072"/>
                <a:gd name="connsiteX11" fmla="*/ 72879 w 126162"/>
                <a:gd name="connsiteY11" fmla="*/ 137935 h 13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162" h="138072">
                  <a:moveTo>
                    <a:pt x="42002" y="45650"/>
                  </a:moveTo>
                  <a:cubicBezTo>
                    <a:pt x="43669" y="40143"/>
                    <a:pt x="46130" y="40143"/>
                    <a:pt x="48114" y="40143"/>
                  </a:cubicBezTo>
                  <a:cubicBezTo>
                    <a:pt x="51091" y="40143"/>
                    <a:pt x="57679" y="41212"/>
                    <a:pt x="68553" y="48503"/>
                  </a:cubicBezTo>
                  <a:cubicBezTo>
                    <a:pt x="84865" y="59281"/>
                    <a:pt x="87206" y="74576"/>
                    <a:pt x="83952" y="85314"/>
                  </a:cubicBezTo>
                  <a:cubicBezTo>
                    <a:pt x="80737" y="95854"/>
                    <a:pt x="70022" y="100847"/>
                    <a:pt x="56964" y="87731"/>
                  </a:cubicBezTo>
                  <a:cubicBezTo>
                    <a:pt x="42995" y="73784"/>
                    <a:pt x="38867" y="55992"/>
                    <a:pt x="42002" y="45650"/>
                  </a:cubicBezTo>
                  <a:close/>
                  <a:moveTo>
                    <a:pt x="72879" y="137935"/>
                  </a:moveTo>
                  <a:cubicBezTo>
                    <a:pt x="95977" y="137935"/>
                    <a:pt x="115702" y="121927"/>
                    <a:pt x="123242" y="97162"/>
                  </a:cubicBezTo>
                  <a:cubicBezTo>
                    <a:pt x="130386" y="73506"/>
                    <a:pt x="126338" y="37646"/>
                    <a:pt x="91334" y="14387"/>
                  </a:cubicBezTo>
                  <a:cubicBezTo>
                    <a:pt x="51924" y="-11765"/>
                    <a:pt x="13308" y="-988"/>
                    <a:pt x="2751" y="33803"/>
                  </a:cubicBezTo>
                  <a:cubicBezTo>
                    <a:pt x="-5266" y="60232"/>
                    <a:pt x="4855" y="93556"/>
                    <a:pt x="27913" y="116617"/>
                  </a:cubicBezTo>
                  <a:cubicBezTo>
                    <a:pt x="45455" y="134250"/>
                    <a:pt x="62084" y="137935"/>
                    <a:pt x="72879" y="137935"/>
                  </a:cubicBezTo>
                  <a:close/>
                </a:path>
              </a:pathLst>
            </a:custGeom>
            <a:grpFill/>
            <a:ln w="39688" cap="flat">
              <a:noFill/>
              <a:prstDash val="solid"/>
              <a:round/>
            </a:ln>
          </p:spPr>
          <p:txBody>
            <a:bodyPr rtlCol="0" anchor="ctr"/>
            <a:lstStyle/>
            <a:p>
              <a:endParaRPr lang="en-LT"/>
            </a:p>
          </p:txBody>
        </p:sp>
        <p:sp>
          <p:nvSpPr>
            <p:cNvPr id="121" name="Freeform 120">
              <a:extLst>
                <a:ext uri="{FF2B5EF4-FFF2-40B4-BE49-F238E27FC236}">
                  <a16:creationId xmlns:a16="http://schemas.microsoft.com/office/drawing/2014/main" id="{D23A725E-B712-D04D-801A-C4E86CE12C20}"/>
                </a:ext>
              </a:extLst>
            </p:cNvPr>
            <p:cNvSpPr/>
            <p:nvPr/>
          </p:nvSpPr>
          <p:spPr>
            <a:xfrm>
              <a:off x="6558403" y="1979945"/>
              <a:ext cx="134428" cy="133573"/>
            </a:xfrm>
            <a:custGeom>
              <a:avLst/>
              <a:gdLst>
                <a:gd name="connsiteX0" fmla="*/ 92889 w 134428"/>
                <a:gd name="connsiteY0" fmla="*/ 62402 h 133573"/>
                <a:gd name="connsiteX1" fmla="*/ 52329 w 134428"/>
                <a:gd name="connsiteY1" fmla="*/ 90892 h 133573"/>
                <a:gd name="connsiteX2" fmla="*/ 41652 w 134428"/>
                <a:gd name="connsiteY2" fmla="*/ 70406 h 133573"/>
                <a:gd name="connsiteX3" fmla="*/ 73799 w 134428"/>
                <a:gd name="connsiteY3" fmla="*/ 40847 h 133573"/>
                <a:gd name="connsiteX4" fmla="*/ 82411 w 134428"/>
                <a:gd name="connsiteY4" fmla="*/ 42867 h 133573"/>
                <a:gd name="connsiteX5" fmla="*/ 92889 w 134428"/>
                <a:gd name="connsiteY5" fmla="*/ 62402 h 133573"/>
                <a:gd name="connsiteX6" fmla="*/ 73601 w 134428"/>
                <a:gd name="connsiteY6" fmla="*/ -125 h 133573"/>
                <a:gd name="connsiteX7" fmla="*/ 1568 w 134428"/>
                <a:gd name="connsiteY7" fmla="*/ 61768 h 133573"/>
                <a:gd name="connsiteX8" fmla="*/ 35421 w 134428"/>
                <a:gd name="connsiteY8" fmla="*/ 128178 h 133573"/>
                <a:gd name="connsiteX9" fmla="*/ 59869 w 134428"/>
                <a:gd name="connsiteY9" fmla="*/ 133448 h 133573"/>
                <a:gd name="connsiteX10" fmla="*/ 132934 w 134428"/>
                <a:gd name="connsiteY10" fmla="*/ 71278 h 133573"/>
                <a:gd name="connsiteX11" fmla="*/ 99715 w 134428"/>
                <a:gd name="connsiteY11" fmla="*/ 5740 h 133573"/>
                <a:gd name="connsiteX12" fmla="*/ 73601 w 134428"/>
                <a:gd name="connsiteY12" fmla="*/ -125 h 1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428" h="133573">
                  <a:moveTo>
                    <a:pt x="92889" y="62402"/>
                  </a:moveTo>
                  <a:cubicBezTo>
                    <a:pt x="88762" y="80867"/>
                    <a:pt x="67251" y="97588"/>
                    <a:pt x="52329" y="90892"/>
                  </a:cubicBezTo>
                  <a:cubicBezTo>
                    <a:pt x="45899" y="87960"/>
                    <a:pt x="38914" y="83046"/>
                    <a:pt x="41652" y="70406"/>
                  </a:cubicBezTo>
                  <a:cubicBezTo>
                    <a:pt x="44668" y="56419"/>
                    <a:pt x="58996" y="40847"/>
                    <a:pt x="73799" y="40847"/>
                  </a:cubicBezTo>
                  <a:cubicBezTo>
                    <a:pt x="76657" y="40886"/>
                    <a:pt x="79594" y="41560"/>
                    <a:pt x="82411" y="42867"/>
                  </a:cubicBezTo>
                  <a:cubicBezTo>
                    <a:pt x="91817" y="47265"/>
                    <a:pt x="94953" y="53090"/>
                    <a:pt x="92889" y="62402"/>
                  </a:cubicBezTo>
                  <a:close/>
                  <a:moveTo>
                    <a:pt x="73601" y="-125"/>
                  </a:moveTo>
                  <a:cubicBezTo>
                    <a:pt x="36850" y="-125"/>
                    <a:pt x="8077" y="31337"/>
                    <a:pt x="1568" y="61768"/>
                  </a:cubicBezTo>
                  <a:cubicBezTo>
                    <a:pt x="-4624" y="90495"/>
                    <a:pt x="8355" y="115974"/>
                    <a:pt x="35421" y="128178"/>
                  </a:cubicBezTo>
                  <a:cubicBezTo>
                    <a:pt x="43200" y="131665"/>
                    <a:pt x="51415" y="133448"/>
                    <a:pt x="59869" y="133448"/>
                  </a:cubicBezTo>
                  <a:cubicBezTo>
                    <a:pt x="92532" y="133448"/>
                    <a:pt x="125313" y="105553"/>
                    <a:pt x="132934" y="71278"/>
                  </a:cubicBezTo>
                  <a:cubicBezTo>
                    <a:pt x="139125" y="43224"/>
                    <a:pt x="126385" y="18141"/>
                    <a:pt x="99715" y="5740"/>
                  </a:cubicBezTo>
                  <a:cubicBezTo>
                    <a:pt x="91619" y="1975"/>
                    <a:pt x="83086" y="-6"/>
                    <a:pt x="73601" y="-125"/>
                  </a:cubicBezTo>
                  <a:close/>
                </a:path>
              </a:pathLst>
            </a:custGeom>
            <a:grpFill/>
            <a:ln w="39688" cap="flat">
              <a:noFill/>
              <a:prstDash val="solid"/>
              <a:round/>
            </a:ln>
          </p:spPr>
          <p:txBody>
            <a:bodyPr rtlCol="0" anchor="ctr"/>
            <a:lstStyle/>
            <a:p>
              <a:endParaRPr lang="en-LT"/>
            </a:p>
          </p:txBody>
        </p:sp>
        <p:sp>
          <p:nvSpPr>
            <p:cNvPr id="122" name="Freeform 121">
              <a:extLst>
                <a:ext uri="{FF2B5EF4-FFF2-40B4-BE49-F238E27FC236}">
                  <a16:creationId xmlns:a16="http://schemas.microsoft.com/office/drawing/2014/main" id="{03779493-9E16-F440-9755-13009D04A974}"/>
                </a:ext>
              </a:extLst>
            </p:cNvPr>
            <p:cNvSpPr/>
            <p:nvPr/>
          </p:nvSpPr>
          <p:spPr>
            <a:xfrm>
              <a:off x="5844833" y="3179486"/>
              <a:ext cx="973887" cy="91178"/>
            </a:xfrm>
            <a:custGeom>
              <a:avLst/>
              <a:gdLst>
                <a:gd name="connsiteX0" fmla="*/ 957367 w 973887"/>
                <a:gd name="connsiteY0" fmla="*/ 5480 h 91178"/>
                <a:gd name="connsiteX1" fmla="*/ 755437 w 973887"/>
                <a:gd name="connsiteY1" fmla="*/ 18912 h 91178"/>
                <a:gd name="connsiteX2" fmla="*/ 687929 w 973887"/>
                <a:gd name="connsiteY2" fmla="*/ 31394 h 91178"/>
                <a:gd name="connsiteX3" fmla="*/ 502429 w 973887"/>
                <a:gd name="connsiteY3" fmla="*/ 42568 h 91178"/>
                <a:gd name="connsiteX4" fmla="*/ 20226 w 973887"/>
                <a:gd name="connsiteY4" fmla="*/ 50215 h 91178"/>
                <a:gd name="connsiteX5" fmla="*/ 25 w 973887"/>
                <a:gd name="connsiteY5" fmla="*/ 71018 h 91178"/>
                <a:gd name="connsiteX6" fmla="*/ 20543 w 973887"/>
                <a:gd name="connsiteY6" fmla="*/ 91147 h 91178"/>
                <a:gd name="connsiteX7" fmla="*/ 20861 w 973887"/>
                <a:gd name="connsiteY7" fmla="*/ 91147 h 91178"/>
                <a:gd name="connsiteX8" fmla="*/ 503064 w 973887"/>
                <a:gd name="connsiteY8" fmla="*/ 83539 h 91178"/>
                <a:gd name="connsiteX9" fmla="*/ 694080 w 973887"/>
                <a:gd name="connsiteY9" fmla="*/ 71850 h 91178"/>
                <a:gd name="connsiteX10" fmla="*/ 763533 w 973887"/>
                <a:gd name="connsiteY10" fmla="*/ 59052 h 91178"/>
                <a:gd name="connsiteX11" fmla="*/ 949430 w 973887"/>
                <a:gd name="connsiteY11" fmla="*/ 45698 h 91178"/>
                <a:gd name="connsiteX12" fmla="*/ 973520 w 973887"/>
                <a:gd name="connsiteY12" fmla="*/ 29571 h 91178"/>
                <a:gd name="connsiteX13" fmla="*/ 957367 w 973887"/>
                <a:gd name="connsiteY13" fmla="*/ 5480 h 9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3887" h="91178">
                  <a:moveTo>
                    <a:pt x="957367" y="5480"/>
                  </a:moveTo>
                  <a:cubicBezTo>
                    <a:pt x="889184" y="-7913"/>
                    <a:pt x="821159" y="5678"/>
                    <a:pt x="755437" y="18912"/>
                  </a:cubicBezTo>
                  <a:cubicBezTo>
                    <a:pt x="732894" y="23429"/>
                    <a:pt x="710392" y="27947"/>
                    <a:pt x="687929" y="31394"/>
                  </a:cubicBezTo>
                  <a:cubicBezTo>
                    <a:pt x="626929" y="40587"/>
                    <a:pt x="563627" y="41578"/>
                    <a:pt x="502429" y="42568"/>
                  </a:cubicBezTo>
                  <a:lnTo>
                    <a:pt x="20226" y="50215"/>
                  </a:lnTo>
                  <a:cubicBezTo>
                    <a:pt x="8875" y="50374"/>
                    <a:pt x="-134" y="59725"/>
                    <a:pt x="25" y="71018"/>
                  </a:cubicBezTo>
                  <a:cubicBezTo>
                    <a:pt x="223" y="82192"/>
                    <a:pt x="9391" y="91147"/>
                    <a:pt x="20543" y="91147"/>
                  </a:cubicBezTo>
                  <a:lnTo>
                    <a:pt x="20861" y="91147"/>
                  </a:lnTo>
                  <a:lnTo>
                    <a:pt x="503064" y="83539"/>
                  </a:lnTo>
                  <a:cubicBezTo>
                    <a:pt x="565652" y="82509"/>
                    <a:pt x="630342" y="81519"/>
                    <a:pt x="694080" y="71850"/>
                  </a:cubicBezTo>
                  <a:cubicBezTo>
                    <a:pt x="717218" y="68363"/>
                    <a:pt x="740356" y="63727"/>
                    <a:pt x="763533" y="59052"/>
                  </a:cubicBezTo>
                  <a:cubicBezTo>
                    <a:pt x="828184" y="46095"/>
                    <a:pt x="889224" y="33851"/>
                    <a:pt x="949430" y="45698"/>
                  </a:cubicBezTo>
                  <a:cubicBezTo>
                    <a:pt x="960224" y="47838"/>
                    <a:pt x="971298" y="40666"/>
                    <a:pt x="973520" y="29571"/>
                  </a:cubicBezTo>
                  <a:cubicBezTo>
                    <a:pt x="975703" y="18436"/>
                    <a:pt x="968519" y="7698"/>
                    <a:pt x="957367" y="5480"/>
                  </a:cubicBezTo>
                  <a:close/>
                </a:path>
              </a:pathLst>
            </a:custGeom>
            <a:grpFill/>
            <a:ln w="39688" cap="flat">
              <a:noFill/>
              <a:prstDash val="solid"/>
              <a:round/>
            </a:ln>
          </p:spPr>
          <p:txBody>
            <a:bodyPr rtlCol="0" anchor="ctr"/>
            <a:lstStyle/>
            <a:p>
              <a:endParaRPr lang="en-LT"/>
            </a:p>
          </p:txBody>
        </p:sp>
        <p:sp>
          <p:nvSpPr>
            <p:cNvPr id="123" name="Freeform 122">
              <a:extLst>
                <a:ext uri="{FF2B5EF4-FFF2-40B4-BE49-F238E27FC236}">
                  <a16:creationId xmlns:a16="http://schemas.microsoft.com/office/drawing/2014/main" id="{9C6B6773-0E8C-AB49-85D3-EF6916DCAEFE}"/>
                </a:ext>
              </a:extLst>
            </p:cNvPr>
            <p:cNvSpPr/>
            <p:nvPr/>
          </p:nvSpPr>
          <p:spPr>
            <a:xfrm>
              <a:off x="5614402" y="3277551"/>
              <a:ext cx="1163049" cy="116781"/>
            </a:xfrm>
            <a:custGeom>
              <a:avLst/>
              <a:gdLst>
                <a:gd name="connsiteX0" fmla="*/ 1139965 w 1163049"/>
                <a:gd name="connsiteY0" fmla="*/ 105 h 116781"/>
                <a:gd name="connsiteX1" fmla="*/ 659547 w 1163049"/>
                <a:gd name="connsiteY1" fmla="*/ 60374 h 116781"/>
                <a:gd name="connsiteX2" fmla="*/ 461109 w 1163049"/>
                <a:gd name="connsiteY2" fmla="*/ 75669 h 116781"/>
                <a:gd name="connsiteX3" fmla="*/ 302597 w 1163049"/>
                <a:gd name="connsiteY3" fmla="*/ 60453 h 116781"/>
                <a:gd name="connsiteX4" fmla="*/ 15974 w 1163049"/>
                <a:gd name="connsiteY4" fmla="*/ 56451 h 116781"/>
                <a:gd name="connsiteX5" fmla="*/ 536 w 1163049"/>
                <a:gd name="connsiteY5" fmla="*/ 80939 h 116781"/>
                <a:gd name="connsiteX6" fmla="*/ 25023 w 1163049"/>
                <a:gd name="connsiteY6" fmla="*/ 96392 h 116781"/>
                <a:gd name="connsiteX7" fmla="*/ 297121 w 1163049"/>
                <a:gd name="connsiteY7" fmla="*/ 101068 h 116781"/>
                <a:gd name="connsiteX8" fmla="*/ 460316 w 1163049"/>
                <a:gd name="connsiteY8" fmla="*/ 116601 h 116781"/>
                <a:gd name="connsiteX9" fmla="*/ 475000 w 1163049"/>
                <a:gd name="connsiteY9" fmla="*/ 116759 h 116781"/>
                <a:gd name="connsiteX10" fmla="*/ 664746 w 1163049"/>
                <a:gd name="connsiteY10" fmla="*/ 100989 h 116781"/>
                <a:gd name="connsiteX11" fmla="*/ 1145124 w 1163049"/>
                <a:gd name="connsiteY11" fmla="*/ 40720 h 116781"/>
                <a:gd name="connsiteX12" fmla="*/ 1162904 w 1163049"/>
                <a:gd name="connsiteY12" fmla="*/ 17857 h 116781"/>
                <a:gd name="connsiteX13" fmla="*/ 1139965 w 1163049"/>
                <a:gd name="connsiteY13" fmla="*/ 105 h 11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3049" h="116781">
                  <a:moveTo>
                    <a:pt x="1139965" y="105"/>
                  </a:moveTo>
                  <a:lnTo>
                    <a:pt x="659547" y="60374"/>
                  </a:lnTo>
                  <a:cubicBezTo>
                    <a:pt x="594340" y="68537"/>
                    <a:pt x="527110" y="77056"/>
                    <a:pt x="461109" y="75669"/>
                  </a:cubicBezTo>
                  <a:cubicBezTo>
                    <a:pt x="408722" y="74639"/>
                    <a:pt x="354786" y="67427"/>
                    <a:pt x="302597" y="60453"/>
                  </a:cubicBezTo>
                  <a:cubicBezTo>
                    <a:pt x="208498" y="47932"/>
                    <a:pt x="111304" y="34935"/>
                    <a:pt x="15974" y="56451"/>
                  </a:cubicBezTo>
                  <a:cubicBezTo>
                    <a:pt x="4941" y="58947"/>
                    <a:pt x="-2005" y="69884"/>
                    <a:pt x="536" y="80939"/>
                  </a:cubicBezTo>
                  <a:cubicBezTo>
                    <a:pt x="2956" y="91954"/>
                    <a:pt x="13910" y="98928"/>
                    <a:pt x="25023" y="96392"/>
                  </a:cubicBezTo>
                  <a:cubicBezTo>
                    <a:pt x="113129" y="76541"/>
                    <a:pt x="202545" y="88467"/>
                    <a:pt x="297121" y="101068"/>
                  </a:cubicBezTo>
                  <a:cubicBezTo>
                    <a:pt x="350500" y="108200"/>
                    <a:pt x="405587" y="115531"/>
                    <a:pt x="460316" y="116601"/>
                  </a:cubicBezTo>
                  <a:cubicBezTo>
                    <a:pt x="465197" y="116719"/>
                    <a:pt x="470119" y="116759"/>
                    <a:pt x="475000" y="116759"/>
                  </a:cubicBezTo>
                  <a:cubicBezTo>
                    <a:pt x="538937" y="116759"/>
                    <a:pt x="602794" y="108755"/>
                    <a:pt x="664746" y="100989"/>
                  </a:cubicBezTo>
                  <a:lnTo>
                    <a:pt x="1145124" y="40720"/>
                  </a:lnTo>
                  <a:cubicBezTo>
                    <a:pt x="1156316" y="39294"/>
                    <a:pt x="1164293" y="29071"/>
                    <a:pt x="1162904" y="17857"/>
                  </a:cubicBezTo>
                  <a:cubicBezTo>
                    <a:pt x="1161436" y="6643"/>
                    <a:pt x="1151038" y="-1123"/>
                    <a:pt x="1139965" y="105"/>
                  </a:cubicBezTo>
                  <a:close/>
                </a:path>
              </a:pathLst>
            </a:custGeom>
            <a:grpFill/>
            <a:ln w="39688" cap="flat">
              <a:noFill/>
              <a:prstDash val="solid"/>
              <a:round/>
            </a:ln>
          </p:spPr>
          <p:txBody>
            <a:bodyPr rtlCol="0" anchor="ctr"/>
            <a:lstStyle/>
            <a:p>
              <a:endParaRPr lang="en-LT"/>
            </a:p>
          </p:txBody>
        </p:sp>
        <p:sp>
          <p:nvSpPr>
            <p:cNvPr id="124" name="Freeform 123">
              <a:extLst>
                <a:ext uri="{FF2B5EF4-FFF2-40B4-BE49-F238E27FC236}">
                  <a16:creationId xmlns:a16="http://schemas.microsoft.com/office/drawing/2014/main" id="{77CC6A8A-74A0-F04B-95BC-DB8A26895A11}"/>
                </a:ext>
              </a:extLst>
            </p:cNvPr>
            <p:cNvSpPr/>
            <p:nvPr/>
          </p:nvSpPr>
          <p:spPr>
            <a:xfrm>
              <a:off x="5009734" y="1528902"/>
              <a:ext cx="2224912" cy="3839904"/>
            </a:xfrm>
            <a:custGeom>
              <a:avLst/>
              <a:gdLst>
                <a:gd name="connsiteX0" fmla="*/ 1842376 w 2224912"/>
                <a:gd name="connsiteY0" fmla="*/ 3722803 h 3839904"/>
                <a:gd name="connsiteX1" fmla="*/ 1821421 w 2224912"/>
                <a:gd name="connsiteY1" fmla="*/ 3725180 h 3839904"/>
                <a:gd name="connsiteX2" fmla="*/ 1829954 w 2224912"/>
                <a:gd name="connsiteY2" fmla="*/ 3727241 h 3839904"/>
                <a:gd name="connsiteX3" fmla="*/ 1833883 w 2224912"/>
                <a:gd name="connsiteY3" fmla="*/ 3726924 h 3839904"/>
                <a:gd name="connsiteX4" fmla="*/ 1842376 w 2224912"/>
                <a:gd name="connsiteY4" fmla="*/ 3722803 h 3839904"/>
                <a:gd name="connsiteX5" fmla="*/ 1773797 w 2224912"/>
                <a:gd name="connsiteY5" fmla="*/ 3439490 h 3839904"/>
                <a:gd name="connsiteX6" fmla="*/ 1773876 w 2224912"/>
                <a:gd name="connsiteY6" fmla="*/ 3439370 h 3839904"/>
                <a:gd name="connsiteX7" fmla="*/ 1773916 w 2224912"/>
                <a:gd name="connsiteY7" fmla="*/ 3439925 h 3839904"/>
                <a:gd name="connsiteX8" fmla="*/ 1773797 w 2224912"/>
                <a:gd name="connsiteY8" fmla="*/ 3439490 h 3839904"/>
                <a:gd name="connsiteX9" fmla="*/ 1507652 w 2224912"/>
                <a:gd name="connsiteY9" fmla="*/ 2053671 h 3839904"/>
                <a:gd name="connsiteX10" fmla="*/ 1590043 w 2224912"/>
                <a:gd name="connsiteY10" fmla="*/ 2050541 h 3839904"/>
                <a:gd name="connsiteX11" fmla="*/ 1749309 w 2224912"/>
                <a:gd name="connsiteY11" fmla="*/ 3253929 h 3839904"/>
                <a:gd name="connsiteX12" fmla="*/ 1507652 w 2224912"/>
                <a:gd name="connsiteY12" fmla="*/ 2053671 h 3839904"/>
                <a:gd name="connsiteX13" fmla="*/ 1620127 w 2224912"/>
                <a:gd name="connsiteY13" fmla="*/ 2899807 h 3839904"/>
                <a:gd name="connsiteX14" fmla="*/ 1414466 w 2224912"/>
                <a:gd name="connsiteY14" fmla="*/ 2057198 h 3839904"/>
                <a:gd name="connsiteX15" fmla="*/ 1465901 w 2224912"/>
                <a:gd name="connsiteY15" fmla="*/ 2055216 h 3839904"/>
                <a:gd name="connsiteX16" fmla="*/ 1698073 w 2224912"/>
                <a:gd name="connsiteY16" fmla="*/ 3191125 h 3839904"/>
                <a:gd name="connsiteX17" fmla="*/ 1620127 w 2224912"/>
                <a:gd name="connsiteY17" fmla="*/ 2899807 h 3839904"/>
                <a:gd name="connsiteX18" fmla="*/ 1029616 w 2224912"/>
                <a:gd name="connsiteY18" fmla="*/ 2030887 h 3839904"/>
                <a:gd name="connsiteX19" fmla="*/ 1028187 w 2224912"/>
                <a:gd name="connsiteY19" fmla="*/ 2030729 h 3839904"/>
                <a:gd name="connsiteX20" fmla="*/ 1027314 w 2224912"/>
                <a:gd name="connsiteY20" fmla="*/ 2030966 h 3839904"/>
                <a:gd name="connsiteX21" fmla="*/ 133630 w 2224912"/>
                <a:gd name="connsiteY21" fmla="*/ 2064568 h 3839904"/>
                <a:gd name="connsiteX22" fmla="*/ 107952 w 2224912"/>
                <a:gd name="connsiteY22" fmla="*/ 2066747 h 3839904"/>
                <a:gd name="connsiteX23" fmla="*/ 82076 w 2224912"/>
                <a:gd name="connsiteY23" fmla="*/ 2068689 h 3839904"/>
                <a:gd name="connsiteX24" fmla="*/ 47032 w 2224912"/>
                <a:gd name="connsiteY24" fmla="*/ 2052800 h 3839904"/>
                <a:gd name="connsiteX25" fmla="*/ 40920 w 2224912"/>
                <a:gd name="connsiteY25" fmla="*/ 2029342 h 3839904"/>
                <a:gd name="connsiteX26" fmla="*/ 2178213 w 2224912"/>
                <a:gd name="connsiteY26" fmla="*/ 1974343 h 3839904"/>
                <a:gd name="connsiteX27" fmla="*/ 2178649 w 2224912"/>
                <a:gd name="connsiteY27" fmla="*/ 1988291 h 3839904"/>
                <a:gd name="connsiteX28" fmla="*/ 1718948 w 2224912"/>
                <a:gd name="connsiteY28" fmla="*/ 2004973 h 3839904"/>
                <a:gd name="connsiteX29" fmla="*/ 1029616 w 2224912"/>
                <a:gd name="connsiteY29" fmla="*/ 2030887 h 3839904"/>
                <a:gd name="connsiteX30" fmla="*/ 1126969 w 2224912"/>
                <a:gd name="connsiteY30" fmla="*/ 2505705 h 3839904"/>
                <a:gd name="connsiteX31" fmla="*/ 1110697 w 2224912"/>
                <a:gd name="connsiteY31" fmla="*/ 2068649 h 3839904"/>
                <a:gd name="connsiteX32" fmla="*/ 1152131 w 2224912"/>
                <a:gd name="connsiteY32" fmla="*/ 2067104 h 3839904"/>
                <a:gd name="connsiteX33" fmla="*/ 1126969 w 2224912"/>
                <a:gd name="connsiteY33" fmla="*/ 2505705 h 3839904"/>
                <a:gd name="connsiteX34" fmla="*/ 1051801 w 2224912"/>
                <a:gd name="connsiteY34" fmla="*/ 2070908 h 3839904"/>
                <a:gd name="connsiteX35" fmla="*/ 1069740 w 2224912"/>
                <a:gd name="connsiteY35" fmla="*/ 2070195 h 3839904"/>
                <a:gd name="connsiteX36" fmla="*/ 1087797 w 2224912"/>
                <a:gd name="connsiteY36" fmla="*/ 2555948 h 3839904"/>
                <a:gd name="connsiteX37" fmla="*/ 1051801 w 2224912"/>
                <a:gd name="connsiteY37" fmla="*/ 2070908 h 3839904"/>
                <a:gd name="connsiteX38" fmla="*/ 764185 w 2224912"/>
                <a:gd name="connsiteY38" fmla="*/ 2083310 h 3839904"/>
                <a:gd name="connsiteX39" fmla="*/ 668657 w 2224912"/>
                <a:gd name="connsiteY39" fmla="*/ 2447299 h 3839904"/>
                <a:gd name="connsiteX40" fmla="*/ 623771 w 2224912"/>
                <a:gd name="connsiteY40" fmla="*/ 2625568 h 3839904"/>
                <a:gd name="connsiteX41" fmla="*/ 539991 w 2224912"/>
                <a:gd name="connsiteY41" fmla="*/ 2886256 h 3839904"/>
                <a:gd name="connsiteX42" fmla="*/ 468751 w 2224912"/>
                <a:gd name="connsiteY42" fmla="*/ 3100662 h 3839904"/>
                <a:gd name="connsiteX43" fmla="*/ 464783 w 2224912"/>
                <a:gd name="connsiteY43" fmla="*/ 3114214 h 3839904"/>
                <a:gd name="connsiteX44" fmla="*/ 689850 w 2224912"/>
                <a:gd name="connsiteY44" fmla="*/ 2084539 h 3839904"/>
                <a:gd name="connsiteX45" fmla="*/ 765019 w 2224912"/>
                <a:gd name="connsiteY45" fmla="*/ 2081685 h 3839904"/>
                <a:gd name="connsiteX46" fmla="*/ 764185 w 2224912"/>
                <a:gd name="connsiteY46" fmla="*/ 2083310 h 3839904"/>
                <a:gd name="connsiteX47" fmla="*/ 578527 w 2224912"/>
                <a:gd name="connsiteY47" fmla="*/ 2092305 h 3839904"/>
                <a:gd name="connsiteX48" fmla="*/ 578368 w 2224912"/>
                <a:gd name="connsiteY48" fmla="*/ 2088778 h 3839904"/>
                <a:gd name="connsiteX49" fmla="*/ 647583 w 2224912"/>
                <a:gd name="connsiteY49" fmla="*/ 2086123 h 3839904"/>
                <a:gd name="connsiteX50" fmla="*/ 393464 w 2224912"/>
                <a:gd name="connsiteY50" fmla="*/ 3248699 h 3839904"/>
                <a:gd name="connsiteX51" fmla="*/ 578527 w 2224912"/>
                <a:gd name="connsiteY51" fmla="*/ 2092305 h 3839904"/>
                <a:gd name="connsiteX52" fmla="*/ 353856 w 2224912"/>
                <a:gd name="connsiteY52" fmla="*/ 3496271 h 3839904"/>
                <a:gd name="connsiteX53" fmla="*/ 354491 w 2224912"/>
                <a:gd name="connsiteY53" fmla="*/ 3492189 h 3839904"/>
                <a:gd name="connsiteX54" fmla="*/ 354967 w 2224912"/>
                <a:gd name="connsiteY54" fmla="*/ 3492428 h 3839904"/>
                <a:gd name="connsiteX55" fmla="*/ 353856 w 2224912"/>
                <a:gd name="connsiteY55" fmla="*/ 3496271 h 3839904"/>
                <a:gd name="connsiteX56" fmla="*/ 49175 w 2224912"/>
                <a:gd name="connsiteY56" fmla="*/ 1968123 h 3839904"/>
                <a:gd name="connsiteX57" fmla="*/ 92236 w 2224912"/>
                <a:gd name="connsiteY57" fmla="*/ 1956473 h 3839904"/>
                <a:gd name="connsiteX58" fmla="*/ 211298 w 2224912"/>
                <a:gd name="connsiteY58" fmla="*/ 1944744 h 3839904"/>
                <a:gd name="connsiteX59" fmla="*/ 230110 w 2224912"/>
                <a:gd name="connsiteY59" fmla="*/ 1957107 h 3839904"/>
                <a:gd name="connsiteX60" fmla="*/ 248882 w 2224912"/>
                <a:gd name="connsiteY60" fmla="*/ 1944744 h 3839904"/>
                <a:gd name="connsiteX61" fmla="*/ 312263 w 2224912"/>
                <a:gd name="connsiteY61" fmla="*/ 1946052 h 3839904"/>
                <a:gd name="connsiteX62" fmla="*/ 422039 w 2224912"/>
                <a:gd name="connsiteY62" fmla="*/ 1947439 h 3839904"/>
                <a:gd name="connsiteX63" fmla="*/ 1117166 w 2224912"/>
                <a:gd name="connsiteY63" fmla="*/ 1930599 h 3839904"/>
                <a:gd name="connsiteX64" fmla="*/ 1840829 w 2224912"/>
                <a:gd name="connsiteY64" fmla="*/ 1913362 h 3839904"/>
                <a:gd name="connsiteX65" fmla="*/ 1944572 w 2224912"/>
                <a:gd name="connsiteY65" fmla="*/ 1904248 h 3839904"/>
                <a:gd name="connsiteX66" fmla="*/ 2092170 w 2224912"/>
                <a:gd name="connsiteY66" fmla="*/ 1896878 h 3839904"/>
                <a:gd name="connsiteX67" fmla="*/ 2172061 w 2224912"/>
                <a:gd name="connsiteY67" fmla="*/ 1933531 h 3839904"/>
                <a:gd name="connsiteX68" fmla="*/ 41912 w 2224912"/>
                <a:gd name="connsiteY68" fmla="*/ 1988371 h 3839904"/>
                <a:gd name="connsiteX69" fmla="*/ 49175 w 2224912"/>
                <a:gd name="connsiteY69" fmla="*/ 1968123 h 3839904"/>
                <a:gd name="connsiteX70" fmla="*/ 244557 w 2224912"/>
                <a:gd name="connsiteY70" fmla="*/ 317694 h 3839904"/>
                <a:gd name="connsiteX71" fmla="*/ 1029695 w 2224912"/>
                <a:gd name="connsiteY71" fmla="*/ 278427 h 3839904"/>
                <a:gd name="connsiteX72" fmla="*/ 1029854 w 2224912"/>
                <a:gd name="connsiteY72" fmla="*/ 278427 h 3839904"/>
                <a:gd name="connsiteX73" fmla="*/ 1095021 w 2224912"/>
                <a:gd name="connsiteY73" fmla="*/ 273513 h 3839904"/>
                <a:gd name="connsiteX74" fmla="*/ 1581312 w 2224912"/>
                <a:gd name="connsiteY74" fmla="*/ 239991 h 3839904"/>
                <a:gd name="connsiteX75" fmla="*/ 1961042 w 2224912"/>
                <a:gd name="connsiteY75" fmla="*/ 275098 h 3839904"/>
                <a:gd name="connsiteX76" fmla="*/ 1974536 w 2224912"/>
                <a:gd name="connsiteY76" fmla="*/ 881943 h 3839904"/>
                <a:gd name="connsiteX77" fmla="*/ 1983387 w 2224912"/>
                <a:gd name="connsiteY77" fmla="*/ 1032515 h 3839904"/>
                <a:gd name="connsiteX78" fmla="*/ 1982632 w 2224912"/>
                <a:gd name="connsiteY78" fmla="*/ 1471433 h 3839904"/>
                <a:gd name="connsiteX79" fmla="*/ 1963265 w 2224912"/>
                <a:gd name="connsiteY79" fmla="*/ 1860900 h 3839904"/>
                <a:gd name="connsiteX80" fmla="*/ 1939690 w 2224912"/>
                <a:gd name="connsiteY80" fmla="*/ 1863594 h 3839904"/>
                <a:gd name="connsiteX81" fmla="*/ 1839876 w 2224912"/>
                <a:gd name="connsiteY81" fmla="*/ 1872390 h 3839904"/>
                <a:gd name="connsiteX82" fmla="*/ 1116174 w 2224912"/>
                <a:gd name="connsiteY82" fmla="*/ 1889667 h 3839904"/>
                <a:gd name="connsiteX83" fmla="*/ 420968 w 2224912"/>
                <a:gd name="connsiteY83" fmla="*/ 1906467 h 3839904"/>
                <a:gd name="connsiteX84" fmla="*/ 313534 w 2224912"/>
                <a:gd name="connsiteY84" fmla="*/ 1905160 h 3839904"/>
                <a:gd name="connsiteX85" fmla="*/ 250589 w 2224912"/>
                <a:gd name="connsiteY85" fmla="*/ 1903852 h 3839904"/>
                <a:gd name="connsiteX86" fmla="*/ 250391 w 2224912"/>
                <a:gd name="connsiteY86" fmla="*/ 1308181 h 3839904"/>
                <a:gd name="connsiteX87" fmla="*/ 247374 w 2224912"/>
                <a:gd name="connsiteY87" fmla="*/ 1139540 h 3839904"/>
                <a:gd name="connsiteX88" fmla="*/ 244557 w 2224912"/>
                <a:gd name="connsiteY88" fmla="*/ 317694 h 3839904"/>
                <a:gd name="connsiteX89" fmla="*/ 1059342 w 2224912"/>
                <a:gd name="connsiteY89" fmla="*/ 61444 h 3839904"/>
                <a:gd name="connsiteX90" fmla="*/ 1067517 w 2224912"/>
                <a:gd name="connsiteY90" fmla="*/ 53321 h 3839904"/>
                <a:gd name="connsiteX91" fmla="*/ 1064541 w 2224912"/>
                <a:gd name="connsiteY91" fmla="*/ 234721 h 3839904"/>
                <a:gd name="connsiteX92" fmla="*/ 1049737 w 2224912"/>
                <a:gd name="connsiteY92" fmla="*/ 235830 h 3839904"/>
                <a:gd name="connsiteX93" fmla="*/ 1049181 w 2224912"/>
                <a:gd name="connsiteY93" fmla="*/ 219069 h 3839904"/>
                <a:gd name="connsiteX94" fmla="*/ 1059342 w 2224912"/>
                <a:gd name="connsiteY94" fmla="*/ 61444 h 3839904"/>
                <a:gd name="connsiteX95" fmla="*/ 1108752 w 2224912"/>
                <a:gd name="connsiteY95" fmla="*/ 41355 h 3839904"/>
                <a:gd name="connsiteX96" fmla="*/ 1157886 w 2224912"/>
                <a:gd name="connsiteY96" fmla="*/ 64891 h 3839904"/>
                <a:gd name="connsiteX97" fmla="*/ 1158838 w 2224912"/>
                <a:gd name="connsiteY97" fmla="*/ 162208 h 3839904"/>
                <a:gd name="connsiteX98" fmla="*/ 1153084 w 2224912"/>
                <a:gd name="connsiteY98" fmla="*/ 214988 h 3839904"/>
                <a:gd name="connsiteX99" fmla="*/ 1157886 w 2224912"/>
                <a:gd name="connsiteY99" fmla="*/ 227707 h 3839904"/>
                <a:gd name="connsiteX100" fmla="*/ 1105617 w 2224912"/>
                <a:gd name="connsiteY100" fmla="*/ 231630 h 3839904"/>
                <a:gd name="connsiteX101" fmla="*/ 1108752 w 2224912"/>
                <a:gd name="connsiteY101" fmla="*/ 41355 h 3839904"/>
                <a:gd name="connsiteX102" fmla="*/ 1808126 w 2224912"/>
                <a:gd name="connsiteY102" fmla="*/ 3705011 h 3839904"/>
                <a:gd name="connsiteX103" fmla="*/ 1849798 w 2224912"/>
                <a:gd name="connsiteY103" fmla="*/ 3700533 h 3839904"/>
                <a:gd name="connsiteX104" fmla="*/ 1631239 w 2224912"/>
                <a:gd name="connsiteY104" fmla="*/ 2048996 h 3839904"/>
                <a:gd name="connsiteX105" fmla="*/ 1662830 w 2224912"/>
                <a:gd name="connsiteY105" fmla="*/ 2047807 h 3839904"/>
                <a:gd name="connsiteX106" fmla="*/ 1720297 w 2224912"/>
                <a:gd name="connsiteY106" fmla="*/ 2045905 h 3839904"/>
                <a:gd name="connsiteX107" fmla="*/ 2040060 w 2224912"/>
                <a:gd name="connsiteY107" fmla="*/ 2034850 h 3839904"/>
                <a:gd name="connsiteX108" fmla="*/ 2217424 w 2224912"/>
                <a:gd name="connsiteY108" fmla="*/ 1969034 h 3839904"/>
                <a:gd name="connsiteX109" fmla="*/ 2216074 w 2224912"/>
                <a:gd name="connsiteY109" fmla="*/ 1935670 h 3839904"/>
                <a:gd name="connsiteX110" fmla="*/ 2095940 w 2224912"/>
                <a:gd name="connsiteY110" fmla="*/ 1856065 h 3839904"/>
                <a:gd name="connsiteX111" fmla="*/ 2004302 w 2224912"/>
                <a:gd name="connsiteY111" fmla="*/ 1856898 h 3839904"/>
                <a:gd name="connsiteX112" fmla="*/ 2023272 w 2224912"/>
                <a:gd name="connsiteY112" fmla="*/ 1477337 h 3839904"/>
                <a:gd name="connsiteX113" fmla="*/ 2024344 w 2224912"/>
                <a:gd name="connsiteY113" fmla="*/ 1029781 h 3839904"/>
                <a:gd name="connsiteX114" fmla="*/ 2015573 w 2224912"/>
                <a:gd name="connsiteY114" fmla="*/ 880200 h 3839904"/>
                <a:gd name="connsiteX115" fmla="*/ 2001960 w 2224912"/>
                <a:gd name="connsiteY115" fmla="*/ 261388 h 3839904"/>
                <a:gd name="connsiteX116" fmla="*/ 1989816 w 2224912"/>
                <a:gd name="connsiteY116" fmla="*/ 242844 h 3839904"/>
                <a:gd name="connsiteX117" fmla="*/ 1579169 w 2224912"/>
                <a:gd name="connsiteY117" fmla="*/ 199059 h 3839904"/>
                <a:gd name="connsiteX118" fmla="*/ 1190985 w 2224912"/>
                <a:gd name="connsiteY118" fmla="*/ 225211 h 3839904"/>
                <a:gd name="connsiteX119" fmla="*/ 1194120 w 2224912"/>
                <a:gd name="connsiteY119" fmla="*/ 214988 h 3839904"/>
                <a:gd name="connsiteX120" fmla="*/ 1199399 w 2224912"/>
                <a:gd name="connsiteY120" fmla="*/ 168390 h 3839904"/>
                <a:gd name="connsiteX121" fmla="*/ 1192572 w 2224912"/>
                <a:gd name="connsiteY121" fmla="*/ 43019 h 3839904"/>
                <a:gd name="connsiteX122" fmla="*/ 1104427 w 2224912"/>
                <a:gd name="connsiteY122" fmla="*/ -13 h 3839904"/>
                <a:gd name="connsiteX123" fmla="*/ 1025052 w 2224912"/>
                <a:gd name="connsiteY123" fmla="*/ 38977 h 3839904"/>
                <a:gd name="connsiteX124" fmla="*/ 1008184 w 2224912"/>
                <a:gd name="connsiteY124" fmla="*/ 220575 h 3839904"/>
                <a:gd name="connsiteX125" fmla="*/ 1008819 w 2224912"/>
                <a:gd name="connsiteY125" fmla="*/ 238921 h 3839904"/>
                <a:gd name="connsiteX126" fmla="*/ 229793 w 2224912"/>
                <a:gd name="connsiteY126" fmla="*/ 276723 h 3839904"/>
                <a:gd name="connsiteX127" fmla="*/ 214195 w 2224912"/>
                <a:gd name="connsiteY127" fmla="*/ 283577 h 3839904"/>
                <a:gd name="connsiteX128" fmla="*/ 206337 w 2224912"/>
                <a:gd name="connsiteY128" fmla="*/ 1140372 h 3839904"/>
                <a:gd name="connsiteX129" fmla="*/ 209393 w 2224912"/>
                <a:gd name="connsiteY129" fmla="*/ 1308181 h 3839904"/>
                <a:gd name="connsiteX130" fmla="*/ 209552 w 2224912"/>
                <a:gd name="connsiteY130" fmla="*/ 1903812 h 3839904"/>
                <a:gd name="connsiteX131" fmla="*/ 22306 w 2224912"/>
                <a:gd name="connsiteY131" fmla="*/ 1932303 h 3839904"/>
                <a:gd name="connsiteX132" fmla="*/ 13893 w 2224912"/>
                <a:gd name="connsiteY132" fmla="*/ 2076931 h 3839904"/>
                <a:gd name="connsiteX133" fmla="*/ 537292 w 2224912"/>
                <a:gd name="connsiteY133" fmla="*/ 2090324 h 3839904"/>
                <a:gd name="connsiteX134" fmla="*/ 261106 w 2224912"/>
                <a:gd name="connsiteY134" fmla="*/ 3816197 h 3839904"/>
                <a:gd name="connsiteX135" fmla="*/ 276902 w 2224912"/>
                <a:gd name="connsiteY135" fmla="*/ 3839377 h 3839904"/>
                <a:gd name="connsiteX136" fmla="*/ 281386 w 2224912"/>
                <a:gd name="connsiteY136" fmla="*/ 3839892 h 3839904"/>
                <a:gd name="connsiteX137" fmla="*/ 301072 w 2224912"/>
                <a:gd name="connsiteY137" fmla="*/ 3825113 h 3839904"/>
                <a:gd name="connsiteX138" fmla="*/ 508161 w 2224912"/>
                <a:gd name="connsiteY138" fmla="*/ 3112035 h 3839904"/>
                <a:gd name="connsiteX139" fmla="*/ 578646 w 2224912"/>
                <a:gd name="connsiteY139" fmla="*/ 2899886 h 3839904"/>
                <a:gd name="connsiteX140" fmla="*/ 663498 w 2224912"/>
                <a:gd name="connsiteY140" fmla="*/ 2635791 h 3839904"/>
                <a:gd name="connsiteX141" fmla="*/ 708504 w 2224912"/>
                <a:gd name="connsiteY141" fmla="*/ 2457165 h 3839904"/>
                <a:gd name="connsiteX142" fmla="*/ 803595 w 2224912"/>
                <a:gd name="connsiteY142" fmla="*/ 2094722 h 3839904"/>
                <a:gd name="connsiteX143" fmla="*/ 802246 w 2224912"/>
                <a:gd name="connsiteY143" fmla="*/ 2080299 h 3839904"/>
                <a:gd name="connsiteX144" fmla="*/ 1010724 w 2224912"/>
                <a:gd name="connsiteY144" fmla="*/ 2072454 h 3839904"/>
                <a:gd name="connsiteX145" fmla="*/ 1090377 w 2224912"/>
                <a:gd name="connsiteY145" fmla="*/ 3145161 h 3839904"/>
                <a:gd name="connsiteX146" fmla="*/ 1111015 w 2224912"/>
                <a:gd name="connsiteY146" fmla="*/ 3164101 h 3839904"/>
                <a:gd name="connsiteX147" fmla="*/ 1131335 w 2224912"/>
                <a:gd name="connsiteY147" fmla="*/ 3144844 h 3839904"/>
                <a:gd name="connsiteX148" fmla="*/ 1193327 w 2224912"/>
                <a:gd name="connsiteY148" fmla="*/ 2065519 h 3839904"/>
                <a:gd name="connsiteX149" fmla="*/ 1372476 w 2224912"/>
                <a:gd name="connsiteY149" fmla="*/ 2058783 h 3839904"/>
                <a:gd name="connsiteX150" fmla="*/ 1580082 w 2224912"/>
                <a:gd name="connsiteY150" fmla="*/ 2908762 h 3839904"/>
                <a:gd name="connsiteX151" fmla="*/ 1711090 w 2224912"/>
                <a:gd name="connsiteY151" fmla="*/ 3375337 h 3839904"/>
                <a:gd name="connsiteX152" fmla="*/ 1808126 w 2224912"/>
                <a:gd name="connsiteY152" fmla="*/ 3705011 h 383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2224912" h="3839904">
                  <a:moveTo>
                    <a:pt x="1842376" y="3722803"/>
                  </a:moveTo>
                  <a:cubicBezTo>
                    <a:pt x="1874285" y="3719554"/>
                    <a:pt x="1676522" y="3744517"/>
                    <a:pt x="1821421" y="3725180"/>
                  </a:cubicBezTo>
                  <a:cubicBezTo>
                    <a:pt x="1824081" y="3726409"/>
                    <a:pt x="1826898" y="3727241"/>
                    <a:pt x="1829954" y="3727241"/>
                  </a:cubicBezTo>
                  <a:cubicBezTo>
                    <a:pt x="1831225" y="3727241"/>
                    <a:pt x="1832574" y="3727122"/>
                    <a:pt x="1833883" y="3726924"/>
                  </a:cubicBezTo>
                  <a:cubicBezTo>
                    <a:pt x="1837138" y="3726250"/>
                    <a:pt x="1839916" y="3724705"/>
                    <a:pt x="1842376" y="3722803"/>
                  </a:cubicBezTo>
                  <a:close/>
                  <a:moveTo>
                    <a:pt x="1773797" y="3439490"/>
                  </a:moveTo>
                  <a:cubicBezTo>
                    <a:pt x="1773836" y="3439450"/>
                    <a:pt x="1773836" y="3439410"/>
                    <a:pt x="1773876" y="3439370"/>
                  </a:cubicBezTo>
                  <a:lnTo>
                    <a:pt x="1773916" y="3439925"/>
                  </a:lnTo>
                  <a:cubicBezTo>
                    <a:pt x="1773876" y="3439767"/>
                    <a:pt x="1773836" y="3439648"/>
                    <a:pt x="1773797" y="3439490"/>
                  </a:cubicBezTo>
                  <a:close/>
                  <a:moveTo>
                    <a:pt x="1507652" y="2053671"/>
                  </a:moveTo>
                  <a:lnTo>
                    <a:pt x="1590043" y="2050541"/>
                  </a:lnTo>
                  <a:lnTo>
                    <a:pt x="1749309" y="3253929"/>
                  </a:lnTo>
                  <a:cubicBezTo>
                    <a:pt x="1685532" y="2850634"/>
                    <a:pt x="1605521" y="2450191"/>
                    <a:pt x="1507652" y="2053671"/>
                  </a:cubicBezTo>
                  <a:close/>
                  <a:moveTo>
                    <a:pt x="1620127" y="2899807"/>
                  </a:moveTo>
                  <a:cubicBezTo>
                    <a:pt x="1555554" y="2613284"/>
                    <a:pt x="1486340" y="2330130"/>
                    <a:pt x="1414466" y="2057198"/>
                  </a:cubicBezTo>
                  <a:lnTo>
                    <a:pt x="1465901" y="2055216"/>
                  </a:lnTo>
                  <a:cubicBezTo>
                    <a:pt x="1558849" y="2430696"/>
                    <a:pt x="1635723" y="2809583"/>
                    <a:pt x="1698073" y="3191125"/>
                  </a:cubicBezTo>
                  <a:cubicBezTo>
                    <a:pt x="1669299" y="3094164"/>
                    <a:pt x="1641915" y="2996451"/>
                    <a:pt x="1620127" y="2899807"/>
                  </a:cubicBezTo>
                  <a:close/>
                  <a:moveTo>
                    <a:pt x="1029616" y="2030887"/>
                  </a:moveTo>
                  <a:cubicBezTo>
                    <a:pt x="1029100" y="2030887"/>
                    <a:pt x="1028703" y="2030690"/>
                    <a:pt x="1028187" y="2030729"/>
                  </a:cubicBezTo>
                  <a:cubicBezTo>
                    <a:pt x="1027909" y="2030769"/>
                    <a:pt x="1027631" y="2030927"/>
                    <a:pt x="1027314" y="2030966"/>
                  </a:cubicBezTo>
                  <a:lnTo>
                    <a:pt x="133630" y="2064568"/>
                  </a:lnTo>
                  <a:cubicBezTo>
                    <a:pt x="125057" y="2064925"/>
                    <a:pt x="116485" y="2065836"/>
                    <a:pt x="107952" y="2066747"/>
                  </a:cubicBezTo>
                  <a:cubicBezTo>
                    <a:pt x="99141" y="2067698"/>
                    <a:pt x="90450" y="2068689"/>
                    <a:pt x="82076" y="2068689"/>
                  </a:cubicBezTo>
                  <a:cubicBezTo>
                    <a:pt x="64931" y="2068689"/>
                    <a:pt x="55445" y="2064410"/>
                    <a:pt x="47032" y="2052800"/>
                  </a:cubicBezTo>
                  <a:cubicBezTo>
                    <a:pt x="43856" y="2048401"/>
                    <a:pt x="41952" y="2039565"/>
                    <a:pt x="40920" y="2029342"/>
                  </a:cubicBezTo>
                  <a:cubicBezTo>
                    <a:pt x="753351" y="2010996"/>
                    <a:pt x="1465782" y="1992690"/>
                    <a:pt x="2178213" y="1974343"/>
                  </a:cubicBezTo>
                  <a:cubicBezTo>
                    <a:pt x="2178371" y="1978900"/>
                    <a:pt x="2178609" y="1983140"/>
                    <a:pt x="2178649" y="1988291"/>
                  </a:cubicBezTo>
                  <a:cubicBezTo>
                    <a:pt x="2105148" y="1992254"/>
                    <a:pt x="1819834" y="2001645"/>
                    <a:pt x="1718948" y="2004973"/>
                  </a:cubicBezTo>
                  <a:lnTo>
                    <a:pt x="1029616" y="2030887"/>
                  </a:lnTo>
                  <a:close/>
                  <a:moveTo>
                    <a:pt x="1126969" y="2505705"/>
                  </a:moveTo>
                  <a:cubicBezTo>
                    <a:pt x="1121532" y="2360006"/>
                    <a:pt x="1116135" y="2214348"/>
                    <a:pt x="1110697" y="2068649"/>
                  </a:cubicBezTo>
                  <a:lnTo>
                    <a:pt x="1152131" y="2067104"/>
                  </a:lnTo>
                  <a:lnTo>
                    <a:pt x="1126969" y="2505705"/>
                  </a:lnTo>
                  <a:close/>
                  <a:moveTo>
                    <a:pt x="1051801" y="2070908"/>
                  </a:moveTo>
                  <a:lnTo>
                    <a:pt x="1069740" y="2070195"/>
                  </a:lnTo>
                  <a:cubicBezTo>
                    <a:pt x="1075772" y="2232099"/>
                    <a:pt x="1081805" y="2394044"/>
                    <a:pt x="1087797" y="2555948"/>
                  </a:cubicBezTo>
                  <a:lnTo>
                    <a:pt x="1051801" y="2070908"/>
                  </a:lnTo>
                  <a:close/>
                  <a:moveTo>
                    <a:pt x="764185" y="2083310"/>
                  </a:moveTo>
                  <a:cubicBezTo>
                    <a:pt x="729181" y="2203887"/>
                    <a:pt x="698423" y="2327633"/>
                    <a:pt x="668657" y="2447299"/>
                  </a:cubicBezTo>
                  <a:cubicBezTo>
                    <a:pt x="653894" y="2506775"/>
                    <a:pt x="639090" y="2566250"/>
                    <a:pt x="623771" y="2625568"/>
                  </a:cubicBezTo>
                  <a:cubicBezTo>
                    <a:pt x="600832" y="2714247"/>
                    <a:pt x="569875" y="2801698"/>
                    <a:pt x="539991" y="2886256"/>
                  </a:cubicBezTo>
                  <a:cubicBezTo>
                    <a:pt x="515424" y="2955757"/>
                    <a:pt x="489945" y="3027635"/>
                    <a:pt x="468751" y="3100662"/>
                  </a:cubicBezTo>
                  <a:lnTo>
                    <a:pt x="464783" y="3114214"/>
                  </a:lnTo>
                  <a:cubicBezTo>
                    <a:pt x="539832" y="2770989"/>
                    <a:pt x="614841" y="2427764"/>
                    <a:pt x="689850" y="2084539"/>
                  </a:cubicBezTo>
                  <a:lnTo>
                    <a:pt x="765019" y="2081685"/>
                  </a:lnTo>
                  <a:cubicBezTo>
                    <a:pt x="764781" y="2082320"/>
                    <a:pt x="764344" y="2082716"/>
                    <a:pt x="764185" y="2083310"/>
                  </a:cubicBezTo>
                  <a:close/>
                  <a:moveTo>
                    <a:pt x="578527" y="2092305"/>
                  </a:moveTo>
                  <a:cubicBezTo>
                    <a:pt x="578726" y="2091037"/>
                    <a:pt x="578408" y="2089928"/>
                    <a:pt x="578368" y="2088778"/>
                  </a:cubicBezTo>
                  <a:lnTo>
                    <a:pt x="647583" y="2086123"/>
                  </a:lnTo>
                  <a:cubicBezTo>
                    <a:pt x="562851" y="2473688"/>
                    <a:pt x="478157" y="2861174"/>
                    <a:pt x="393464" y="3248699"/>
                  </a:cubicBezTo>
                  <a:lnTo>
                    <a:pt x="578527" y="2092305"/>
                  </a:lnTo>
                  <a:close/>
                  <a:moveTo>
                    <a:pt x="353856" y="3496271"/>
                  </a:moveTo>
                  <a:lnTo>
                    <a:pt x="354491" y="3492189"/>
                  </a:lnTo>
                  <a:cubicBezTo>
                    <a:pt x="354650" y="3492308"/>
                    <a:pt x="354809" y="3492348"/>
                    <a:pt x="354967" y="3492428"/>
                  </a:cubicBezTo>
                  <a:lnTo>
                    <a:pt x="353856" y="3496271"/>
                  </a:lnTo>
                  <a:close/>
                  <a:moveTo>
                    <a:pt x="49175" y="1968123"/>
                  </a:moveTo>
                  <a:cubicBezTo>
                    <a:pt x="52945" y="1964952"/>
                    <a:pt x="69892" y="1961307"/>
                    <a:pt x="92236" y="1956473"/>
                  </a:cubicBezTo>
                  <a:cubicBezTo>
                    <a:pt x="125970" y="1949222"/>
                    <a:pt x="164546" y="1945537"/>
                    <a:pt x="211298" y="1944744"/>
                  </a:cubicBezTo>
                  <a:cubicBezTo>
                    <a:pt x="214434" y="1951996"/>
                    <a:pt x="221657" y="1957107"/>
                    <a:pt x="230110" y="1957107"/>
                  </a:cubicBezTo>
                  <a:cubicBezTo>
                    <a:pt x="238524" y="1957107"/>
                    <a:pt x="245747" y="1951996"/>
                    <a:pt x="248882" y="1944744"/>
                  </a:cubicBezTo>
                  <a:cubicBezTo>
                    <a:pt x="269996" y="1945022"/>
                    <a:pt x="291189" y="1945418"/>
                    <a:pt x="312263" y="1946052"/>
                  </a:cubicBezTo>
                  <a:cubicBezTo>
                    <a:pt x="349292" y="1947241"/>
                    <a:pt x="386201" y="1948350"/>
                    <a:pt x="422039" y="1947439"/>
                  </a:cubicBezTo>
                  <a:cubicBezTo>
                    <a:pt x="653695" y="1941455"/>
                    <a:pt x="885470" y="1935988"/>
                    <a:pt x="1117166" y="1930599"/>
                  </a:cubicBezTo>
                  <a:lnTo>
                    <a:pt x="1840829" y="1913362"/>
                  </a:lnTo>
                  <a:cubicBezTo>
                    <a:pt x="1875714" y="1912530"/>
                    <a:pt x="1910718" y="1908329"/>
                    <a:pt x="1944572" y="1904248"/>
                  </a:cubicBezTo>
                  <a:cubicBezTo>
                    <a:pt x="1993348" y="1898384"/>
                    <a:pt x="2043354" y="1892242"/>
                    <a:pt x="2092170" y="1896878"/>
                  </a:cubicBezTo>
                  <a:cubicBezTo>
                    <a:pt x="2141581" y="1901396"/>
                    <a:pt x="2162893" y="1908964"/>
                    <a:pt x="2172061" y="1933531"/>
                  </a:cubicBezTo>
                  <a:cubicBezTo>
                    <a:pt x="1462011" y="1951837"/>
                    <a:pt x="751962" y="1970104"/>
                    <a:pt x="41912" y="1988371"/>
                  </a:cubicBezTo>
                  <a:cubicBezTo>
                    <a:pt x="43460" y="1978742"/>
                    <a:pt x="45841" y="1970936"/>
                    <a:pt x="49175" y="1968123"/>
                  </a:cubicBezTo>
                  <a:close/>
                  <a:moveTo>
                    <a:pt x="244557" y="317694"/>
                  </a:moveTo>
                  <a:cubicBezTo>
                    <a:pt x="508915" y="317021"/>
                    <a:pt x="772798" y="298080"/>
                    <a:pt x="1029695" y="278427"/>
                  </a:cubicBezTo>
                  <a:lnTo>
                    <a:pt x="1029854" y="278427"/>
                  </a:lnTo>
                  <a:cubicBezTo>
                    <a:pt x="1051483" y="276762"/>
                    <a:pt x="1073470" y="275138"/>
                    <a:pt x="1095021" y="273513"/>
                  </a:cubicBezTo>
                  <a:cubicBezTo>
                    <a:pt x="1253850" y="261229"/>
                    <a:pt x="1418157" y="248589"/>
                    <a:pt x="1581312" y="239991"/>
                  </a:cubicBezTo>
                  <a:cubicBezTo>
                    <a:pt x="1703510" y="233532"/>
                    <a:pt x="1841543" y="226281"/>
                    <a:pt x="1961042" y="275098"/>
                  </a:cubicBezTo>
                  <a:cubicBezTo>
                    <a:pt x="1962987" y="519421"/>
                    <a:pt x="1967194" y="707041"/>
                    <a:pt x="1974536" y="881943"/>
                  </a:cubicBezTo>
                  <a:cubicBezTo>
                    <a:pt x="1976679" y="931434"/>
                    <a:pt x="1980013" y="981796"/>
                    <a:pt x="1983387" y="1032515"/>
                  </a:cubicBezTo>
                  <a:cubicBezTo>
                    <a:pt x="1993149" y="1178689"/>
                    <a:pt x="2003230" y="1329855"/>
                    <a:pt x="1982632" y="1471433"/>
                  </a:cubicBezTo>
                  <a:cubicBezTo>
                    <a:pt x="1963900" y="1600846"/>
                    <a:pt x="1963304" y="1726454"/>
                    <a:pt x="1963265" y="1860900"/>
                  </a:cubicBezTo>
                  <a:cubicBezTo>
                    <a:pt x="1955407" y="1861771"/>
                    <a:pt x="1947509" y="1862643"/>
                    <a:pt x="1939690" y="1863594"/>
                  </a:cubicBezTo>
                  <a:cubicBezTo>
                    <a:pt x="1906829" y="1867556"/>
                    <a:pt x="1872817" y="1871598"/>
                    <a:pt x="1839876" y="1872390"/>
                  </a:cubicBezTo>
                  <a:lnTo>
                    <a:pt x="1116174" y="1889667"/>
                  </a:lnTo>
                  <a:cubicBezTo>
                    <a:pt x="884478" y="1895095"/>
                    <a:pt x="652703" y="1900484"/>
                    <a:pt x="420968" y="1906467"/>
                  </a:cubicBezTo>
                  <a:cubicBezTo>
                    <a:pt x="385725" y="1907418"/>
                    <a:pt x="349768" y="1906230"/>
                    <a:pt x="313534" y="1905160"/>
                  </a:cubicBezTo>
                  <a:cubicBezTo>
                    <a:pt x="292618" y="1904486"/>
                    <a:pt x="271584" y="1904130"/>
                    <a:pt x="250589" y="1903852"/>
                  </a:cubicBezTo>
                  <a:lnTo>
                    <a:pt x="250391" y="1308181"/>
                  </a:lnTo>
                  <a:cubicBezTo>
                    <a:pt x="250391" y="1284961"/>
                    <a:pt x="249081" y="1222632"/>
                    <a:pt x="247374" y="1139540"/>
                  </a:cubicBezTo>
                  <a:cubicBezTo>
                    <a:pt x="242651" y="915228"/>
                    <a:pt x="231976" y="404709"/>
                    <a:pt x="244557" y="317694"/>
                  </a:cubicBezTo>
                  <a:close/>
                  <a:moveTo>
                    <a:pt x="1059342" y="61444"/>
                  </a:moveTo>
                  <a:cubicBezTo>
                    <a:pt x="1061604" y="57997"/>
                    <a:pt x="1064580" y="55699"/>
                    <a:pt x="1067517" y="53321"/>
                  </a:cubicBezTo>
                  <a:cubicBezTo>
                    <a:pt x="1066525" y="113787"/>
                    <a:pt x="1065533" y="174254"/>
                    <a:pt x="1064541" y="234721"/>
                  </a:cubicBezTo>
                  <a:cubicBezTo>
                    <a:pt x="1059580" y="235077"/>
                    <a:pt x="1054658" y="235434"/>
                    <a:pt x="1049737" y="235830"/>
                  </a:cubicBezTo>
                  <a:cubicBezTo>
                    <a:pt x="1049578" y="230481"/>
                    <a:pt x="1049420" y="225092"/>
                    <a:pt x="1049181" y="219069"/>
                  </a:cubicBezTo>
                  <a:cubicBezTo>
                    <a:pt x="1047396" y="172075"/>
                    <a:pt x="1044141" y="84584"/>
                    <a:pt x="1059342" y="61444"/>
                  </a:cubicBezTo>
                  <a:close/>
                  <a:moveTo>
                    <a:pt x="1108752" y="41355"/>
                  </a:moveTo>
                  <a:cubicBezTo>
                    <a:pt x="1129985" y="42504"/>
                    <a:pt x="1149472" y="51538"/>
                    <a:pt x="1157886" y="64891"/>
                  </a:cubicBezTo>
                  <a:cubicBezTo>
                    <a:pt x="1170665" y="85060"/>
                    <a:pt x="1164117" y="127854"/>
                    <a:pt x="1158838" y="162208"/>
                  </a:cubicBezTo>
                  <a:cubicBezTo>
                    <a:pt x="1155901" y="181426"/>
                    <a:pt x="1153084" y="199613"/>
                    <a:pt x="1153084" y="214988"/>
                  </a:cubicBezTo>
                  <a:cubicBezTo>
                    <a:pt x="1153084" y="219862"/>
                    <a:pt x="1155028" y="224181"/>
                    <a:pt x="1157886" y="227707"/>
                  </a:cubicBezTo>
                  <a:cubicBezTo>
                    <a:pt x="1140542" y="229015"/>
                    <a:pt x="1123000" y="230323"/>
                    <a:pt x="1105617" y="231630"/>
                  </a:cubicBezTo>
                  <a:cubicBezTo>
                    <a:pt x="1106649" y="168191"/>
                    <a:pt x="1107721" y="104793"/>
                    <a:pt x="1108752" y="41355"/>
                  </a:cubicBezTo>
                  <a:close/>
                  <a:moveTo>
                    <a:pt x="1808126" y="3705011"/>
                  </a:moveTo>
                  <a:cubicBezTo>
                    <a:pt x="1666918" y="3726012"/>
                    <a:pt x="1880437" y="3697799"/>
                    <a:pt x="1849798" y="3700533"/>
                  </a:cubicBezTo>
                  <a:lnTo>
                    <a:pt x="1631239" y="2048996"/>
                  </a:lnTo>
                  <a:lnTo>
                    <a:pt x="1662830" y="2047807"/>
                  </a:lnTo>
                  <a:lnTo>
                    <a:pt x="1720297" y="2045905"/>
                  </a:lnTo>
                  <a:cubicBezTo>
                    <a:pt x="1826859" y="2042418"/>
                    <a:pt x="1933499" y="2039209"/>
                    <a:pt x="2040060" y="2034850"/>
                  </a:cubicBezTo>
                  <a:cubicBezTo>
                    <a:pt x="2103917" y="2032234"/>
                    <a:pt x="2208296" y="2047450"/>
                    <a:pt x="2217424" y="1969034"/>
                  </a:cubicBezTo>
                  <a:cubicBezTo>
                    <a:pt x="2227822" y="1960594"/>
                    <a:pt x="2227425" y="1942605"/>
                    <a:pt x="2216074" y="1935670"/>
                  </a:cubicBezTo>
                  <a:cubicBezTo>
                    <a:pt x="2204763" y="1881227"/>
                    <a:pt x="2151027" y="1861137"/>
                    <a:pt x="2095940" y="1856065"/>
                  </a:cubicBezTo>
                  <a:cubicBezTo>
                    <a:pt x="2065381" y="1853252"/>
                    <a:pt x="2034703" y="1854401"/>
                    <a:pt x="2004302" y="1856898"/>
                  </a:cubicBezTo>
                  <a:cubicBezTo>
                    <a:pt x="2004342" y="1726851"/>
                    <a:pt x="2004976" y="1603302"/>
                    <a:pt x="2023272" y="1477337"/>
                  </a:cubicBezTo>
                  <a:cubicBezTo>
                    <a:pt x="2044465" y="1331441"/>
                    <a:pt x="2034226" y="1178094"/>
                    <a:pt x="2024344" y="1029781"/>
                  </a:cubicBezTo>
                  <a:cubicBezTo>
                    <a:pt x="2020970" y="979419"/>
                    <a:pt x="2017597" y="929413"/>
                    <a:pt x="2015573" y="880200"/>
                  </a:cubicBezTo>
                  <a:cubicBezTo>
                    <a:pt x="2008032" y="702643"/>
                    <a:pt x="2003826" y="511773"/>
                    <a:pt x="2001960" y="261388"/>
                  </a:cubicBezTo>
                  <a:cubicBezTo>
                    <a:pt x="2001881" y="253384"/>
                    <a:pt x="1997118" y="246133"/>
                    <a:pt x="1989816" y="242844"/>
                  </a:cubicBezTo>
                  <a:cubicBezTo>
                    <a:pt x="1858569" y="184398"/>
                    <a:pt x="1710217" y="192244"/>
                    <a:pt x="1579169" y="199059"/>
                  </a:cubicBezTo>
                  <a:cubicBezTo>
                    <a:pt x="1449034" y="205953"/>
                    <a:pt x="1319017" y="215464"/>
                    <a:pt x="1190985" y="225211"/>
                  </a:cubicBezTo>
                  <a:cubicBezTo>
                    <a:pt x="1192771" y="222160"/>
                    <a:pt x="1194120" y="218792"/>
                    <a:pt x="1194120" y="214988"/>
                  </a:cubicBezTo>
                  <a:cubicBezTo>
                    <a:pt x="1194120" y="202704"/>
                    <a:pt x="1196660" y="186062"/>
                    <a:pt x="1199399" y="168390"/>
                  </a:cubicBezTo>
                  <a:cubicBezTo>
                    <a:pt x="1206027" y="125160"/>
                    <a:pt x="1213567" y="76144"/>
                    <a:pt x="1192572" y="43019"/>
                  </a:cubicBezTo>
                  <a:cubicBezTo>
                    <a:pt x="1176261" y="17223"/>
                    <a:pt x="1142130" y="344"/>
                    <a:pt x="1104427" y="-13"/>
                  </a:cubicBezTo>
                  <a:cubicBezTo>
                    <a:pt x="1070256" y="-13"/>
                    <a:pt x="1041323" y="14172"/>
                    <a:pt x="1025052" y="38977"/>
                  </a:cubicBezTo>
                  <a:cubicBezTo>
                    <a:pt x="1004335" y="70479"/>
                    <a:pt x="1005168" y="139860"/>
                    <a:pt x="1008184" y="220575"/>
                  </a:cubicBezTo>
                  <a:cubicBezTo>
                    <a:pt x="1008422" y="227153"/>
                    <a:pt x="1008661" y="233215"/>
                    <a:pt x="1008819" y="238921"/>
                  </a:cubicBezTo>
                  <a:cubicBezTo>
                    <a:pt x="753589" y="258376"/>
                    <a:pt x="491691" y="276723"/>
                    <a:pt x="229793" y="276723"/>
                  </a:cubicBezTo>
                  <a:cubicBezTo>
                    <a:pt x="224356" y="276802"/>
                    <a:pt x="218005" y="279655"/>
                    <a:pt x="214195" y="283577"/>
                  </a:cubicBezTo>
                  <a:cubicBezTo>
                    <a:pt x="198956" y="299388"/>
                    <a:pt x="190145" y="367541"/>
                    <a:pt x="206337" y="1140372"/>
                  </a:cubicBezTo>
                  <a:cubicBezTo>
                    <a:pt x="208044" y="1223068"/>
                    <a:pt x="209393" y="1285120"/>
                    <a:pt x="209393" y="1308181"/>
                  </a:cubicBezTo>
                  <a:lnTo>
                    <a:pt x="209552" y="1903812"/>
                  </a:lnTo>
                  <a:cubicBezTo>
                    <a:pt x="153275" y="1904843"/>
                    <a:pt x="55803" y="1885982"/>
                    <a:pt x="22306" y="1932303"/>
                  </a:cubicBezTo>
                  <a:cubicBezTo>
                    <a:pt x="-633" y="1964041"/>
                    <a:pt x="-9801" y="2044598"/>
                    <a:pt x="13893" y="2076931"/>
                  </a:cubicBezTo>
                  <a:cubicBezTo>
                    <a:pt x="47032" y="2122142"/>
                    <a:pt x="534910" y="2105143"/>
                    <a:pt x="537292" y="2090324"/>
                  </a:cubicBezTo>
                  <a:cubicBezTo>
                    <a:pt x="537252" y="2090522"/>
                    <a:pt x="261106" y="3816197"/>
                    <a:pt x="261106" y="3816197"/>
                  </a:cubicBezTo>
                  <a:cubicBezTo>
                    <a:pt x="259399" y="3826895"/>
                    <a:pt x="266305" y="3837039"/>
                    <a:pt x="276902" y="3839377"/>
                  </a:cubicBezTo>
                  <a:cubicBezTo>
                    <a:pt x="278410" y="3839733"/>
                    <a:pt x="279879" y="3839892"/>
                    <a:pt x="281386" y="3839892"/>
                  </a:cubicBezTo>
                  <a:cubicBezTo>
                    <a:pt x="290356" y="3839892"/>
                    <a:pt x="298492" y="3834067"/>
                    <a:pt x="301072" y="3825113"/>
                  </a:cubicBezTo>
                  <a:lnTo>
                    <a:pt x="508161" y="3112035"/>
                  </a:lnTo>
                  <a:cubicBezTo>
                    <a:pt x="529037" y="3040196"/>
                    <a:pt x="554278" y="2968872"/>
                    <a:pt x="578646" y="2899886"/>
                  </a:cubicBezTo>
                  <a:cubicBezTo>
                    <a:pt x="608888" y="2814496"/>
                    <a:pt x="640122" y="2726214"/>
                    <a:pt x="663498" y="2635791"/>
                  </a:cubicBezTo>
                  <a:cubicBezTo>
                    <a:pt x="678857" y="2576355"/>
                    <a:pt x="693661" y="2516799"/>
                    <a:pt x="708504" y="2457165"/>
                  </a:cubicBezTo>
                  <a:cubicBezTo>
                    <a:pt x="738150" y="2337896"/>
                    <a:pt x="768789" y="2214546"/>
                    <a:pt x="803595" y="2094722"/>
                  </a:cubicBezTo>
                  <a:cubicBezTo>
                    <a:pt x="805024" y="2089729"/>
                    <a:pt x="804309" y="2084658"/>
                    <a:pt x="802246" y="2080299"/>
                  </a:cubicBezTo>
                  <a:lnTo>
                    <a:pt x="1010724" y="2072454"/>
                  </a:lnTo>
                  <a:lnTo>
                    <a:pt x="1090377" y="3145161"/>
                  </a:lnTo>
                  <a:cubicBezTo>
                    <a:pt x="1091171" y="3155859"/>
                    <a:pt x="1100101" y="3164101"/>
                    <a:pt x="1111015" y="3164101"/>
                  </a:cubicBezTo>
                  <a:cubicBezTo>
                    <a:pt x="1121810" y="3164061"/>
                    <a:pt x="1130700" y="3155622"/>
                    <a:pt x="1131335" y="3144844"/>
                  </a:cubicBezTo>
                  <a:lnTo>
                    <a:pt x="1193327" y="2065519"/>
                  </a:lnTo>
                  <a:lnTo>
                    <a:pt x="1372476" y="2058783"/>
                  </a:lnTo>
                  <a:cubicBezTo>
                    <a:pt x="1445065" y="2333894"/>
                    <a:pt x="1514954" y="2619664"/>
                    <a:pt x="1580082" y="2908762"/>
                  </a:cubicBezTo>
                  <a:cubicBezTo>
                    <a:pt x="1615205" y="3064525"/>
                    <a:pt x="1663941" y="3222507"/>
                    <a:pt x="1711090" y="3375337"/>
                  </a:cubicBezTo>
                  <a:cubicBezTo>
                    <a:pt x="1744507" y="3483432"/>
                    <a:pt x="1778837" y="3595173"/>
                    <a:pt x="1808126" y="3705011"/>
                  </a:cubicBezTo>
                  <a:close/>
                </a:path>
              </a:pathLst>
            </a:custGeom>
            <a:grpFill/>
            <a:ln w="39688" cap="flat">
              <a:noFill/>
              <a:prstDash val="solid"/>
              <a:round/>
            </a:ln>
          </p:spPr>
          <p:txBody>
            <a:bodyPr rtlCol="0" anchor="ctr"/>
            <a:lstStyle/>
            <a:p>
              <a:endParaRPr lang="en-LT"/>
            </a:p>
          </p:txBody>
        </p:sp>
      </p:grpSp>
      <p:grpSp>
        <p:nvGrpSpPr>
          <p:cNvPr id="125" name="Graphic 142">
            <a:extLst>
              <a:ext uri="{FF2B5EF4-FFF2-40B4-BE49-F238E27FC236}">
                <a16:creationId xmlns:a16="http://schemas.microsoft.com/office/drawing/2014/main" id="{C694A95C-D3F8-3843-94B0-BAB34DBF089B}"/>
              </a:ext>
            </a:extLst>
          </p:cNvPr>
          <p:cNvGrpSpPr/>
          <p:nvPr/>
        </p:nvGrpSpPr>
        <p:grpSpPr>
          <a:xfrm>
            <a:off x="9224239" y="3985990"/>
            <a:ext cx="657017" cy="1133925"/>
            <a:chOff x="5009734" y="1528902"/>
            <a:chExt cx="2224912" cy="3839904"/>
          </a:xfrm>
          <a:solidFill>
            <a:schemeClr val="tx1">
              <a:lumMod val="75000"/>
              <a:lumOff val="25000"/>
            </a:schemeClr>
          </a:solidFill>
        </p:grpSpPr>
        <p:sp>
          <p:nvSpPr>
            <p:cNvPr id="126" name="Freeform 125">
              <a:extLst>
                <a:ext uri="{FF2B5EF4-FFF2-40B4-BE49-F238E27FC236}">
                  <a16:creationId xmlns:a16="http://schemas.microsoft.com/office/drawing/2014/main" id="{CC7CB53A-2D45-264C-8A26-432846123101}"/>
                </a:ext>
              </a:extLst>
            </p:cNvPr>
            <p:cNvSpPr/>
            <p:nvPr/>
          </p:nvSpPr>
          <p:spPr>
            <a:xfrm>
              <a:off x="5417566" y="2003597"/>
              <a:ext cx="1483633" cy="1215002"/>
            </a:xfrm>
            <a:custGeom>
              <a:avLst/>
              <a:gdLst>
                <a:gd name="connsiteX0" fmla="*/ 1034379 w 1483633"/>
                <a:gd name="connsiteY0" fmla="*/ 631692 h 1215002"/>
                <a:gd name="connsiteX1" fmla="*/ 973220 w 1483633"/>
                <a:gd name="connsiteY1" fmla="*/ 738004 h 1215002"/>
                <a:gd name="connsiteX2" fmla="*/ 904481 w 1483633"/>
                <a:gd name="connsiteY2" fmla="*/ 600469 h 1215002"/>
                <a:gd name="connsiteX3" fmla="*/ 976712 w 1483633"/>
                <a:gd name="connsiteY3" fmla="*/ 366686 h 1215002"/>
                <a:gd name="connsiteX4" fmla="*/ 1034379 w 1483633"/>
                <a:gd name="connsiteY4" fmla="*/ 631692 h 1215002"/>
                <a:gd name="connsiteX5" fmla="*/ 1388987 w 1483633"/>
                <a:gd name="connsiteY5" fmla="*/ 64987 h 1215002"/>
                <a:gd name="connsiteX6" fmla="*/ 1387756 w 1483633"/>
                <a:gd name="connsiteY6" fmla="*/ 69464 h 1215002"/>
                <a:gd name="connsiteX7" fmla="*/ 1387439 w 1483633"/>
                <a:gd name="connsiteY7" fmla="*/ 65898 h 1215002"/>
                <a:gd name="connsiteX8" fmla="*/ 1388987 w 1483633"/>
                <a:gd name="connsiteY8" fmla="*/ 64987 h 1215002"/>
                <a:gd name="connsiteX9" fmla="*/ 756050 w 1483633"/>
                <a:gd name="connsiteY9" fmla="*/ 959583 h 1215002"/>
                <a:gd name="connsiteX10" fmla="*/ 641750 w 1483633"/>
                <a:gd name="connsiteY10" fmla="*/ 724572 h 1215002"/>
                <a:gd name="connsiteX11" fmla="*/ 766130 w 1483633"/>
                <a:gd name="connsiteY11" fmla="*/ 367121 h 1215002"/>
                <a:gd name="connsiteX12" fmla="*/ 860547 w 1483633"/>
                <a:gd name="connsiteY12" fmla="*/ 603480 h 1215002"/>
                <a:gd name="connsiteX13" fmla="*/ 756050 w 1483633"/>
                <a:gd name="connsiteY13" fmla="*/ 959583 h 1215002"/>
                <a:gd name="connsiteX14" fmla="*/ 526973 w 1483633"/>
                <a:gd name="connsiteY14" fmla="*/ 947894 h 1215002"/>
                <a:gd name="connsiteX15" fmla="*/ 411006 w 1483633"/>
                <a:gd name="connsiteY15" fmla="*/ 661252 h 1215002"/>
                <a:gd name="connsiteX16" fmla="*/ 491492 w 1483633"/>
                <a:gd name="connsiteY16" fmla="*/ 498278 h 1215002"/>
                <a:gd name="connsiteX17" fmla="*/ 597180 w 1483633"/>
                <a:gd name="connsiteY17" fmla="*/ 727583 h 1215002"/>
                <a:gd name="connsiteX18" fmla="*/ 526973 w 1483633"/>
                <a:gd name="connsiteY18" fmla="*/ 947894 h 1215002"/>
                <a:gd name="connsiteX19" fmla="*/ 960798 w 1483633"/>
                <a:gd name="connsiteY19" fmla="*/ 280463 h 1215002"/>
                <a:gd name="connsiteX20" fmla="*/ 879478 w 1483633"/>
                <a:gd name="connsiteY20" fmla="*/ 541825 h 1215002"/>
                <a:gd name="connsiteX21" fmla="*/ 785022 w 1483633"/>
                <a:gd name="connsiteY21" fmla="*/ 300038 h 1215002"/>
                <a:gd name="connsiteX22" fmla="*/ 765773 w 1483633"/>
                <a:gd name="connsiteY22" fmla="*/ 286605 h 1215002"/>
                <a:gd name="connsiteX23" fmla="*/ 765694 w 1483633"/>
                <a:gd name="connsiteY23" fmla="*/ 286605 h 1215002"/>
                <a:gd name="connsiteX24" fmla="*/ 746445 w 1483633"/>
                <a:gd name="connsiteY24" fmla="*/ 300236 h 1215002"/>
                <a:gd name="connsiteX25" fmla="*/ 616508 w 1483633"/>
                <a:gd name="connsiteY25" fmla="*/ 670722 h 1215002"/>
                <a:gd name="connsiteX26" fmla="*/ 510940 w 1483633"/>
                <a:gd name="connsiteY26" fmla="*/ 441972 h 1215002"/>
                <a:gd name="connsiteX27" fmla="*/ 492604 w 1483633"/>
                <a:gd name="connsiteY27" fmla="*/ 429966 h 1215002"/>
                <a:gd name="connsiteX28" fmla="*/ 473871 w 1483633"/>
                <a:gd name="connsiteY28" fmla="*/ 441417 h 1215002"/>
                <a:gd name="connsiteX29" fmla="*/ 390607 w 1483633"/>
                <a:gd name="connsiteY29" fmla="*/ 610018 h 1215002"/>
                <a:gd name="connsiteX30" fmla="*/ 354094 w 1483633"/>
                <a:gd name="connsiteY30" fmla="*/ 518011 h 1215002"/>
                <a:gd name="connsiteX31" fmla="*/ 336433 w 1483633"/>
                <a:gd name="connsiteY31" fmla="*/ 505093 h 1215002"/>
                <a:gd name="connsiteX32" fmla="*/ 317106 w 1483633"/>
                <a:gd name="connsiteY32" fmla="*/ 515515 h 1215002"/>
                <a:gd name="connsiteX33" fmla="*/ 2622 w 1483633"/>
                <a:gd name="connsiteY33" fmla="*/ 1075246 h 1215002"/>
                <a:gd name="connsiteX34" fmla="*/ 10519 w 1483633"/>
                <a:gd name="connsiteY34" fmla="*/ 1103142 h 1215002"/>
                <a:gd name="connsiteX35" fmla="*/ 20521 w 1483633"/>
                <a:gd name="connsiteY35" fmla="*/ 1105757 h 1215002"/>
                <a:gd name="connsiteX36" fmla="*/ 38420 w 1483633"/>
                <a:gd name="connsiteY36" fmla="*/ 1095296 h 1215002"/>
                <a:gd name="connsiteX37" fmla="*/ 331790 w 1483633"/>
                <a:gd name="connsiteY37" fmla="*/ 573128 h 1215002"/>
                <a:gd name="connsiteX38" fmla="*/ 366040 w 1483633"/>
                <a:gd name="connsiteY38" fmla="*/ 659707 h 1215002"/>
                <a:gd name="connsiteX39" fmla="*/ 106404 w 1483633"/>
                <a:gd name="connsiteY39" fmla="*/ 1185401 h 1215002"/>
                <a:gd name="connsiteX40" fmla="*/ 115771 w 1483633"/>
                <a:gd name="connsiteY40" fmla="*/ 1212822 h 1215002"/>
                <a:gd name="connsiteX41" fmla="*/ 124819 w 1483633"/>
                <a:gd name="connsiteY41" fmla="*/ 1214922 h 1215002"/>
                <a:gd name="connsiteX42" fmla="*/ 143195 w 1483633"/>
                <a:gd name="connsiteY42" fmla="*/ 1203510 h 1215002"/>
                <a:gd name="connsiteX43" fmla="*/ 386400 w 1483633"/>
                <a:gd name="connsiteY43" fmla="*/ 711060 h 1215002"/>
                <a:gd name="connsiteX44" fmla="*/ 513122 w 1483633"/>
                <a:gd name="connsiteY44" fmla="*/ 1013987 h 1215002"/>
                <a:gd name="connsiteX45" fmla="*/ 513202 w 1483633"/>
                <a:gd name="connsiteY45" fmla="*/ 1014185 h 1215002"/>
                <a:gd name="connsiteX46" fmla="*/ 513281 w 1483633"/>
                <a:gd name="connsiteY46" fmla="*/ 1014185 h 1215002"/>
                <a:gd name="connsiteX47" fmla="*/ 539157 w 1483633"/>
                <a:gd name="connsiteY47" fmla="*/ 1031422 h 1215002"/>
                <a:gd name="connsiteX48" fmla="*/ 553643 w 1483633"/>
                <a:gd name="connsiteY48" fmla="*/ 1008440 h 1215002"/>
                <a:gd name="connsiteX49" fmla="*/ 622541 w 1483633"/>
                <a:gd name="connsiteY49" fmla="*/ 781552 h 1215002"/>
                <a:gd name="connsiteX50" fmla="*/ 769345 w 1483633"/>
                <a:gd name="connsiteY50" fmla="*/ 1032175 h 1215002"/>
                <a:gd name="connsiteX51" fmla="*/ 786291 w 1483633"/>
                <a:gd name="connsiteY51" fmla="*/ 1010421 h 1215002"/>
                <a:gd name="connsiteX52" fmla="*/ 886265 w 1483633"/>
                <a:gd name="connsiteY52" fmla="*/ 660183 h 1215002"/>
                <a:gd name="connsiteX53" fmla="*/ 971910 w 1483633"/>
                <a:gd name="connsiteY53" fmla="*/ 786980 h 1215002"/>
                <a:gd name="connsiteX54" fmla="*/ 996636 w 1483633"/>
                <a:gd name="connsiteY54" fmla="*/ 776916 h 1215002"/>
                <a:gd name="connsiteX55" fmla="*/ 1047435 w 1483633"/>
                <a:gd name="connsiteY55" fmla="*/ 691842 h 1215002"/>
                <a:gd name="connsiteX56" fmla="*/ 1101252 w 1483633"/>
                <a:gd name="connsiteY56" fmla="*/ 939414 h 1215002"/>
                <a:gd name="connsiteX57" fmla="*/ 1117167 w 1483633"/>
                <a:gd name="connsiteY57" fmla="*/ 955145 h 1215002"/>
                <a:gd name="connsiteX58" fmla="*/ 1138042 w 1483633"/>
                <a:gd name="connsiteY58" fmla="*/ 946943 h 1215002"/>
                <a:gd name="connsiteX59" fmla="*/ 1401012 w 1483633"/>
                <a:gd name="connsiteY59" fmla="*/ 566907 h 1215002"/>
                <a:gd name="connsiteX60" fmla="*/ 1368032 w 1483633"/>
                <a:gd name="connsiteY60" fmla="*/ 662164 h 1215002"/>
                <a:gd name="connsiteX61" fmla="*/ 1380731 w 1483633"/>
                <a:gd name="connsiteY61" fmla="*/ 688236 h 1215002"/>
                <a:gd name="connsiteX62" fmla="*/ 1387439 w 1483633"/>
                <a:gd name="connsiteY62" fmla="*/ 689346 h 1215002"/>
                <a:gd name="connsiteX63" fmla="*/ 1406806 w 1483633"/>
                <a:gd name="connsiteY63" fmla="*/ 675557 h 1215002"/>
                <a:gd name="connsiteX64" fmla="*/ 1482530 w 1483633"/>
                <a:gd name="connsiteY64" fmla="*/ 457148 h 1215002"/>
                <a:gd name="connsiteX65" fmla="*/ 1474791 w 1483633"/>
                <a:gd name="connsiteY65" fmla="*/ 433571 h 1215002"/>
                <a:gd name="connsiteX66" fmla="*/ 1449986 w 1483633"/>
                <a:gd name="connsiteY66" fmla="*/ 434721 h 1215002"/>
                <a:gd name="connsiteX67" fmla="*/ 1298499 w 1483633"/>
                <a:gd name="connsiteY67" fmla="*/ 561003 h 1215002"/>
                <a:gd name="connsiteX68" fmla="*/ 1295919 w 1483633"/>
                <a:gd name="connsiteY68" fmla="*/ 589849 h 1215002"/>
                <a:gd name="connsiteX69" fmla="*/ 1324772 w 1483633"/>
                <a:gd name="connsiteY69" fmla="*/ 592425 h 1215002"/>
                <a:gd name="connsiteX70" fmla="*/ 1347989 w 1483633"/>
                <a:gd name="connsiteY70" fmla="*/ 573089 h 1215002"/>
                <a:gd name="connsiteX71" fmla="*/ 1131454 w 1483633"/>
                <a:gd name="connsiteY71" fmla="*/ 885327 h 1215002"/>
                <a:gd name="connsiteX72" fmla="*/ 1077757 w 1483633"/>
                <a:gd name="connsiteY72" fmla="*/ 638191 h 1215002"/>
                <a:gd name="connsiteX73" fmla="*/ 1265717 w 1483633"/>
                <a:gd name="connsiteY73" fmla="*/ 297740 h 1215002"/>
                <a:gd name="connsiteX74" fmla="*/ 1285362 w 1483633"/>
                <a:gd name="connsiteY74" fmla="*/ 313907 h 1215002"/>
                <a:gd name="connsiteX75" fmla="*/ 1456415 w 1483633"/>
                <a:gd name="connsiteY75" fmla="*/ 313907 h 1215002"/>
                <a:gd name="connsiteX76" fmla="*/ 1476934 w 1483633"/>
                <a:gd name="connsiteY76" fmla="*/ 293460 h 1215002"/>
                <a:gd name="connsiteX77" fmla="*/ 1456415 w 1483633"/>
                <a:gd name="connsiteY77" fmla="*/ 272974 h 1215002"/>
                <a:gd name="connsiteX78" fmla="*/ 1285362 w 1483633"/>
                <a:gd name="connsiteY78" fmla="*/ 272974 h 1215002"/>
                <a:gd name="connsiteX79" fmla="*/ 1278497 w 1483633"/>
                <a:gd name="connsiteY79" fmla="*/ 274361 h 1215002"/>
                <a:gd name="connsiteX80" fmla="*/ 1385454 w 1483633"/>
                <a:gd name="connsiteY80" fmla="*/ 77944 h 1215002"/>
                <a:gd name="connsiteX81" fmla="*/ 1385891 w 1483633"/>
                <a:gd name="connsiteY81" fmla="*/ 76517 h 1215002"/>
                <a:gd name="connsiteX82" fmla="*/ 1347592 w 1483633"/>
                <a:gd name="connsiteY82" fmla="*/ 219917 h 1215002"/>
                <a:gd name="connsiteX83" fmla="*/ 1362118 w 1483633"/>
                <a:gd name="connsiteY83" fmla="*/ 244960 h 1215002"/>
                <a:gd name="connsiteX84" fmla="*/ 1367436 w 1483633"/>
                <a:gd name="connsiteY84" fmla="*/ 245674 h 1215002"/>
                <a:gd name="connsiteX85" fmla="*/ 1387240 w 1483633"/>
                <a:gd name="connsiteY85" fmla="*/ 230458 h 1215002"/>
                <a:gd name="connsiteX86" fmla="*/ 1441930 w 1483633"/>
                <a:gd name="connsiteY86" fmla="*/ 25680 h 1215002"/>
                <a:gd name="connsiteX87" fmla="*/ 1434310 w 1483633"/>
                <a:gd name="connsiteY87" fmla="*/ 3965 h 1215002"/>
                <a:gd name="connsiteX88" fmla="*/ 1411331 w 1483633"/>
                <a:gd name="connsiteY88" fmla="*/ 3014 h 1215002"/>
                <a:gd name="connsiteX89" fmla="*/ 1190430 w 1483633"/>
                <a:gd name="connsiteY89" fmla="*/ 139480 h 1215002"/>
                <a:gd name="connsiteX90" fmla="*/ 1183802 w 1483633"/>
                <a:gd name="connsiteY90" fmla="*/ 167693 h 1215002"/>
                <a:gd name="connsiteX91" fmla="*/ 1211980 w 1483633"/>
                <a:gd name="connsiteY91" fmla="*/ 174350 h 1215002"/>
                <a:gd name="connsiteX92" fmla="*/ 1324018 w 1483633"/>
                <a:gd name="connsiteY92" fmla="*/ 105087 h 1215002"/>
                <a:gd name="connsiteX93" fmla="*/ 1064581 w 1483633"/>
                <a:gd name="connsiteY93" fmla="*/ 577645 h 1215002"/>
                <a:gd name="connsiteX94" fmla="*/ 1000406 w 1483633"/>
                <a:gd name="connsiteY94" fmla="*/ 282286 h 1215002"/>
                <a:gd name="connsiteX95" fmla="*/ 981237 w 1483633"/>
                <a:gd name="connsiteY95" fmla="*/ 266159 h 1215002"/>
                <a:gd name="connsiteX96" fmla="*/ 960798 w 1483633"/>
                <a:gd name="connsiteY96" fmla="*/ 280463 h 12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483633" h="1215002">
                  <a:moveTo>
                    <a:pt x="1034379" y="631692"/>
                  </a:moveTo>
                  <a:cubicBezTo>
                    <a:pt x="1007232" y="679955"/>
                    <a:pt x="985404" y="718113"/>
                    <a:pt x="973220" y="738004"/>
                  </a:cubicBezTo>
                  <a:cubicBezTo>
                    <a:pt x="957861" y="716647"/>
                    <a:pt x="933096" y="666126"/>
                    <a:pt x="904481" y="600469"/>
                  </a:cubicBezTo>
                  <a:cubicBezTo>
                    <a:pt x="928651" y="521260"/>
                    <a:pt x="953813" y="440189"/>
                    <a:pt x="976712" y="366686"/>
                  </a:cubicBezTo>
                  <a:lnTo>
                    <a:pt x="1034379" y="631692"/>
                  </a:lnTo>
                  <a:close/>
                  <a:moveTo>
                    <a:pt x="1388987" y="64987"/>
                  </a:moveTo>
                  <a:lnTo>
                    <a:pt x="1387756" y="69464"/>
                  </a:lnTo>
                  <a:cubicBezTo>
                    <a:pt x="1387835" y="68276"/>
                    <a:pt x="1387558" y="67087"/>
                    <a:pt x="1387439" y="65898"/>
                  </a:cubicBezTo>
                  <a:lnTo>
                    <a:pt x="1388987" y="64987"/>
                  </a:lnTo>
                  <a:close/>
                  <a:moveTo>
                    <a:pt x="756050" y="959583"/>
                  </a:moveTo>
                  <a:cubicBezTo>
                    <a:pt x="730531" y="911043"/>
                    <a:pt x="687708" y="822166"/>
                    <a:pt x="641750" y="724572"/>
                  </a:cubicBezTo>
                  <a:cubicBezTo>
                    <a:pt x="680881" y="609265"/>
                    <a:pt x="726840" y="477752"/>
                    <a:pt x="766130" y="367121"/>
                  </a:cubicBezTo>
                  <a:cubicBezTo>
                    <a:pt x="801651" y="462022"/>
                    <a:pt x="833083" y="540596"/>
                    <a:pt x="860547" y="603480"/>
                  </a:cubicBezTo>
                  <a:cubicBezTo>
                    <a:pt x="818478" y="741016"/>
                    <a:pt x="775576" y="884495"/>
                    <a:pt x="756050" y="959583"/>
                  </a:cubicBezTo>
                  <a:close/>
                  <a:moveTo>
                    <a:pt x="526973" y="947894"/>
                  </a:moveTo>
                  <a:cubicBezTo>
                    <a:pt x="500184" y="883782"/>
                    <a:pt x="454782" y="770972"/>
                    <a:pt x="411006" y="661252"/>
                  </a:cubicBezTo>
                  <a:lnTo>
                    <a:pt x="491492" y="498278"/>
                  </a:lnTo>
                  <a:cubicBezTo>
                    <a:pt x="533085" y="589334"/>
                    <a:pt x="567812" y="664700"/>
                    <a:pt x="597180" y="727583"/>
                  </a:cubicBezTo>
                  <a:cubicBezTo>
                    <a:pt x="567415" y="816025"/>
                    <a:pt x="541856" y="894996"/>
                    <a:pt x="526973" y="947894"/>
                  </a:cubicBezTo>
                  <a:close/>
                  <a:moveTo>
                    <a:pt x="960798" y="280463"/>
                  </a:moveTo>
                  <a:cubicBezTo>
                    <a:pt x="947621" y="322346"/>
                    <a:pt x="915237" y="425686"/>
                    <a:pt x="879478" y="541825"/>
                  </a:cubicBezTo>
                  <a:cubicBezTo>
                    <a:pt x="848641" y="467886"/>
                    <a:pt x="815343" y="382496"/>
                    <a:pt x="785022" y="300038"/>
                  </a:cubicBezTo>
                  <a:cubicBezTo>
                    <a:pt x="782085" y="291994"/>
                    <a:pt x="774385" y="286605"/>
                    <a:pt x="765773" y="286605"/>
                  </a:cubicBezTo>
                  <a:lnTo>
                    <a:pt x="765694" y="286605"/>
                  </a:lnTo>
                  <a:cubicBezTo>
                    <a:pt x="757042" y="286684"/>
                    <a:pt x="749342" y="292113"/>
                    <a:pt x="746445" y="300236"/>
                  </a:cubicBezTo>
                  <a:cubicBezTo>
                    <a:pt x="708385" y="406666"/>
                    <a:pt x="659609" y="544440"/>
                    <a:pt x="616508" y="670722"/>
                  </a:cubicBezTo>
                  <a:cubicBezTo>
                    <a:pt x="579202" y="590999"/>
                    <a:pt x="541618" y="509373"/>
                    <a:pt x="510940" y="441972"/>
                  </a:cubicBezTo>
                  <a:cubicBezTo>
                    <a:pt x="507645" y="434760"/>
                    <a:pt x="500502" y="430084"/>
                    <a:pt x="492604" y="429966"/>
                  </a:cubicBezTo>
                  <a:cubicBezTo>
                    <a:pt x="483277" y="429054"/>
                    <a:pt x="477404" y="434285"/>
                    <a:pt x="473871" y="441417"/>
                  </a:cubicBezTo>
                  <a:lnTo>
                    <a:pt x="390607" y="610018"/>
                  </a:lnTo>
                  <a:cubicBezTo>
                    <a:pt x="377827" y="577883"/>
                    <a:pt x="365485" y="546738"/>
                    <a:pt x="354094" y="518011"/>
                  </a:cubicBezTo>
                  <a:cubicBezTo>
                    <a:pt x="351237" y="510641"/>
                    <a:pt x="344331" y="505608"/>
                    <a:pt x="336433" y="505093"/>
                  </a:cubicBezTo>
                  <a:cubicBezTo>
                    <a:pt x="328020" y="504776"/>
                    <a:pt x="320995" y="508659"/>
                    <a:pt x="317106" y="515515"/>
                  </a:cubicBezTo>
                  <a:lnTo>
                    <a:pt x="2622" y="1075246"/>
                  </a:lnTo>
                  <a:cubicBezTo>
                    <a:pt x="-2895" y="1085113"/>
                    <a:pt x="597" y="1097595"/>
                    <a:pt x="10519" y="1103142"/>
                  </a:cubicBezTo>
                  <a:cubicBezTo>
                    <a:pt x="13655" y="1104925"/>
                    <a:pt x="17108" y="1105757"/>
                    <a:pt x="20521" y="1105757"/>
                  </a:cubicBezTo>
                  <a:cubicBezTo>
                    <a:pt x="27704" y="1105757"/>
                    <a:pt x="34649" y="1101993"/>
                    <a:pt x="38420" y="1095296"/>
                  </a:cubicBezTo>
                  <a:lnTo>
                    <a:pt x="331790" y="573128"/>
                  </a:lnTo>
                  <a:cubicBezTo>
                    <a:pt x="344093" y="604154"/>
                    <a:pt x="355364" y="632683"/>
                    <a:pt x="366040" y="659707"/>
                  </a:cubicBezTo>
                  <a:lnTo>
                    <a:pt x="106404" y="1185401"/>
                  </a:lnTo>
                  <a:cubicBezTo>
                    <a:pt x="101404" y="1195546"/>
                    <a:pt x="105571" y="1207829"/>
                    <a:pt x="115771" y="1212822"/>
                  </a:cubicBezTo>
                  <a:cubicBezTo>
                    <a:pt x="118628" y="1214288"/>
                    <a:pt x="121764" y="1214922"/>
                    <a:pt x="124819" y="1214922"/>
                  </a:cubicBezTo>
                  <a:cubicBezTo>
                    <a:pt x="132360" y="1214922"/>
                    <a:pt x="139623" y="1210761"/>
                    <a:pt x="143195" y="1203510"/>
                  </a:cubicBezTo>
                  <a:lnTo>
                    <a:pt x="386400" y="711060"/>
                  </a:lnTo>
                  <a:cubicBezTo>
                    <a:pt x="462957" y="903991"/>
                    <a:pt x="495342" y="983081"/>
                    <a:pt x="513122" y="1013987"/>
                  </a:cubicBezTo>
                  <a:cubicBezTo>
                    <a:pt x="513122" y="1014067"/>
                    <a:pt x="513202" y="1014146"/>
                    <a:pt x="513202" y="1014185"/>
                  </a:cubicBezTo>
                  <a:lnTo>
                    <a:pt x="513281" y="1014185"/>
                  </a:lnTo>
                  <a:cubicBezTo>
                    <a:pt x="525505" y="1035463"/>
                    <a:pt x="530942" y="1033879"/>
                    <a:pt x="539157" y="1031422"/>
                  </a:cubicBezTo>
                  <a:cubicBezTo>
                    <a:pt x="549317" y="1028411"/>
                    <a:pt x="555747" y="1018782"/>
                    <a:pt x="553643" y="1008440"/>
                  </a:cubicBezTo>
                  <a:cubicBezTo>
                    <a:pt x="554040" y="991758"/>
                    <a:pt x="582933" y="899909"/>
                    <a:pt x="622541" y="781552"/>
                  </a:cubicBezTo>
                  <a:cubicBezTo>
                    <a:pt x="743508" y="1037564"/>
                    <a:pt x="753906" y="1035741"/>
                    <a:pt x="769345" y="1032175"/>
                  </a:cubicBezTo>
                  <a:cubicBezTo>
                    <a:pt x="778394" y="1030233"/>
                    <a:pt x="785736" y="1019653"/>
                    <a:pt x="786291" y="1010421"/>
                  </a:cubicBezTo>
                  <a:cubicBezTo>
                    <a:pt x="787363" y="990728"/>
                    <a:pt x="832607" y="836550"/>
                    <a:pt x="886265" y="660183"/>
                  </a:cubicBezTo>
                  <a:cubicBezTo>
                    <a:pt x="924761" y="741452"/>
                    <a:pt x="953456" y="784167"/>
                    <a:pt x="971910" y="786980"/>
                  </a:cubicBezTo>
                  <a:cubicBezTo>
                    <a:pt x="981594" y="788644"/>
                    <a:pt x="990683" y="784721"/>
                    <a:pt x="996636" y="776916"/>
                  </a:cubicBezTo>
                  <a:cubicBezTo>
                    <a:pt x="1003065" y="768515"/>
                    <a:pt x="1021718" y="736975"/>
                    <a:pt x="1047435" y="691842"/>
                  </a:cubicBezTo>
                  <a:lnTo>
                    <a:pt x="1101252" y="939414"/>
                  </a:lnTo>
                  <a:cubicBezTo>
                    <a:pt x="1102998" y="947379"/>
                    <a:pt x="1109229" y="953521"/>
                    <a:pt x="1117167" y="955145"/>
                  </a:cubicBezTo>
                  <a:cubicBezTo>
                    <a:pt x="1125303" y="956730"/>
                    <a:pt x="1133319" y="953560"/>
                    <a:pt x="1138042" y="946943"/>
                  </a:cubicBezTo>
                  <a:cubicBezTo>
                    <a:pt x="1285918" y="738837"/>
                    <a:pt x="1361919" y="627493"/>
                    <a:pt x="1401012" y="566907"/>
                  </a:cubicBezTo>
                  <a:lnTo>
                    <a:pt x="1368032" y="662164"/>
                  </a:lnTo>
                  <a:cubicBezTo>
                    <a:pt x="1364340" y="672862"/>
                    <a:pt x="1369976" y="684512"/>
                    <a:pt x="1380731" y="688236"/>
                  </a:cubicBezTo>
                  <a:cubicBezTo>
                    <a:pt x="1382914" y="688989"/>
                    <a:pt x="1385176" y="689346"/>
                    <a:pt x="1387439" y="689346"/>
                  </a:cubicBezTo>
                  <a:cubicBezTo>
                    <a:pt x="1395892" y="689346"/>
                    <a:pt x="1403869" y="684036"/>
                    <a:pt x="1406806" y="675557"/>
                  </a:cubicBezTo>
                  <a:lnTo>
                    <a:pt x="1482530" y="457148"/>
                  </a:lnTo>
                  <a:cubicBezTo>
                    <a:pt x="1485506" y="448430"/>
                    <a:pt x="1482371" y="438842"/>
                    <a:pt x="1474791" y="433571"/>
                  </a:cubicBezTo>
                  <a:cubicBezTo>
                    <a:pt x="1467171" y="428341"/>
                    <a:pt x="1457011" y="428896"/>
                    <a:pt x="1449986" y="434721"/>
                  </a:cubicBezTo>
                  <a:lnTo>
                    <a:pt x="1298499" y="561003"/>
                  </a:lnTo>
                  <a:cubicBezTo>
                    <a:pt x="1289847" y="568254"/>
                    <a:pt x="1288656" y="581132"/>
                    <a:pt x="1295919" y="589849"/>
                  </a:cubicBezTo>
                  <a:cubicBezTo>
                    <a:pt x="1303182" y="598527"/>
                    <a:pt x="1316120" y="599676"/>
                    <a:pt x="1324772" y="592425"/>
                  </a:cubicBezTo>
                  <a:lnTo>
                    <a:pt x="1347989" y="573089"/>
                  </a:lnTo>
                  <a:cubicBezTo>
                    <a:pt x="1291792" y="656933"/>
                    <a:pt x="1202812" y="784444"/>
                    <a:pt x="1131454" y="885327"/>
                  </a:cubicBezTo>
                  <a:lnTo>
                    <a:pt x="1077757" y="638191"/>
                  </a:lnTo>
                  <a:cubicBezTo>
                    <a:pt x="1132367" y="540913"/>
                    <a:pt x="1204598" y="409520"/>
                    <a:pt x="1265717" y="297740"/>
                  </a:cubicBezTo>
                  <a:cubicBezTo>
                    <a:pt x="1267741" y="306893"/>
                    <a:pt x="1275560" y="313907"/>
                    <a:pt x="1285362" y="313907"/>
                  </a:cubicBezTo>
                  <a:lnTo>
                    <a:pt x="1456415" y="313907"/>
                  </a:lnTo>
                  <a:cubicBezTo>
                    <a:pt x="1467766" y="313907"/>
                    <a:pt x="1476934" y="304753"/>
                    <a:pt x="1476934" y="293460"/>
                  </a:cubicBezTo>
                  <a:cubicBezTo>
                    <a:pt x="1476934" y="282128"/>
                    <a:pt x="1467766" y="272974"/>
                    <a:pt x="1456415" y="272974"/>
                  </a:cubicBezTo>
                  <a:lnTo>
                    <a:pt x="1285362" y="272974"/>
                  </a:lnTo>
                  <a:cubicBezTo>
                    <a:pt x="1282942" y="272974"/>
                    <a:pt x="1280679" y="273569"/>
                    <a:pt x="1278497" y="274361"/>
                  </a:cubicBezTo>
                  <a:cubicBezTo>
                    <a:pt x="1331162" y="177995"/>
                    <a:pt x="1373508" y="99896"/>
                    <a:pt x="1385454" y="77944"/>
                  </a:cubicBezTo>
                  <a:cubicBezTo>
                    <a:pt x="1385692" y="77468"/>
                    <a:pt x="1385692" y="76953"/>
                    <a:pt x="1385891" y="76517"/>
                  </a:cubicBezTo>
                  <a:lnTo>
                    <a:pt x="1347592" y="219917"/>
                  </a:lnTo>
                  <a:cubicBezTo>
                    <a:pt x="1344655" y="230854"/>
                    <a:pt x="1351204" y="242068"/>
                    <a:pt x="1362118" y="244960"/>
                  </a:cubicBezTo>
                  <a:cubicBezTo>
                    <a:pt x="1363904" y="245435"/>
                    <a:pt x="1365690" y="245674"/>
                    <a:pt x="1367436" y="245674"/>
                  </a:cubicBezTo>
                  <a:cubicBezTo>
                    <a:pt x="1376525" y="245674"/>
                    <a:pt x="1384820" y="239611"/>
                    <a:pt x="1387240" y="230458"/>
                  </a:cubicBezTo>
                  <a:lnTo>
                    <a:pt x="1441930" y="25680"/>
                  </a:lnTo>
                  <a:cubicBezTo>
                    <a:pt x="1444112" y="17557"/>
                    <a:pt x="1441096" y="8958"/>
                    <a:pt x="1434310" y="3965"/>
                  </a:cubicBezTo>
                  <a:cubicBezTo>
                    <a:pt x="1427642" y="-1027"/>
                    <a:pt x="1418395" y="-1463"/>
                    <a:pt x="1411331" y="3014"/>
                  </a:cubicBezTo>
                  <a:lnTo>
                    <a:pt x="1190430" y="139480"/>
                  </a:lnTo>
                  <a:cubicBezTo>
                    <a:pt x="1180786" y="145464"/>
                    <a:pt x="1177809" y="158064"/>
                    <a:pt x="1183802" y="167693"/>
                  </a:cubicBezTo>
                  <a:cubicBezTo>
                    <a:pt x="1189755" y="177322"/>
                    <a:pt x="1202455" y="180293"/>
                    <a:pt x="1211980" y="174350"/>
                  </a:cubicBezTo>
                  <a:lnTo>
                    <a:pt x="1324018" y="105087"/>
                  </a:lnTo>
                  <a:cubicBezTo>
                    <a:pt x="1255755" y="230695"/>
                    <a:pt x="1145583" y="432303"/>
                    <a:pt x="1064581" y="577645"/>
                  </a:cubicBezTo>
                  <a:lnTo>
                    <a:pt x="1000406" y="282286"/>
                  </a:lnTo>
                  <a:cubicBezTo>
                    <a:pt x="998421" y="273212"/>
                    <a:pt x="990563" y="266595"/>
                    <a:pt x="981237" y="266159"/>
                  </a:cubicBezTo>
                  <a:cubicBezTo>
                    <a:pt x="971831" y="265327"/>
                    <a:pt x="963536" y="271627"/>
                    <a:pt x="960798" y="280463"/>
                  </a:cubicBezTo>
                  <a:close/>
                </a:path>
              </a:pathLst>
            </a:custGeom>
            <a:grpFill/>
            <a:ln w="39688" cap="flat">
              <a:noFill/>
              <a:prstDash val="solid"/>
              <a:round/>
            </a:ln>
          </p:spPr>
          <p:txBody>
            <a:bodyPr rtlCol="0" anchor="ctr"/>
            <a:lstStyle/>
            <a:p>
              <a:endParaRPr lang="en-LT"/>
            </a:p>
          </p:txBody>
        </p:sp>
        <p:sp>
          <p:nvSpPr>
            <p:cNvPr id="127" name="Freeform 126">
              <a:extLst>
                <a:ext uri="{FF2B5EF4-FFF2-40B4-BE49-F238E27FC236}">
                  <a16:creationId xmlns:a16="http://schemas.microsoft.com/office/drawing/2014/main" id="{2A98FACB-F8D4-0A40-96A8-B95702F5A9CB}"/>
                </a:ext>
              </a:extLst>
            </p:cNvPr>
            <p:cNvSpPr/>
            <p:nvPr/>
          </p:nvSpPr>
          <p:spPr>
            <a:xfrm>
              <a:off x="5314661" y="2323207"/>
              <a:ext cx="178118" cy="45966"/>
            </a:xfrm>
            <a:custGeom>
              <a:avLst/>
              <a:gdLst>
                <a:gd name="connsiteX0" fmla="*/ 20416 w 178118"/>
                <a:gd name="connsiteY0" fmla="*/ 45866 h 45966"/>
                <a:gd name="connsiteX1" fmla="*/ 22837 w 178118"/>
                <a:gd name="connsiteY1" fmla="*/ 45746 h 45966"/>
                <a:gd name="connsiteX2" fmla="*/ 156068 w 178118"/>
                <a:gd name="connsiteY2" fmla="*/ 42656 h 45966"/>
                <a:gd name="connsiteX3" fmla="*/ 178015 w 178118"/>
                <a:gd name="connsiteY3" fmla="*/ 23675 h 45966"/>
                <a:gd name="connsiteX4" fmla="*/ 159045 w 178118"/>
                <a:gd name="connsiteY4" fmla="*/ 1803 h 45966"/>
                <a:gd name="connsiteX5" fmla="*/ 18035 w 178118"/>
                <a:gd name="connsiteY5" fmla="*/ 5052 h 45966"/>
                <a:gd name="connsiteX6" fmla="*/ 96 w 178118"/>
                <a:gd name="connsiteY6" fmla="*/ 27836 h 45966"/>
                <a:gd name="connsiteX7" fmla="*/ 20416 w 178118"/>
                <a:gd name="connsiteY7" fmla="*/ 45866 h 4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118" h="45966">
                  <a:moveTo>
                    <a:pt x="20416" y="45866"/>
                  </a:moveTo>
                  <a:cubicBezTo>
                    <a:pt x="21250" y="45866"/>
                    <a:pt x="22043" y="45866"/>
                    <a:pt x="22837" y="45746"/>
                  </a:cubicBezTo>
                  <a:cubicBezTo>
                    <a:pt x="66930" y="40516"/>
                    <a:pt x="111777" y="39446"/>
                    <a:pt x="156068" y="42656"/>
                  </a:cubicBezTo>
                  <a:cubicBezTo>
                    <a:pt x="167379" y="43646"/>
                    <a:pt x="177182" y="35048"/>
                    <a:pt x="178015" y="23675"/>
                  </a:cubicBezTo>
                  <a:cubicBezTo>
                    <a:pt x="178809" y="12422"/>
                    <a:pt x="170316" y="2595"/>
                    <a:pt x="159045" y="1803"/>
                  </a:cubicBezTo>
                  <a:cubicBezTo>
                    <a:pt x="112134" y="-1565"/>
                    <a:pt x="64628" y="-455"/>
                    <a:pt x="18035" y="5052"/>
                  </a:cubicBezTo>
                  <a:cubicBezTo>
                    <a:pt x="6803" y="6400"/>
                    <a:pt x="-1253" y="16583"/>
                    <a:pt x="96" y="27836"/>
                  </a:cubicBezTo>
                  <a:cubicBezTo>
                    <a:pt x="1327" y="38218"/>
                    <a:pt x="10217" y="45866"/>
                    <a:pt x="20416" y="45866"/>
                  </a:cubicBezTo>
                  <a:close/>
                </a:path>
              </a:pathLst>
            </a:custGeom>
            <a:grpFill/>
            <a:ln w="39688" cap="flat">
              <a:noFill/>
              <a:prstDash val="solid"/>
              <a:round/>
            </a:ln>
          </p:spPr>
          <p:txBody>
            <a:bodyPr rtlCol="0" anchor="ctr"/>
            <a:lstStyle/>
            <a:p>
              <a:endParaRPr lang="en-LT"/>
            </a:p>
          </p:txBody>
        </p:sp>
        <p:sp>
          <p:nvSpPr>
            <p:cNvPr id="128" name="Freeform 127">
              <a:extLst>
                <a:ext uri="{FF2B5EF4-FFF2-40B4-BE49-F238E27FC236}">
                  <a16:creationId xmlns:a16="http://schemas.microsoft.com/office/drawing/2014/main" id="{81FA864A-F86B-B344-B987-F4FD5D00BC8D}"/>
                </a:ext>
              </a:extLst>
            </p:cNvPr>
            <p:cNvSpPr/>
            <p:nvPr/>
          </p:nvSpPr>
          <p:spPr>
            <a:xfrm>
              <a:off x="5581667" y="2324438"/>
              <a:ext cx="123031" cy="40932"/>
            </a:xfrm>
            <a:custGeom>
              <a:avLst/>
              <a:gdLst>
                <a:gd name="connsiteX0" fmla="*/ 102520 w 123031"/>
                <a:gd name="connsiteY0" fmla="*/ 40831 h 40932"/>
                <a:gd name="connsiteX1" fmla="*/ 122999 w 123031"/>
                <a:gd name="connsiteY1" fmla="*/ 20345 h 40932"/>
                <a:gd name="connsiteX2" fmla="*/ 102520 w 123031"/>
                <a:gd name="connsiteY2" fmla="*/ -101 h 40932"/>
                <a:gd name="connsiteX3" fmla="*/ 20447 w 123031"/>
                <a:gd name="connsiteY3" fmla="*/ -101 h 40932"/>
                <a:gd name="connsiteX4" fmla="*/ -32 w 123031"/>
                <a:gd name="connsiteY4" fmla="*/ 20345 h 40932"/>
                <a:gd name="connsiteX5" fmla="*/ 20447 w 123031"/>
                <a:gd name="connsiteY5" fmla="*/ 40831 h 40932"/>
                <a:gd name="connsiteX6" fmla="*/ 102520 w 123031"/>
                <a:gd name="connsiteY6" fmla="*/ 40831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031" h="40932">
                  <a:moveTo>
                    <a:pt x="102520" y="40831"/>
                  </a:moveTo>
                  <a:cubicBezTo>
                    <a:pt x="113831" y="40831"/>
                    <a:pt x="122999" y="31677"/>
                    <a:pt x="122999" y="20345"/>
                  </a:cubicBezTo>
                  <a:cubicBezTo>
                    <a:pt x="122999" y="9052"/>
                    <a:pt x="113831" y="-101"/>
                    <a:pt x="102520" y="-101"/>
                  </a:cubicBezTo>
                  <a:lnTo>
                    <a:pt x="20447" y="-101"/>
                  </a:lnTo>
                  <a:cubicBezTo>
                    <a:pt x="9136" y="-101"/>
                    <a:pt x="-32" y="9052"/>
                    <a:pt x="-32" y="20345"/>
                  </a:cubicBezTo>
                  <a:cubicBezTo>
                    <a:pt x="-32" y="31677"/>
                    <a:pt x="9136" y="40831"/>
                    <a:pt x="20447" y="40831"/>
                  </a:cubicBezTo>
                  <a:lnTo>
                    <a:pt x="102520" y="40831"/>
                  </a:lnTo>
                  <a:close/>
                </a:path>
              </a:pathLst>
            </a:custGeom>
            <a:grpFill/>
            <a:ln w="39688" cap="flat">
              <a:noFill/>
              <a:prstDash val="solid"/>
              <a:round/>
            </a:ln>
          </p:spPr>
          <p:txBody>
            <a:bodyPr rtlCol="0" anchor="ctr"/>
            <a:lstStyle/>
            <a:p>
              <a:endParaRPr lang="en-LT"/>
            </a:p>
          </p:txBody>
        </p:sp>
        <p:sp>
          <p:nvSpPr>
            <p:cNvPr id="129" name="Freeform 128">
              <a:extLst>
                <a:ext uri="{FF2B5EF4-FFF2-40B4-BE49-F238E27FC236}">
                  <a16:creationId xmlns:a16="http://schemas.microsoft.com/office/drawing/2014/main" id="{EC44E99A-128C-2D4E-A916-7BE805B58C85}"/>
                </a:ext>
              </a:extLst>
            </p:cNvPr>
            <p:cNvSpPr/>
            <p:nvPr/>
          </p:nvSpPr>
          <p:spPr>
            <a:xfrm>
              <a:off x="5807251" y="2310767"/>
              <a:ext cx="158115" cy="40971"/>
            </a:xfrm>
            <a:custGeom>
              <a:avLst/>
              <a:gdLst>
                <a:gd name="connsiteX0" fmla="*/ 20545 w 158115"/>
                <a:gd name="connsiteY0" fmla="*/ 40869 h 40971"/>
                <a:gd name="connsiteX1" fmla="*/ 137583 w 158115"/>
                <a:gd name="connsiteY1" fmla="*/ 40869 h 40971"/>
                <a:gd name="connsiteX2" fmla="*/ 158102 w 158115"/>
                <a:gd name="connsiteY2" fmla="*/ 20384 h 40971"/>
                <a:gd name="connsiteX3" fmla="*/ 137583 w 158115"/>
                <a:gd name="connsiteY3" fmla="*/ -103 h 40971"/>
                <a:gd name="connsiteX4" fmla="*/ 20545 w 158115"/>
                <a:gd name="connsiteY4" fmla="*/ -103 h 40971"/>
                <a:gd name="connsiteX5" fmla="*/ -13 w 158115"/>
                <a:gd name="connsiteY5" fmla="*/ 20384 h 40971"/>
                <a:gd name="connsiteX6" fmla="*/ 20545 w 158115"/>
                <a:gd name="connsiteY6" fmla="*/ 40869 h 40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115" h="40971">
                  <a:moveTo>
                    <a:pt x="20545" y="40869"/>
                  </a:moveTo>
                  <a:lnTo>
                    <a:pt x="137583" y="40869"/>
                  </a:lnTo>
                  <a:cubicBezTo>
                    <a:pt x="148895" y="40869"/>
                    <a:pt x="158102" y="31716"/>
                    <a:pt x="158102" y="20384"/>
                  </a:cubicBezTo>
                  <a:cubicBezTo>
                    <a:pt x="158102" y="9051"/>
                    <a:pt x="148895" y="-103"/>
                    <a:pt x="137583" y="-103"/>
                  </a:cubicBezTo>
                  <a:lnTo>
                    <a:pt x="20545" y="-103"/>
                  </a:lnTo>
                  <a:cubicBezTo>
                    <a:pt x="9194" y="-103"/>
                    <a:pt x="-13" y="9051"/>
                    <a:pt x="-13" y="20384"/>
                  </a:cubicBezTo>
                  <a:cubicBezTo>
                    <a:pt x="-13" y="31716"/>
                    <a:pt x="9194" y="40869"/>
                    <a:pt x="20545" y="40869"/>
                  </a:cubicBezTo>
                  <a:close/>
                </a:path>
              </a:pathLst>
            </a:custGeom>
            <a:grpFill/>
            <a:ln w="39688" cap="flat">
              <a:noFill/>
              <a:prstDash val="solid"/>
              <a:round/>
            </a:ln>
          </p:spPr>
          <p:txBody>
            <a:bodyPr rtlCol="0" anchor="ctr"/>
            <a:lstStyle/>
            <a:p>
              <a:endParaRPr lang="en-LT"/>
            </a:p>
          </p:txBody>
        </p:sp>
        <p:sp>
          <p:nvSpPr>
            <p:cNvPr id="130" name="Freeform 129">
              <a:extLst>
                <a:ext uri="{FF2B5EF4-FFF2-40B4-BE49-F238E27FC236}">
                  <a16:creationId xmlns:a16="http://schemas.microsoft.com/office/drawing/2014/main" id="{DE7D7605-6FF0-FE40-AA48-1FFD58A9B4F7}"/>
                </a:ext>
              </a:extLst>
            </p:cNvPr>
            <p:cNvSpPr/>
            <p:nvPr/>
          </p:nvSpPr>
          <p:spPr>
            <a:xfrm>
              <a:off x="6470470" y="2269836"/>
              <a:ext cx="116522" cy="40931"/>
            </a:xfrm>
            <a:custGeom>
              <a:avLst/>
              <a:gdLst>
                <a:gd name="connsiteX0" fmla="*/ 20557 w 116522"/>
                <a:gd name="connsiteY0" fmla="*/ -106 h 40931"/>
                <a:gd name="connsiteX1" fmla="*/ 38 w 116522"/>
                <a:gd name="connsiteY1" fmla="*/ 20340 h 40931"/>
                <a:gd name="connsiteX2" fmla="*/ 20557 w 116522"/>
                <a:gd name="connsiteY2" fmla="*/ 40826 h 40931"/>
                <a:gd name="connsiteX3" fmla="*/ 96043 w 116522"/>
                <a:gd name="connsiteY3" fmla="*/ 40826 h 40931"/>
                <a:gd name="connsiteX4" fmla="*/ 116561 w 116522"/>
                <a:gd name="connsiteY4" fmla="*/ 20340 h 40931"/>
                <a:gd name="connsiteX5" fmla="*/ 96043 w 116522"/>
                <a:gd name="connsiteY5" fmla="*/ -106 h 40931"/>
                <a:gd name="connsiteX6" fmla="*/ 20557 w 116522"/>
                <a:gd name="connsiteY6" fmla="*/ -106 h 40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522" h="40931">
                  <a:moveTo>
                    <a:pt x="20557" y="-106"/>
                  </a:moveTo>
                  <a:cubicBezTo>
                    <a:pt x="9206" y="-106"/>
                    <a:pt x="38" y="9048"/>
                    <a:pt x="38" y="20340"/>
                  </a:cubicBezTo>
                  <a:cubicBezTo>
                    <a:pt x="38" y="31673"/>
                    <a:pt x="9206" y="40826"/>
                    <a:pt x="20557" y="40826"/>
                  </a:cubicBezTo>
                  <a:lnTo>
                    <a:pt x="96043" y="40826"/>
                  </a:lnTo>
                  <a:cubicBezTo>
                    <a:pt x="107393" y="40826"/>
                    <a:pt x="116561" y="31673"/>
                    <a:pt x="116561" y="20340"/>
                  </a:cubicBezTo>
                  <a:cubicBezTo>
                    <a:pt x="116561" y="9048"/>
                    <a:pt x="107393" y="-106"/>
                    <a:pt x="96043" y="-106"/>
                  </a:cubicBezTo>
                  <a:lnTo>
                    <a:pt x="20557" y="-106"/>
                  </a:lnTo>
                  <a:close/>
                </a:path>
              </a:pathLst>
            </a:custGeom>
            <a:grpFill/>
            <a:ln w="39688" cap="flat">
              <a:noFill/>
              <a:prstDash val="solid"/>
              <a:round/>
            </a:ln>
          </p:spPr>
          <p:txBody>
            <a:bodyPr rtlCol="0" anchor="ctr"/>
            <a:lstStyle/>
            <a:p>
              <a:endParaRPr lang="en-LT"/>
            </a:p>
          </p:txBody>
        </p:sp>
        <p:sp>
          <p:nvSpPr>
            <p:cNvPr id="131" name="Freeform 130">
              <a:extLst>
                <a:ext uri="{FF2B5EF4-FFF2-40B4-BE49-F238E27FC236}">
                  <a16:creationId xmlns:a16="http://schemas.microsoft.com/office/drawing/2014/main" id="{94AF7AD9-DE86-E044-9CAF-FC510C81DFF8}"/>
                </a:ext>
              </a:extLst>
            </p:cNvPr>
            <p:cNvSpPr/>
            <p:nvPr/>
          </p:nvSpPr>
          <p:spPr>
            <a:xfrm>
              <a:off x="5697912" y="3013860"/>
              <a:ext cx="213161" cy="40932"/>
            </a:xfrm>
            <a:custGeom>
              <a:avLst/>
              <a:gdLst>
                <a:gd name="connsiteX0" fmla="*/ 192624 w 213161"/>
                <a:gd name="connsiteY0" fmla="*/ 40886 h 40932"/>
                <a:gd name="connsiteX1" fmla="*/ 213142 w 213161"/>
                <a:gd name="connsiteY1" fmla="*/ 20439 h 40932"/>
                <a:gd name="connsiteX2" fmla="*/ 192624 w 213161"/>
                <a:gd name="connsiteY2" fmla="*/ -46 h 40932"/>
                <a:gd name="connsiteX3" fmla="*/ 20499 w 213161"/>
                <a:gd name="connsiteY3" fmla="*/ -46 h 40932"/>
                <a:gd name="connsiteX4" fmla="*/ -20 w 213161"/>
                <a:gd name="connsiteY4" fmla="*/ 20439 h 40932"/>
                <a:gd name="connsiteX5" fmla="*/ 20499 w 213161"/>
                <a:gd name="connsiteY5" fmla="*/ 40886 h 40932"/>
                <a:gd name="connsiteX6" fmla="*/ 192624 w 213161"/>
                <a:gd name="connsiteY6" fmla="*/ 4088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161" h="40932">
                  <a:moveTo>
                    <a:pt x="192624" y="40886"/>
                  </a:moveTo>
                  <a:cubicBezTo>
                    <a:pt x="203974" y="40886"/>
                    <a:pt x="213142" y="31732"/>
                    <a:pt x="213142" y="20439"/>
                  </a:cubicBezTo>
                  <a:cubicBezTo>
                    <a:pt x="213142" y="9107"/>
                    <a:pt x="203974" y="-46"/>
                    <a:pt x="192624" y="-46"/>
                  </a:cubicBezTo>
                  <a:lnTo>
                    <a:pt x="20499" y="-46"/>
                  </a:lnTo>
                  <a:cubicBezTo>
                    <a:pt x="9148" y="-46"/>
                    <a:pt x="-20" y="9107"/>
                    <a:pt x="-20" y="20439"/>
                  </a:cubicBezTo>
                  <a:cubicBezTo>
                    <a:pt x="-20" y="31732"/>
                    <a:pt x="9148" y="40886"/>
                    <a:pt x="20499" y="40886"/>
                  </a:cubicBezTo>
                  <a:lnTo>
                    <a:pt x="192624" y="40886"/>
                  </a:lnTo>
                  <a:close/>
                </a:path>
              </a:pathLst>
            </a:custGeom>
            <a:grpFill/>
            <a:ln w="39688" cap="flat">
              <a:noFill/>
              <a:prstDash val="solid"/>
              <a:round/>
            </a:ln>
          </p:spPr>
          <p:txBody>
            <a:bodyPr rtlCol="0" anchor="ctr"/>
            <a:lstStyle/>
            <a:p>
              <a:endParaRPr lang="en-LT"/>
            </a:p>
          </p:txBody>
        </p:sp>
        <p:sp>
          <p:nvSpPr>
            <p:cNvPr id="132" name="Freeform 131">
              <a:extLst>
                <a:ext uri="{FF2B5EF4-FFF2-40B4-BE49-F238E27FC236}">
                  <a16:creationId xmlns:a16="http://schemas.microsoft.com/office/drawing/2014/main" id="{6E8051A2-81A5-D446-B43D-3EBA19F63191}"/>
                </a:ext>
              </a:extLst>
            </p:cNvPr>
            <p:cNvSpPr/>
            <p:nvPr/>
          </p:nvSpPr>
          <p:spPr>
            <a:xfrm>
              <a:off x="6244846" y="3007045"/>
              <a:ext cx="172521" cy="40932"/>
            </a:xfrm>
            <a:custGeom>
              <a:avLst/>
              <a:gdLst>
                <a:gd name="connsiteX0" fmla="*/ 152065 w 172521"/>
                <a:gd name="connsiteY0" fmla="*/ 40885 h 40932"/>
                <a:gd name="connsiteX1" fmla="*/ 172544 w 172521"/>
                <a:gd name="connsiteY1" fmla="*/ 20399 h 40932"/>
                <a:gd name="connsiteX2" fmla="*/ 152065 w 172521"/>
                <a:gd name="connsiteY2" fmla="*/ -47 h 40932"/>
                <a:gd name="connsiteX3" fmla="*/ 20541 w 172521"/>
                <a:gd name="connsiteY3" fmla="*/ -47 h 40932"/>
                <a:gd name="connsiteX4" fmla="*/ 22 w 172521"/>
                <a:gd name="connsiteY4" fmla="*/ 20399 h 40932"/>
                <a:gd name="connsiteX5" fmla="*/ 20541 w 172521"/>
                <a:gd name="connsiteY5" fmla="*/ 40885 h 40932"/>
                <a:gd name="connsiteX6" fmla="*/ 152065 w 172521"/>
                <a:gd name="connsiteY6" fmla="*/ 40885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21" h="40932">
                  <a:moveTo>
                    <a:pt x="152065" y="40885"/>
                  </a:moveTo>
                  <a:cubicBezTo>
                    <a:pt x="163416" y="40885"/>
                    <a:pt x="172544" y="31732"/>
                    <a:pt x="172544" y="20399"/>
                  </a:cubicBezTo>
                  <a:cubicBezTo>
                    <a:pt x="172544" y="9106"/>
                    <a:pt x="163416" y="-47"/>
                    <a:pt x="152065" y="-47"/>
                  </a:cubicBezTo>
                  <a:lnTo>
                    <a:pt x="20541" y="-47"/>
                  </a:lnTo>
                  <a:cubicBezTo>
                    <a:pt x="9190" y="-47"/>
                    <a:pt x="22" y="9106"/>
                    <a:pt x="22" y="20399"/>
                  </a:cubicBezTo>
                  <a:cubicBezTo>
                    <a:pt x="22" y="31732"/>
                    <a:pt x="9190" y="40885"/>
                    <a:pt x="20541" y="40885"/>
                  </a:cubicBezTo>
                  <a:lnTo>
                    <a:pt x="152065" y="40885"/>
                  </a:lnTo>
                  <a:close/>
                </a:path>
              </a:pathLst>
            </a:custGeom>
            <a:grpFill/>
            <a:ln w="39688" cap="flat">
              <a:noFill/>
              <a:prstDash val="solid"/>
              <a:round/>
            </a:ln>
          </p:spPr>
          <p:txBody>
            <a:bodyPr rtlCol="0" anchor="ctr"/>
            <a:lstStyle/>
            <a:p>
              <a:endParaRPr lang="en-LT"/>
            </a:p>
          </p:txBody>
        </p:sp>
        <p:sp>
          <p:nvSpPr>
            <p:cNvPr id="133" name="Freeform 132">
              <a:extLst>
                <a:ext uri="{FF2B5EF4-FFF2-40B4-BE49-F238E27FC236}">
                  <a16:creationId xmlns:a16="http://schemas.microsoft.com/office/drawing/2014/main" id="{4DC1792B-C610-C747-A4BC-19D31E4EBE3C}"/>
                </a:ext>
              </a:extLst>
            </p:cNvPr>
            <p:cNvSpPr/>
            <p:nvPr/>
          </p:nvSpPr>
          <p:spPr>
            <a:xfrm>
              <a:off x="6490988" y="3013860"/>
              <a:ext cx="422275" cy="40932"/>
            </a:xfrm>
            <a:custGeom>
              <a:avLst/>
              <a:gdLst>
                <a:gd name="connsiteX0" fmla="*/ 20570 w 422275"/>
                <a:gd name="connsiteY0" fmla="*/ -46 h 40932"/>
                <a:gd name="connsiteX1" fmla="*/ 52 w 422275"/>
                <a:gd name="connsiteY1" fmla="*/ 20439 h 40932"/>
                <a:gd name="connsiteX2" fmla="*/ 20570 w 422275"/>
                <a:gd name="connsiteY2" fmla="*/ 40886 h 40932"/>
                <a:gd name="connsiteX3" fmla="*/ 401809 w 422275"/>
                <a:gd name="connsiteY3" fmla="*/ 40886 h 40932"/>
                <a:gd name="connsiteX4" fmla="*/ 422327 w 422275"/>
                <a:gd name="connsiteY4" fmla="*/ 20439 h 40932"/>
                <a:gd name="connsiteX5" fmla="*/ 401809 w 422275"/>
                <a:gd name="connsiteY5" fmla="*/ -46 h 40932"/>
                <a:gd name="connsiteX6" fmla="*/ 20570 w 422275"/>
                <a:gd name="connsiteY6" fmla="*/ -4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275" h="40932">
                  <a:moveTo>
                    <a:pt x="20570" y="-46"/>
                  </a:moveTo>
                  <a:cubicBezTo>
                    <a:pt x="9220" y="-46"/>
                    <a:pt x="52" y="9107"/>
                    <a:pt x="52" y="20439"/>
                  </a:cubicBezTo>
                  <a:cubicBezTo>
                    <a:pt x="52" y="31732"/>
                    <a:pt x="9220" y="40886"/>
                    <a:pt x="20570" y="40886"/>
                  </a:cubicBezTo>
                  <a:lnTo>
                    <a:pt x="401809" y="40886"/>
                  </a:lnTo>
                  <a:cubicBezTo>
                    <a:pt x="413159" y="40886"/>
                    <a:pt x="422327" y="31732"/>
                    <a:pt x="422327" y="20439"/>
                  </a:cubicBezTo>
                  <a:cubicBezTo>
                    <a:pt x="422327" y="9107"/>
                    <a:pt x="413159" y="-46"/>
                    <a:pt x="401809" y="-46"/>
                  </a:cubicBezTo>
                  <a:lnTo>
                    <a:pt x="20570" y="-46"/>
                  </a:lnTo>
                  <a:close/>
                </a:path>
              </a:pathLst>
            </a:custGeom>
            <a:grpFill/>
            <a:ln w="39688" cap="flat">
              <a:noFill/>
              <a:prstDash val="solid"/>
              <a:round/>
            </a:ln>
          </p:spPr>
          <p:txBody>
            <a:bodyPr rtlCol="0" anchor="ctr"/>
            <a:lstStyle/>
            <a:p>
              <a:endParaRPr lang="en-LT"/>
            </a:p>
          </p:txBody>
        </p:sp>
        <p:sp>
          <p:nvSpPr>
            <p:cNvPr id="134" name="Freeform 133">
              <a:extLst>
                <a:ext uri="{FF2B5EF4-FFF2-40B4-BE49-F238E27FC236}">
                  <a16:creationId xmlns:a16="http://schemas.microsoft.com/office/drawing/2014/main" id="{915F9697-0DCA-5B42-8689-2538C16229C4}"/>
                </a:ext>
              </a:extLst>
            </p:cNvPr>
            <p:cNvSpPr/>
            <p:nvPr/>
          </p:nvSpPr>
          <p:spPr>
            <a:xfrm>
              <a:off x="5361802" y="1907238"/>
              <a:ext cx="350719" cy="376030"/>
            </a:xfrm>
            <a:custGeom>
              <a:avLst/>
              <a:gdLst>
                <a:gd name="connsiteX0" fmla="*/ 100801 w 350719"/>
                <a:gd name="connsiteY0" fmla="*/ 100085 h 376030"/>
                <a:gd name="connsiteX1" fmla="*/ 205219 w 350719"/>
                <a:gd name="connsiteY1" fmla="*/ 46434 h 376030"/>
                <a:gd name="connsiteX2" fmla="*/ 145450 w 350719"/>
                <a:gd name="connsiteY2" fmla="*/ 189557 h 376030"/>
                <a:gd name="connsiteX3" fmla="*/ 135805 w 350719"/>
                <a:gd name="connsiteY3" fmla="*/ 209963 h 376030"/>
                <a:gd name="connsiteX4" fmla="*/ 137195 w 350719"/>
                <a:gd name="connsiteY4" fmla="*/ 229815 h 376030"/>
                <a:gd name="connsiteX5" fmla="*/ 154856 w 350719"/>
                <a:gd name="connsiteY5" fmla="*/ 239126 h 376030"/>
                <a:gd name="connsiteX6" fmla="*/ 305708 w 350719"/>
                <a:gd name="connsiteY6" fmla="*/ 246536 h 376030"/>
                <a:gd name="connsiteX7" fmla="*/ 309399 w 350719"/>
                <a:gd name="connsiteY7" fmla="*/ 246180 h 376030"/>
                <a:gd name="connsiteX8" fmla="*/ 309676 w 350719"/>
                <a:gd name="connsiteY8" fmla="*/ 251846 h 376030"/>
                <a:gd name="connsiteX9" fmla="*/ 298167 w 350719"/>
                <a:gd name="connsiteY9" fmla="*/ 298682 h 376030"/>
                <a:gd name="connsiteX10" fmla="*/ 133702 w 350719"/>
                <a:gd name="connsiteY10" fmla="*/ 327568 h 376030"/>
                <a:gd name="connsiteX11" fmla="*/ 41111 w 350719"/>
                <a:gd name="connsiteY11" fmla="*/ 206357 h 376030"/>
                <a:gd name="connsiteX12" fmla="*/ 100801 w 350719"/>
                <a:gd name="connsiteY12" fmla="*/ 100085 h 376030"/>
                <a:gd name="connsiteX13" fmla="*/ 121201 w 350719"/>
                <a:gd name="connsiteY13" fmla="*/ 366637 h 376030"/>
                <a:gd name="connsiteX14" fmla="*/ 182438 w 350719"/>
                <a:gd name="connsiteY14" fmla="*/ 375909 h 376030"/>
                <a:gd name="connsiteX15" fmla="*/ 320630 w 350719"/>
                <a:gd name="connsiteY15" fmla="*/ 332956 h 376030"/>
                <a:gd name="connsiteX16" fmla="*/ 350674 w 350719"/>
                <a:gd name="connsiteY16" fmla="*/ 251172 h 376030"/>
                <a:gd name="connsiteX17" fmla="*/ 338252 w 350719"/>
                <a:gd name="connsiteY17" fmla="*/ 216779 h 376030"/>
                <a:gd name="connsiteX18" fmla="*/ 310629 w 350719"/>
                <a:gd name="connsiteY18" fmla="*/ 205882 h 376030"/>
                <a:gd name="connsiteX19" fmla="*/ 186844 w 350719"/>
                <a:gd name="connsiteY19" fmla="*/ 197917 h 376030"/>
                <a:gd name="connsiteX20" fmla="*/ 253519 w 350719"/>
                <a:gd name="connsiteY20" fmla="*/ 24997 h 376030"/>
                <a:gd name="connsiteX21" fmla="*/ 248756 w 350719"/>
                <a:gd name="connsiteY21" fmla="*/ 6691 h 376030"/>
                <a:gd name="connsiteX22" fmla="*/ 231056 w 350719"/>
                <a:gd name="connsiteY22" fmla="*/ 74 h 376030"/>
                <a:gd name="connsiteX23" fmla="*/ 74091 w 350719"/>
                <a:gd name="connsiteY23" fmla="*/ 68980 h 376030"/>
                <a:gd name="connsiteX24" fmla="*/ 74 w 350719"/>
                <a:gd name="connsiteY24" fmla="*/ 204654 h 376030"/>
                <a:gd name="connsiteX25" fmla="*/ 121201 w 350719"/>
                <a:gd name="connsiteY25" fmla="*/ 366637 h 37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0719" h="376030">
                  <a:moveTo>
                    <a:pt x="100801" y="100085"/>
                  </a:moveTo>
                  <a:cubicBezTo>
                    <a:pt x="130646" y="74567"/>
                    <a:pt x="166921" y="56023"/>
                    <a:pt x="205219" y="46434"/>
                  </a:cubicBezTo>
                  <a:cubicBezTo>
                    <a:pt x="190376" y="94617"/>
                    <a:pt x="167556" y="142721"/>
                    <a:pt x="145450" y="189557"/>
                  </a:cubicBezTo>
                  <a:lnTo>
                    <a:pt x="135805" y="209963"/>
                  </a:lnTo>
                  <a:cubicBezTo>
                    <a:pt x="132789" y="216383"/>
                    <a:pt x="133345" y="223871"/>
                    <a:pt x="137195" y="229815"/>
                  </a:cubicBezTo>
                  <a:cubicBezTo>
                    <a:pt x="141084" y="235759"/>
                    <a:pt x="147196" y="238611"/>
                    <a:pt x="154856" y="239126"/>
                  </a:cubicBezTo>
                  <a:cubicBezTo>
                    <a:pt x="205060" y="237859"/>
                    <a:pt x="255781" y="240513"/>
                    <a:pt x="305708" y="246536"/>
                  </a:cubicBezTo>
                  <a:cubicBezTo>
                    <a:pt x="306660" y="246655"/>
                    <a:pt x="308962" y="246933"/>
                    <a:pt x="309399" y="246180"/>
                  </a:cubicBezTo>
                  <a:cubicBezTo>
                    <a:pt x="309518" y="247091"/>
                    <a:pt x="309676" y="248795"/>
                    <a:pt x="309676" y="251846"/>
                  </a:cubicBezTo>
                  <a:cubicBezTo>
                    <a:pt x="309597" y="276333"/>
                    <a:pt x="308804" y="291748"/>
                    <a:pt x="298167" y="298682"/>
                  </a:cubicBezTo>
                  <a:cubicBezTo>
                    <a:pt x="246692" y="332283"/>
                    <a:pt x="184026" y="343655"/>
                    <a:pt x="133702" y="327568"/>
                  </a:cubicBezTo>
                  <a:cubicBezTo>
                    <a:pt x="78775" y="310093"/>
                    <a:pt x="38928" y="257948"/>
                    <a:pt x="41111" y="206357"/>
                  </a:cubicBezTo>
                  <a:cubicBezTo>
                    <a:pt x="42580" y="169903"/>
                    <a:pt x="64328" y="131190"/>
                    <a:pt x="100801" y="100085"/>
                  </a:cubicBezTo>
                  <a:close/>
                  <a:moveTo>
                    <a:pt x="121201" y="366637"/>
                  </a:moveTo>
                  <a:cubicBezTo>
                    <a:pt x="140608" y="372779"/>
                    <a:pt x="161205" y="375909"/>
                    <a:pt x="182438" y="375909"/>
                  </a:cubicBezTo>
                  <a:cubicBezTo>
                    <a:pt x="229150" y="375909"/>
                    <a:pt x="278244" y="360654"/>
                    <a:pt x="320630" y="332956"/>
                  </a:cubicBezTo>
                  <a:cubicBezTo>
                    <a:pt x="350476" y="313422"/>
                    <a:pt x="350595" y="279345"/>
                    <a:pt x="350674" y="251172"/>
                  </a:cubicBezTo>
                  <a:cubicBezTo>
                    <a:pt x="350714" y="245546"/>
                    <a:pt x="350793" y="228468"/>
                    <a:pt x="338252" y="216779"/>
                  </a:cubicBezTo>
                  <a:cubicBezTo>
                    <a:pt x="328925" y="208140"/>
                    <a:pt x="317059" y="206674"/>
                    <a:pt x="310629" y="205882"/>
                  </a:cubicBezTo>
                  <a:cubicBezTo>
                    <a:pt x="269751" y="200928"/>
                    <a:pt x="228119" y="198274"/>
                    <a:pt x="186844" y="197917"/>
                  </a:cubicBezTo>
                  <a:cubicBezTo>
                    <a:pt x="213236" y="142087"/>
                    <a:pt x="239747" y="84434"/>
                    <a:pt x="253519" y="24997"/>
                  </a:cubicBezTo>
                  <a:cubicBezTo>
                    <a:pt x="254987" y="18499"/>
                    <a:pt x="253241" y="11644"/>
                    <a:pt x="248756" y="6691"/>
                  </a:cubicBezTo>
                  <a:cubicBezTo>
                    <a:pt x="244311" y="1698"/>
                    <a:pt x="237644" y="-877"/>
                    <a:pt x="231056" y="74"/>
                  </a:cubicBezTo>
                  <a:cubicBezTo>
                    <a:pt x="173707" y="7047"/>
                    <a:pt x="117986" y="31535"/>
                    <a:pt x="74091" y="68980"/>
                  </a:cubicBezTo>
                  <a:cubicBezTo>
                    <a:pt x="28411" y="107970"/>
                    <a:pt x="2098" y="156193"/>
                    <a:pt x="74" y="204654"/>
                  </a:cubicBezTo>
                  <a:cubicBezTo>
                    <a:pt x="-2823" y="274114"/>
                    <a:pt x="49287" y="343695"/>
                    <a:pt x="121201" y="366637"/>
                  </a:cubicBezTo>
                  <a:close/>
                </a:path>
              </a:pathLst>
            </a:custGeom>
            <a:grpFill/>
            <a:ln w="39688" cap="flat">
              <a:noFill/>
              <a:prstDash val="solid"/>
              <a:round/>
            </a:ln>
          </p:spPr>
          <p:txBody>
            <a:bodyPr rtlCol="0" anchor="ctr"/>
            <a:lstStyle/>
            <a:p>
              <a:endParaRPr lang="en-LT"/>
            </a:p>
          </p:txBody>
        </p:sp>
        <p:sp>
          <p:nvSpPr>
            <p:cNvPr id="135" name="Freeform 134">
              <a:extLst>
                <a:ext uri="{FF2B5EF4-FFF2-40B4-BE49-F238E27FC236}">
                  <a16:creationId xmlns:a16="http://schemas.microsoft.com/office/drawing/2014/main" id="{839190D0-7CE0-B84F-9E83-A1658178CA8C}"/>
                </a:ext>
              </a:extLst>
            </p:cNvPr>
            <p:cNvSpPr/>
            <p:nvPr/>
          </p:nvSpPr>
          <p:spPr>
            <a:xfrm>
              <a:off x="5568014" y="1916018"/>
              <a:ext cx="717856" cy="183393"/>
            </a:xfrm>
            <a:custGeom>
              <a:avLst/>
              <a:gdLst>
                <a:gd name="connsiteX0" fmla="*/ 86906 w 717856"/>
                <a:gd name="connsiteY0" fmla="*/ 52822 h 183393"/>
                <a:gd name="connsiteX1" fmla="*/ 124093 w 717856"/>
                <a:gd name="connsiteY1" fmla="*/ 141581 h 183393"/>
                <a:gd name="connsiteX2" fmla="*/ 53291 w 717856"/>
                <a:gd name="connsiteY2" fmla="*/ 142056 h 183393"/>
                <a:gd name="connsiteX3" fmla="*/ 86906 w 717856"/>
                <a:gd name="connsiteY3" fmla="*/ 52822 h 183393"/>
                <a:gd name="connsiteX4" fmla="*/ -9 w 717856"/>
                <a:gd name="connsiteY4" fmla="*/ 162978 h 183393"/>
                <a:gd name="connsiteX5" fmla="*/ 20469 w 717856"/>
                <a:gd name="connsiteY5" fmla="*/ 183265 h 183393"/>
                <a:gd name="connsiteX6" fmla="*/ 20668 w 717856"/>
                <a:gd name="connsiteY6" fmla="*/ 183265 h 183393"/>
                <a:gd name="connsiteX7" fmla="*/ 142548 w 717856"/>
                <a:gd name="connsiteY7" fmla="*/ 182394 h 183393"/>
                <a:gd name="connsiteX8" fmla="*/ 162511 w 717856"/>
                <a:gd name="connsiteY8" fmla="*/ 165870 h 183393"/>
                <a:gd name="connsiteX9" fmla="*/ 159733 w 717856"/>
                <a:gd name="connsiteY9" fmla="*/ 98786 h 183393"/>
                <a:gd name="connsiteX10" fmla="*/ 170964 w 717856"/>
                <a:gd name="connsiteY10" fmla="*/ 102551 h 183393"/>
                <a:gd name="connsiteX11" fmla="*/ 172393 w 717856"/>
                <a:gd name="connsiteY11" fmla="*/ 102511 h 183393"/>
                <a:gd name="connsiteX12" fmla="*/ 410638 w 717856"/>
                <a:gd name="connsiteY12" fmla="*/ 97043 h 183393"/>
                <a:gd name="connsiteX13" fmla="*/ 699404 w 717856"/>
                <a:gd name="connsiteY13" fmla="*/ 87454 h 183393"/>
                <a:gd name="connsiteX14" fmla="*/ 717740 w 717856"/>
                <a:gd name="connsiteY14" fmla="*/ 65026 h 183393"/>
                <a:gd name="connsiteX15" fmla="*/ 695316 w 717856"/>
                <a:gd name="connsiteY15" fmla="*/ 46720 h 183393"/>
                <a:gd name="connsiteX16" fmla="*/ 410677 w 717856"/>
                <a:gd name="connsiteY16" fmla="*/ 56071 h 183393"/>
                <a:gd name="connsiteX17" fmla="*/ 169615 w 717856"/>
                <a:gd name="connsiteY17" fmla="*/ 61619 h 183393"/>
                <a:gd name="connsiteX18" fmla="*/ 151597 w 717856"/>
                <a:gd name="connsiteY18" fmla="*/ 75368 h 183393"/>
                <a:gd name="connsiteX19" fmla="*/ 87343 w 717856"/>
                <a:gd name="connsiteY19" fmla="*/ 2539 h 183393"/>
                <a:gd name="connsiteX20" fmla="*/ 70237 w 717856"/>
                <a:gd name="connsiteY20" fmla="*/ 1073 h 183393"/>
                <a:gd name="connsiteX21" fmla="*/ 58014 w 717856"/>
                <a:gd name="connsiteY21" fmla="*/ 13158 h 183393"/>
                <a:gd name="connsiteX22" fmla="*/ 7690 w 717856"/>
                <a:gd name="connsiteY22" fmla="*/ 146771 h 183393"/>
                <a:gd name="connsiteX23" fmla="*/ -9 w 717856"/>
                <a:gd name="connsiteY23" fmla="*/ 162978 h 18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7856" h="183393">
                  <a:moveTo>
                    <a:pt x="86906" y="52822"/>
                  </a:moveTo>
                  <a:cubicBezTo>
                    <a:pt x="110838" y="75289"/>
                    <a:pt x="125086" y="108930"/>
                    <a:pt x="124093" y="141581"/>
                  </a:cubicBezTo>
                  <a:lnTo>
                    <a:pt x="53291" y="142056"/>
                  </a:lnTo>
                  <a:lnTo>
                    <a:pt x="86906" y="52822"/>
                  </a:lnTo>
                  <a:close/>
                  <a:moveTo>
                    <a:pt x="-9" y="162978"/>
                  </a:moveTo>
                  <a:cubicBezTo>
                    <a:pt x="70" y="174191"/>
                    <a:pt x="9238" y="183265"/>
                    <a:pt x="20469" y="183265"/>
                  </a:cubicBezTo>
                  <a:lnTo>
                    <a:pt x="20668" y="183265"/>
                  </a:lnTo>
                  <a:lnTo>
                    <a:pt x="142548" y="182394"/>
                  </a:lnTo>
                  <a:cubicBezTo>
                    <a:pt x="152272" y="182354"/>
                    <a:pt x="160646" y="175419"/>
                    <a:pt x="162511" y="165870"/>
                  </a:cubicBezTo>
                  <a:cubicBezTo>
                    <a:pt x="166876" y="143561"/>
                    <a:pt x="165527" y="120619"/>
                    <a:pt x="159733" y="98786"/>
                  </a:cubicBezTo>
                  <a:cubicBezTo>
                    <a:pt x="163027" y="101005"/>
                    <a:pt x="166757" y="102551"/>
                    <a:pt x="170964" y="102551"/>
                  </a:cubicBezTo>
                  <a:cubicBezTo>
                    <a:pt x="171441" y="102551"/>
                    <a:pt x="171917" y="102511"/>
                    <a:pt x="172393" y="102511"/>
                  </a:cubicBezTo>
                  <a:cubicBezTo>
                    <a:pt x="251689" y="96964"/>
                    <a:pt x="332731" y="97241"/>
                    <a:pt x="410638" y="97043"/>
                  </a:cubicBezTo>
                  <a:cubicBezTo>
                    <a:pt x="505491" y="97122"/>
                    <a:pt x="602804" y="97122"/>
                    <a:pt x="699404" y="87454"/>
                  </a:cubicBezTo>
                  <a:cubicBezTo>
                    <a:pt x="710636" y="86344"/>
                    <a:pt x="718891" y="76319"/>
                    <a:pt x="717740" y="65026"/>
                  </a:cubicBezTo>
                  <a:cubicBezTo>
                    <a:pt x="716589" y="53773"/>
                    <a:pt x="706151" y="45492"/>
                    <a:pt x="695316" y="46720"/>
                  </a:cubicBezTo>
                  <a:cubicBezTo>
                    <a:pt x="600781" y="56151"/>
                    <a:pt x="503863" y="56507"/>
                    <a:pt x="410677" y="56071"/>
                  </a:cubicBezTo>
                  <a:cubicBezTo>
                    <a:pt x="331381" y="55992"/>
                    <a:pt x="250260" y="56032"/>
                    <a:pt x="169615" y="61619"/>
                  </a:cubicBezTo>
                  <a:cubicBezTo>
                    <a:pt x="161122" y="62213"/>
                    <a:pt x="154216" y="67840"/>
                    <a:pt x="151597" y="75368"/>
                  </a:cubicBezTo>
                  <a:cubicBezTo>
                    <a:pt x="138421" y="45174"/>
                    <a:pt x="116196" y="18864"/>
                    <a:pt x="87343" y="2539"/>
                  </a:cubicBezTo>
                  <a:cubicBezTo>
                    <a:pt x="82144" y="-393"/>
                    <a:pt x="75833" y="-948"/>
                    <a:pt x="70237" y="1073"/>
                  </a:cubicBezTo>
                  <a:cubicBezTo>
                    <a:pt x="64602" y="3134"/>
                    <a:pt x="60117" y="7532"/>
                    <a:pt x="58014" y="13158"/>
                  </a:cubicBezTo>
                  <a:lnTo>
                    <a:pt x="7690" y="146771"/>
                  </a:lnTo>
                  <a:cubicBezTo>
                    <a:pt x="2967" y="150536"/>
                    <a:pt x="-49" y="156400"/>
                    <a:pt x="-9" y="162978"/>
                  </a:cubicBezTo>
                  <a:close/>
                </a:path>
              </a:pathLst>
            </a:custGeom>
            <a:grpFill/>
            <a:ln w="39688" cap="flat">
              <a:noFill/>
              <a:prstDash val="solid"/>
              <a:round/>
            </a:ln>
          </p:spPr>
          <p:txBody>
            <a:bodyPr rtlCol="0" anchor="ctr"/>
            <a:lstStyle/>
            <a:p>
              <a:endParaRPr lang="en-LT"/>
            </a:p>
          </p:txBody>
        </p:sp>
        <p:sp>
          <p:nvSpPr>
            <p:cNvPr id="136" name="Freeform 135">
              <a:extLst>
                <a:ext uri="{FF2B5EF4-FFF2-40B4-BE49-F238E27FC236}">
                  <a16:creationId xmlns:a16="http://schemas.microsoft.com/office/drawing/2014/main" id="{1327CA15-6DF1-C14C-B8D9-9CCAC6D6CAAB}"/>
                </a:ext>
              </a:extLst>
            </p:cNvPr>
            <p:cNvSpPr/>
            <p:nvPr/>
          </p:nvSpPr>
          <p:spPr>
            <a:xfrm>
              <a:off x="5711960" y="1988760"/>
              <a:ext cx="695728" cy="246562"/>
            </a:xfrm>
            <a:custGeom>
              <a:avLst/>
              <a:gdLst>
                <a:gd name="connsiteX0" fmla="*/ 516893 w 695728"/>
                <a:gd name="connsiteY0" fmla="*/ 153286 h 246562"/>
                <a:gd name="connsiteX1" fmla="*/ 462958 w 695728"/>
                <a:gd name="connsiteY1" fmla="*/ 170840 h 246562"/>
                <a:gd name="connsiteX2" fmla="*/ 263805 w 695728"/>
                <a:gd name="connsiteY2" fmla="*/ 190216 h 246562"/>
                <a:gd name="connsiteX3" fmla="*/ 19251 w 695728"/>
                <a:gd name="connsiteY3" fmla="*/ 205511 h 246562"/>
                <a:gd name="connsiteX4" fmla="*/ 42 w 695728"/>
                <a:gd name="connsiteY4" fmla="*/ 227264 h 246562"/>
                <a:gd name="connsiteX5" fmla="*/ 20521 w 695728"/>
                <a:gd name="connsiteY5" fmla="*/ 246443 h 246562"/>
                <a:gd name="connsiteX6" fmla="*/ 21791 w 695728"/>
                <a:gd name="connsiteY6" fmla="*/ 246403 h 246562"/>
                <a:gd name="connsiteX7" fmla="*/ 266346 w 695728"/>
                <a:gd name="connsiteY7" fmla="*/ 231069 h 246562"/>
                <a:gd name="connsiteX8" fmla="*/ 469704 w 695728"/>
                <a:gd name="connsiteY8" fmla="*/ 211256 h 246562"/>
                <a:gd name="connsiteX9" fmla="*/ 540507 w 695728"/>
                <a:gd name="connsiteY9" fmla="*/ 186808 h 246562"/>
                <a:gd name="connsiteX10" fmla="*/ 566661 w 695728"/>
                <a:gd name="connsiteY10" fmla="*/ 163034 h 246562"/>
                <a:gd name="connsiteX11" fmla="*/ 690010 w 695728"/>
                <a:gd name="connsiteY11" fmla="*/ 34493 h 246562"/>
                <a:gd name="connsiteX12" fmla="*/ 689415 w 695728"/>
                <a:gd name="connsiteY12" fmla="*/ 5527 h 246562"/>
                <a:gd name="connsiteX13" fmla="*/ 660403 w 695728"/>
                <a:gd name="connsiteY13" fmla="*/ 6162 h 246562"/>
                <a:gd name="connsiteX14" fmla="*/ 537015 w 695728"/>
                <a:gd name="connsiteY14" fmla="*/ 134702 h 246562"/>
                <a:gd name="connsiteX15" fmla="*/ 516893 w 695728"/>
                <a:gd name="connsiteY15" fmla="*/ 153286 h 24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5728" h="246562">
                  <a:moveTo>
                    <a:pt x="516893" y="153286"/>
                  </a:moveTo>
                  <a:cubicBezTo>
                    <a:pt x="502090" y="163668"/>
                    <a:pt x="482127" y="167670"/>
                    <a:pt x="462958" y="170840"/>
                  </a:cubicBezTo>
                  <a:cubicBezTo>
                    <a:pt x="397394" y="181816"/>
                    <a:pt x="329489" y="186095"/>
                    <a:pt x="263805" y="190216"/>
                  </a:cubicBezTo>
                  <a:lnTo>
                    <a:pt x="19251" y="205511"/>
                  </a:lnTo>
                  <a:cubicBezTo>
                    <a:pt x="7940" y="206224"/>
                    <a:pt x="-672" y="215972"/>
                    <a:pt x="42" y="227264"/>
                  </a:cubicBezTo>
                  <a:cubicBezTo>
                    <a:pt x="757" y="238121"/>
                    <a:pt x="9766" y="246443"/>
                    <a:pt x="20521" y="246443"/>
                  </a:cubicBezTo>
                  <a:cubicBezTo>
                    <a:pt x="20918" y="246443"/>
                    <a:pt x="21355" y="246443"/>
                    <a:pt x="21791" y="246403"/>
                  </a:cubicBezTo>
                  <a:lnTo>
                    <a:pt x="266346" y="231069"/>
                  </a:lnTo>
                  <a:cubicBezTo>
                    <a:pt x="333100" y="226908"/>
                    <a:pt x="402077" y="222589"/>
                    <a:pt x="469704" y="211256"/>
                  </a:cubicBezTo>
                  <a:cubicBezTo>
                    <a:pt x="492485" y="207452"/>
                    <a:pt x="518600" y="202143"/>
                    <a:pt x="540507" y="186808"/>
                  </a:cubicBezTo>
                  <a:cubicBezTo>
                    <a:pt x="550746" y="179597"/>
                    <a:pt x="559200" y="170800"/>
                    <a:pt x="566661" y="163034"/>
                  </a:cubicBezTo>
                  <a:lnTo>
                    <a:pt x="690010" y="34493"/>
                  </a:lnTo>
                  <a:cubicBezTo>
                    <a:pt x="697868" y="26330"/>
                    <a:pt x="697590" y="13373"/>
                    <a:pt x="689415" y="5527"/>
                  </a:cubicBezTo>
                  <a:cubicBezTo>
                    <a:pt x="681199" y="-2279"/>
                    <a:pt x="668261" y="-1922"/>
                    <a:pt x="660403" y="6162"/>
                  </a:cubicBezTo>
                  <a:lnTo>
                    <a:pt x="537015" y="134702"/>
                  </a:lnTo>
                  <a:cubicBezTo>
                    <a:pt x="530585" y="141439"/>
                    <a:pt x="523878" y="148373"/>
                    <a:pt x="516893" y="153286"/>
                  </a:cubicBezTo>
                  <a:close/>
                </a:path>
              </a:pathLst>
            </a:custGeom>
            <a:grpFill/>
            <a:ln w="39688" cap="flat">
              <a:noFill/>
              <a:prstDash val="solid"/>
              <a:round/>
            </a:ln>
          </p:spPr>
          <p:txBody>
            <a:bodyPr rtlCol="0" anchor="ctr"/>
            <a:lstStyle/>
            <a:p>
              <a:endParaRPr lang="en-LT"/>
            </a:p>
          </p:txBody>
        </p:sp>
        <p:sp>
          <p:nvSpPr>
            <p:cNvPr id="137" name="Freeform 136">
              <a:extLst>
                <a:ext uri="{FF2B5EF4-FFF2-40B4-BE49-F238E27FC236}">
                  <a16:creationId xmlns:a16="http://schemas.microsoft.com/office/drawing/2014/main" id="{14A7A22B-5F52-F74E-B76C-23946B5A8CC1}"/>
                </a:ext>
              </a:extLst>
            </p:cNvPr>
            <p:cNvSpPr/>
            <p:nvPr/>
          </p:nvSpPr>
          <p:spPr>
            <a:xfrm>
              <a:off x="6452962" y="1844330"/>
              <a:ext cx="208950" cy="278657"/>
            </a:xfrm>
            <a:custGeom>
              <a:avLst/>
              <a:gdLst>
                <a:gd name="connsiteX0" fmla="*/ 562 w 208950"/>
                <a:gd name="connsiteY0" fmla="*/ 253525 h 278657"/>
                <a:gd name="connsiteX1" fmla="*/ 16041 w 208950"/>
                <a:gd name="connsiteY1" fmla="*/ 278012 h 278657"/>
                <a:gd name="connsiteX2" fmla="*/ 20565 w 208950"/>
                <a:gd name="connsiteY2" fmla="*/ 278528 h 278657"/>
                <a:gd name="connsiteX3" fmla="*/ 40527 w 208950"/>
                <a:gd name="connsiteY3" fmla="*/ 262559 h 278657"/>
                <a:gd name="connsiteX4" fmla="*/ 53267 w 208950"/>
                <a:gd name="connsiteY4" fmla="*/ 239894 h 278657"/>
                <a:gd name="connsiteX5" fmla="*/ 204953 w 208950"/>
                <a:gd name="connsiteY5" fmla="*/ 32541 h 278657"/>
                <a:gd name="connsiteX6" fmla="*/ 200707 w 208950"/>
                <a:gd name="connsiteY6" fmla="*/ 3853 h 278657"/>
                <a:gd name="connsiteX7" fmla="*/ 172012 w 208950"/>
                <a:gd name="connsiteY7" fmla="*/ 8132 h 278657"/>
                <a:gd name="connsiteX8" fmla="*/ 19930 w 208950"/>
                <a:gd name="connsiteY8" fmla="*/ 215961 h 278657"/>
                <a:gd name="connsiteX9" fmla="*/ 562 w 208950"/>
                <a:gd name="connsiteY9" fmla="*/ 253525 h 278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950" h="278657">
                  <a:moveTo>
                    <a:pt x="562" y="253525"/>
                  </a:moveTo>
                  <a:cubicBezTo>
                    <a:pt x="-1978" y="264580"/>
                    <a:pt x="5007" y="275517"/>
                    <a:pt x="16041" y="278012"/>
                  </a:cubicBezTo>
                  <a:cubicBezTo>
                    <a:pt x="17548" y="278369"/>
                    <a:pt x="19056" y="278528"/>
                    <a:pt x="20565" y="278528"/>
                  </a:cubicBezTo>
                  <a:cubicBezTo>
                    <a:pt x="29971" y="278528"/>
                    <a:pt x="38424" y="272069"/>
                    <a:pt x="40527" y="262559"/>
                  </a:cubicBezTo>
                  <a:cubicBezTo>
                    <a:pt x="42234" y="255268"/>
                    <a:pt x="47830" y="247423"/>
                    <a:pt x="53267" y="239894"/>
                  </a:cubicBezTo>
                  <a:cubicBezTo>
                    <a:pt x="103353" y="170433"/>
                    <a:pt x="153915" y="101249"/>
                    <a:pt x="204953" y="32541"/>
                  </a:cubicBezTo>
                  <a:cubicBezTo>
                    <a:pt x="211700" y="23466"/>
                    <a:pt x="209795" y="10589"/>
                    <a:pt x="200707" y="3853"/>
                  </a:cubicBezTo>
                  <a:cubicBezTo>
                    <a:pt x="191618" y="-2804"/>
                    <a:pt x="178799" y="-942"/>
                    <a:pt x="172012" y="8132"/>
                  </a:cubicBezTo>
                  <a:cubicBezTo>
                    <a:pt x="120816" y="77039"/>
                    <a:pt x="70214" y="146341"/>
                    <a:pt x="19930" y="215961"/>
                  </a:cubicBezTo>
                  <a:cubicBezTo>
                    <a:pt x="12865" y="225867"/>
                    <a:pt x="4015" y="238111"/>
                    <a:pt x="562" y="253525"/>
                  </a:cubicBezTo>
                  <a:close/>
                </a:path>
              </a:pathLst>
            </a:custGeom>
            <a:grpFill/>
            <a:ln w="39688" cap="flat">
              <a:noFill/>
              <a:prstDash val="solid"/>
              <a:round/>
            </a:ln>
          </p:spPr>
          <p:txBody>
            <a:bodyPr rtlCol="0" anchor="ctr"/>
            <a:lstStyle/>
            <a:p>
              <a:endParaRPr lang="en-LT"/>
            </a:p>
          </p:txBody>
        </p:sp>
        <p:sp>
          <p:nvSpPr>
            <p:cNvPr id="138" name="Freeform 137">
              <a:extLst>
                <a:ext uri="{FF2B5EF4-FFF2-40B4-BE49-F238E27FC236}">
                  <a16:creationId xmlns:a16="http://schemas.microsoft.com/office/drawing/2014/main" id="{6548D705-C541-9B4B-8E2B-B7E00758AF75}"/>
                </a:ext>
              </a:extLst>
            </p:cNvPr>
            <p:cNvSpPr/>
            <p:nvPr/>
          </p:nvSpPr>
          <p:spPr>
            <a:xfrm>
              <a:off x="6420009" y="1826062"/>
              <a:ext cx="126162" cy="138072"/>
            </a:xfrm>
            <a:custGeom>
              <a:avLst/>
              <a:gdLst>
                <a:gd name="connsiteX0" fmla="*/ 42002 w 126162"/>
                <a:gd name="connsiteY0" fmla="*/ 45650 h 138072"/>
                <a:gd name="connsiteX1" fmla="*/ 48114 w 126162"/>
                <a:gd name="connsiteY1" fmla="*/ 40143 h 138072"/>
                <a:gd name="connsiteX2" fmla="*/ 68553 w 126162"/>
                <a:gd name="connsiteY2" fmla="*/ 48503 h 138072"/>
                <a:gd name="connsiteX3" fmla="*/ 83952 w 126162"/>
                <a:gd name="connsiteY3" fmla="*/ 85314 h 138072"/>
                <a:gd name="connsiteX4" fmla="*/ 56964 w 126162"/>
                <a:gd name="connsiteY4" fmla="*/ 87731 h 138072"/>
                <a:gd name="connsiteX5" fmla="*/ 42002 w 126162"/>
                <a:gd name="connsiteY5" fmla="*/ 45650 h 138072"/>
                <a:gd name="connsiteX6" fmla="*/ 72879 w 126162"/>
                <a:gd name="connsiteY6" fmla="*/ 137935 h 138072"/>
                <a:gd name="connsiteX7" fmla="*/ 123242 w 126162"/>
                <a:gd name="connsiteY7" fmla="*/ 97162 h 138072"/>
                <a:gd name="connsiteX8" fmla="*/ 91334 w 126162"/>
                <a:gd name="connsiteY8" fmla="*/ 14387 h 138072"/>
                <a:gd name="connsiteX9" fmla="*/ 2751 w 126162"/>
                <a:gd name="connsiteY9" fmla="*/ 33803 h 138072"/>
                <a:gd name="connsiteX10" fmla="*/ 27913 w 126162"/>
                <a:gd name="connsiteY10" fmla="*/ 116617 h 138072"/>
                <a:gd name="connsiteX11" fmla="*/ 72879 w 126162"/>
                <a:gd name="connsiteY11" fmla="*/ 137935 h 13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162" h="138072">
                  <a:moveTo>
                    <a:pt x="42002" y="45650"/>
                  </a:moveTo>
                  <a:cubicBezTo>
                    <a:pt x="43669" y="40143"/>
                    <a:pt x="46130" y="40143"/>
                    <a:pt x="48114" y="40143"/>
                  </a:cubicBezTo>
                  <a:cubicBezTo>
                    <a:pt x="51091" y="40143"/>
                    <a:pt x="57679" y="41212"/>
                    <a:pt x="68553" y="48503"/>
                  </a:cubicBezTo>
                  <a:cubicBezTo>
                    <a:pt x="84865" y="59281"/>
                    <a:pt x="87206" y="74576"/>
                    <a:pt x="83952" y="85314"/>
                  </a:cubicBezTo>
                  <a:cubicBezTo>
                    <a:pt x="80737" y="95854"/>
                    <a:pt x="70022" y="100847"/>
                    <a:pt x="56964" y="87731"/>
                  </a:cubicBezTo>
                  <a:cubicBezTo>
                    <a:pt x="42995" y="73784"/>
                    <a:pt x="38867" y="55992"/>
                    <a:pt x="42002" y="45650"/>
                  </a:cubicBezTo>
                  <a:close/>
                  <a:moveTo>
                    <a:pt x="72879" y="137935"/>
                  </a:moveTo>
                  <a:cubicBezTo>
                    <a:pt x="95977" y="137935"/>
                    <a:pt x="115702" y="121927"/>
                    <a:pt x="123242" y="97162"/>
                  </a:cubicBezTo>
                  <a:cubicBezTo>
                    <a:pt x="130386" y="73506"/>
                    <a:pt x="126338" y="37646"/>
                    <a:pt x="91334" y="14387"/>
                  </a:cubicBezTo>
                  <a:cubicBezTo>
                    <a:pt x="51924" y="-11765"/>
                    <a:pt x="13308" y="-988"/>
                    <a:pt x="2751" y="33803"/>
                  </a:cubicBezTo>
                  <a:cubicBezTo>
                    <a:pt x="-5266" y="60232"/>
                    <a:pt x="4855" y="93556"/>
                    <a:pt x="27913" y="116617"/>
                  </a:cubicBezTo>
                  <a:cubicBezTo>
                    <a:pt x="45455" y="134250"/>
                    <a:pt x="62084" y="137935"/>
                    <a:pt x="72879" y="137935"/>
                  </a:cubicBezTo>
                  <a:close/>
                </a:path>
              </a:pathLst>
            </a:custGeom>
            <a:grpFill/>
            <a:ln w="39688" cap="flat">
              <a:noFill/>
              <a:prstDash val="solid"/>
              <a:round/>
            </a:ln>
          </p:spPr>
          <p:txBody>
            <a:bodyPr rtlCol="0" anchor="ctr"/>
            <a:lstStyle/>
            <a:p>
              <a:endParaRPr lang="en-LT"/>
            </a:p>
          </p:txBody>
        </p:sp>
        <p:sp>
          <p:nvSpPr>
            <p:cNvPr id="139" name="Freeform 138">
              <a:extLst>
                <a:ext uri="{FF2B5EF4-FFF2-40B4-BE49-F238E27FC236}">
                  <a16:creationId xmlns:a16="http://schemas.microsoft.com/office/drawing/2014/main" id="{01443B8C-7282-434E-82DD-EB2BDFEC374A}"/>
                </a:ext>
              </a:extLst>
            </p:cNvPr>
            <p:cNvSpPr/>
            <p:nvPr/>
          </p:nvSpPr>
          <p:spPr>
            <a:xfrm>
              <a:off x="6558403" y="1979945"/>
              <a:ext cx="134428" cy="133573"/>
            </a:xfrm>
            <a:custGeom>
              <a:avLst/>
              <a:gdLst>
                <a:gd name="connsiteX0" fmla="*/ 92889 w 134428"/>
                <a:gd name="connsiteY0" fmla="*/ 62402 h 133573"/>
                <a:gd name="connsiteX1" fmla="*/ 52329 w 134428"/>
                <a:gd name="connsiteY1" fmla="*/ 90892 h 133573"/>
                <a:gd name="connsiteX2" fmla="*/ 41652 w 134428"/>
                <a:gd name="connsiteY2" fmla="*/ 70406 h 133573"/>
                <a:gd name="connsiteX3" fmla="*/ 73799 w 134428"/>
                <a:gd name="connsiteY3" fmla="*/ 40847 h 133573"/>
                <a:gd name="connsiteX4" fmla="*/ 82411 w 134428"/>
                <a:gd name="connsiteY4" fmla="*/ 42867 h 133573"/>
                <a:gd name="connsiteX5" fmla="*/ 92889 w 134428"/>
                <a:gd name="connsiteY5" fmla="*/ 62402 h 133573"/>
                <a:gd name="connsiteX6" fmla="*/ 73601 w 134428"/>
                <a:gd name="connsiteY6" fmla="*/ -125 h 133573"/>
                <a:gd name="connsiteX7" fmla="*/ 1568 w 134428"/>
                <a:gd name="connsiteY7" fmla="*/ 61768 h 133573"/>
                <a:gd name="connsiteX8" fmla="*/ 35421 w 134428"/>
                <a:gd name="connsiteY8" fmla="*/ 128178 h 133573"/>
                <a:gd name="connsiteX9" fmla="*/ 59869 w 134428"/>
                <a:gd name="connsiteY9" fmla="*/ 133448 h 133573"/>
                <a:gd name="connsiteX10" fmla="*/ 132934 w 134428"/>
                <a:gd name="connsiteY10" fmla="*/ 71278 h 133573"/>
                <a:gd name="connsiteX11" fmla="*/ 99715 w 134428"/>
                <a:gd name="connsiteY11" fmla="*/ 5740 h 133573"/>
                <a:gd name="connsiteX12" fmla="*/ 73601 w 134428"/>
                <a:gd name="connsiteY12" fmla="*/ -125 h 1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428" h="133573">
                  <a:moveTo>
                    <a:pt x="92889" y="62402"/>
                  </a:moveTo>
                  <a:cubicBezTo>
                    <a:pt x="88762" y="80867"/>
                    <a:pt x="67251" y="97588"/>
                    <a:pt x="52329" y="90892"/>
                  </a:cubicBezTo>
                  <a:cubicBezTo>
                    <a:pt x="45899" y="87960"/>
                    <a:pt x="38914" y="83046"/>
                    <a:pt x="41652" y="70406"/>
                  </a:cubicBezTo>
                  <a:cubicBezTo>
                    <a:pt x="44668" y="56419"/>
                    <a:pt x="58996" y="40847"/>
                    <a:pt x="73799" y="40847"/>
                  </a:cubicBezTo>
                  <a:cubicBezTo>
                    <a:pt x="76657" y="40886"/>
                    <a:pt x="79594" y="41560"/>
                    <a:pt x="82411" y="42867"/>
                  </a:cubicBezTo>
                  <a:cubicBezTo>
                    <a:pt x="91817" y="47265"/>
                    <a:pt x="94953" y="53090"/>
                    <a:pt x="92889" y="62402"/>
                  </a:cubicBezTo>
                  <a:close/>
                  <a:moveTo>
                    <a:pt x="73601" y="-125"/>
                  </a:moveTo>
                  <a:cubicBezTo>
                    <a:pt x="36850" y="-125"/>
                    <a:pt x="8077" y="31337"/>
                    <a:pt x="1568" y="61768"/>
                  </a:cubicBezTo>
                  <a:cubicBezTo>
                    <a:pt x="-4624" y="90495"/>
                    <a:pt x="8355" y="115974"/>
                    <a:pt x="35421" y="128178"/>
                  </a:cubicBezTo>
                  <a:cubicBezTo>
                    <a:pt x="43200" y="131665"/>
                    <a:pt x="51415" y="133448"/>
                    <a:pt x="59869" y="133448"/>
                  </a:cubicBezTo>
                  <a:cubicBezTo>
                    <a:pt x="92532" y="133448"/>
                    <a:pt x="125313" y="105553"/>
                    <a:pt x="132934" y="71278"/>
                  </a:cubicBezTo>
                  <a:cubicBezTo>
                    <a:pt x="139125" y="43224"/>
                    <a:pt x="126385" y="18141"/>
                    <a:pt x="99715" y="5740"/>
                  </a:cubicBezTo>
                  <a:cubicBezTo>
                    <a:pt x="91619" y="1975"/>
                    <a:pt x="83086" y="-6"/>
                    <a:pt x="73601" y="-125"/>
                  </a:cubicBezTo>
                  <a:close/>
                </a:path>
              </a:pathLst>
            </a:custGeom>
            <a:grpFill/>
            <a:ln w="39688" cap="flat">
              <a:noFill/>
              <a:prstDash val="solid"/>
              <a:round/>
            </a:ln>
          </p:spPr>
          <p:txBody>
            <a:bodyPr rtlCol="0" anchor="ctr"/>
            <a:lstStyle/>
            <a:p>
              <a:endParaRPr lang="en-LT"/>
            </a:p>
          </p:txBody>
        </p:sp>
        <p:sp>
          <p:nvSpPr>
            <p:cNvPr id="140" name="Freeform 139">
              <a:extLst>
                <a:ext uri="{FF2B5EF4-FFF2-40B4-BE49-F238E27FC236}">
                  <a16:creationId xmlns:a16="http://schemas.microsoft.com/office/drawing/2014/main" id="{95033184-0886-454F-A832-0DB4B594A68B}"/>
                </a:ext>
              </a:extLst>
            </p:cNvPr>
            <p:cNvSpPr/>
            <p:nvPr/>
          </p:nvSpPr>
          <p:spPr>
            <a:xfrm>
              <a:off x="5844833" y="3179486"/>
              <a:ext cx="973887" cy="91178"/>
            </a:xfrm>
            <a:custGeom>
              <a:avLst/>
              <a:gdLst>
                <a:gd name="connsiteX0" fmla="*/ 957367 w 973887"/>
                <a:gd name="connsiteY0" fmla="*/ 5480 h 91178"/>
                <a:gd name="connsiteX1" fmla="*/ 755437 w 973887"/>
                <a:gd name="connsiteY1" fmla="*/ 18912 h 91178"/>
                <a:gd name="connsiteX2" fmla="*/ 687929 w 973887"/>
                <a:gd name="connsiteY2" fmla="*/ 31394 h 91178"/>
                <a:gd name="connsiteX3" fmla="*/ 502429 w 973887"/>
                <a:gd name="connsiteY3" fmla="*/ 42568 h 91178"/>
                <a:gd name="connsiteX4" fmla="*/ 20226 w 973887"/>
                <a:gd name="connsiteY4" fmla="*/ 50215 h 91178"/>
                <a:gd name="connsiteX5" fmla="*/ 25 w 973887"/>
                <a:gd name="connsiteY5" fmla="*/ 71018 h 91178"/>
                <a:gd name="connsiteX6" fmla="*/ 20543 w 973887"/>
                <a:gd name="connsiteY6" fmla="*/ 91147 h 91178"/>
                <a:gd name="connsiteX7" fmla="*/ 20861 w 973887"/>
                <a:gd name="connsiteY7" fmla="*/ 91147 h 91178"/>
                <a:gd name="connsiteX8" fmla="*/ 503064 w 973887"/>
                <a:gd name="connsiteY8" fmla="*/ 83539 h 91178"/>
                <a:gd name="connsiteX9" fmla="*/ 694080 w 973887"/>
                <a:gd name="connsiteY9" fmla="*/ 71850 h 91178"/>
                <a:gd name="connsiteX10" fmla="*/ 763533 w 973887"/>
                <a:gd name="connsiteY10" fmla="*/ 59052 h 91178"/>
                <a:gd name="connsiteX11" fmla="*/ 949430 w 973887"/>
                <a:gd name="connsiteY11" fmla="*/ 45698 h 91178"/>
                <a:gd name="connsiteX12" fmla="*/ 973520 w 973887"/>
                <a:gd name="connsiteY12" fmla="*/ 29571 h 91178"/>
                <a:gd name="connsiteX13" fmla="*/ 957367 w 973887"/>
                <a:gd name="connsiteY13" fmla="*/ 5480 h 9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3887" h="91178">
                  <a:moveTo>
                    <a:pt x="957367" y="5480"/>
                  </a:moveTo>
                  <a:cubicBezTo>
                    <a:pt x="889184" y="-7913"/>
                    <a:pt x="821159" y="5678"/>
                    <a:pt x="755437" y="18912"/>
                  </a:cubicBezTo>
                  <a:cubicBezTo>
                    <a:pt x="732894" y="23429"/>
                    <a:pt x="710392" y="27947"/>
                    <a:pt x="687929" y="31394"/>
                  </a:cubicBezTo>
                  <a:cubicBezTo>
                    <a:pt x="626929" y="40587"/>
                    <a:pt x="563627" y="41578"/>
                    <a:pt x="502429" y="42568"/>
                  </a:cubicBezTo>
                  <a:lnTo>
                    <a:pt x="20226" y="50215"/>
                  </a:lnTo>
                  <a:cubicBezTo>
                    <a:pt x="8875" y="50374"/>
                    <a:pt x="-134" y="59725"/>
                    <a:pt x="25" y="71018"/>
                  </a:cubicBezTo>
                  <a:cubicBezTo>
                    <a:pt x="223" y="82192"/>
                    <a:pt x="9391" y="91147"/>
                    <a:pt x="20543" y="91147"/>
                  </a:cubicBezTo>
                  <a:lnTo>
                    <a:pt x="20861" y="91147"/>
                  </a:lnTo>
                  <a:lnTo>
                    <a:pt x="503064" y="83539"/>
                  </a:lnTo>
                  <a:cubicBezTo>
                    <a:pt x="565652" y="82509"/>
                    <a:pt x="630342" y="81519"/>
                    <a:pt x="694080" y="71850"/>
                  </a:cubicBezTo>
                  <a:cubicBezTo>
                    <a:pt x="717218" y="68363"/>
                    <a:pt x="740356" y="63727"/>
                    <a:pt x="763533" y="59052"/>
                  </a:cubicBezTo>
                  <a:cubicBezTo>
                    <a:pt x="828184" y="46095"/>
                    <a:pt x="889224" y="33851"/>
                    <a:pt x="949430" y="45698"/>
                  </a:cubicBezTo>
                  <a:cubicBezTo>
                    <a:pt x="960224" y="47838"/>
                    <a:pt x="971298" y="40666"/>
                    <a:pt x="973520" y="29571"/>
                  </a:cubicBezTo>
                  <a:cubicBezTo>
                    <a:pt x="975703" y="18436"/>
                    <a:pt x="968519" y="7698"/>
                    <a:pt x="957367" y="5480"/>
                  </a:cubicBezTo>
                  <a:close/>
                </a:path>
              </a:pathLst>
            </a:custGeom>
            <a:grpFill/>
            <a:ln w="39688" cap="flat">
              <a:noFill/>
              <a:prstDash val="solid"/>
              <a:round/>
            </a:ln>
          </p:spPr>
          <p:txBody>
            <a:bodyPr rtlCol="0" anchor="ctr"/>
            <a:lstStyle/>
            <a:p>
              <a:endParaRPr lang="en-LT"/>
            </a:p>
          </p:txBody>
        </p:sp>
        <p:sp>
          <p:nvSpPr>
            <p:cNvPr id="141" name="Freeform 140">
              <a:extLst>
                <a:ext uri="{FF2B5EF4-FFF2-40B4-BE49-F238E27FC236}">
                  <a16:creationId xmlns:a16="http://schemas.microsoft.com/office/drawing/2014/main" id="{17DC5EE3-8AFA-BF44-AACE-39101A9B4B77}"/>
                </a:ext>
              </a:extLst>
            </p:cNvPr>
            <p:cNvSpPr/>
            <p:nvPr/>
          </p:nvSpPr>
          <p:spPr>
            <a:xfrm>
              <a:off x="5614402" y="3277551"/>
              <a:ext cx="1163049" cy="116781"/>
            </a:xfrm>
            <a:custGeom>
              <a:avLst/>
              <a:gdLst>
                <a:gd name="connsiteX0" fmla="*/ 1139965 w 1163049"/>
                <a:gd name="connsiteY0" fmla="*/ 105 h 116781"/>
                <a:gd name="connsiteX1" fmla="*/ 659547 w 1163049"/>
                <a:gd name="connsiteY1" fmla="*/ 60374 h 116781"/>
                <a:gd name="connsiteX2" fmla="*/ 461109 w 1163049"/>
                <a:gd name="connsiteY2" fmla="*/ 75669 h 116781"/>
                <a:gd name="connsiteX3" fmla="*/ 302597 w 1163049"/>
                <a:gd name="connsiteY3" fmla="*/ 60453 h 116781"/>
                <a:gd name="connsiteX4" fmla="*/ 15974 w 1163049"/>
                <a:gd name="connsiteY4" fmla="*/ 56451 h 116781"/>
                <a:gd name="connsiteX5" fmla="*/ 536 w 1163049"/>
                <a:gd name="connsiteY5" fmla="*/ 80939 h 116781"/>
                <a:gd name="connsiteX6" fmla="*/ 25023 w 1163049"/>
                <a:gd name="connsiteY6" fmla="*/ 96392 h 116781"/>
                <a:gd name="connsiteX7" fmla="*/ 297121 w 1163049"/>
                <a:gd name="connsiteY7" fmla="*/ 101068 h 116781"/>
                <a:gd name="connsiteX8" fmla="*/ 460316 w 1163049"/>
                <a:gd name="connsiteY8" fmla="*/ 116601 h 116781"/>
                <a:gd name="connsiteX9" fmla="*/ 475000 w 1163049"/>
                <a:gd name="connsiteY9" fmla="*/ 116759 h 116781"/>
                <a:gd name="connsiteX10" fmla="*/ 664746 w 1163049"/>
                <a:gd name="connsiteY10" fmla="*/ 100989 h 116781"/>
                <a:gd name="connsiteX11" fmla="*/ 1145124 w 1163049"/>
                <a:gd name="connsiteY11" fmla="*/ 40720 h 116781"/>
                <a:gd name="connsiteX12" fmla="*/ 1162904 w 1163049"/>
                <a:gd name="connsiteY12" fmla="*/ 17857 h 116781"/>
                <a:gd name="connsiteX13" fmla="*/ 1139965 w 1163049"/>
                <a:gd name="connsiteY13" fmla="*/ 105 h 11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3049" h="116781">
                  <a:moveTo>
                    <a:pt x="1139965" y="105"/>
                  </a:moveTo>
                  <a:lnTo>
                    <a:pt x="659547" y="60374"/>
                  </a:lnTo>
                  <a:cubicBezTo>
                    <a:pt x="594340" y="68537"/>
                    <a:pt x="527110" y="77056"/>
                    <a:pt x="461109" y="75669"/>
                  </a:cubicBezTo>
                  <a:cubicBezTo>
                    <a:pt x="408722" y="74639"/>
                    <a:pt x="354786" y="67427"/>
                    <a:pt x="302597" y="60453"/>
                  </a:cubicBezTo>
                  <a:cubicBezTo>
                    <a:pt x="208498" y="47932"/>
                    <a:pt x="111304" y="34935"/>
                    <a:pt x="15974" y="56451"/>
                  </a:cubicBezTo>
                  <a:cubicBezTo>
                    <a:pt x="4941" y="58947"/>
                    <a:pt x="-2005" y="69884"/>
                    <a:pt x="536" y="80939"/>
                  </a:cubicBezTo>
                  <a:cubicBezTo>
                    <a:pt x="2956" y="91954"/>
                    <a:pt x="13910" y="98928"/>
                    <a:pt x="25023" y="96392"/>
                  </a:cubicBezTo>
                  <a:cubicBezTo>
                    <a:pt x="113129" y="76541"/>
                    <a:pt x="202545" y="88467"/>
                    <a:pt x="297121" y="101068"/>
                  </a:cubicBezTo>
                  <a:cubicBezTo>
                    <a:pt x="350500" y="108200"/>
                    <a:pt x="405587" y="115531"/>
                    <a:pt x="460316" y="116601"/>
                  </a:cubicBezTo>
                  <a:cubicBezTo>
                    <a:pt x="465197" y="116719"/>
                    <a:pt x="470119" y="116759"/>
                    <a:pt x="475000" y="116759"/>
                  </a:cubicBezTo>
                  <a:cubicBezTo>
                    <a:pt x="538937" y="116759"/>
                    <a:pt x="602794" y="108755"/>
                    <a:pt x="664746" y="100989"/>
                  </a:cubicBezTo>
                  <a:lnTo>
                    <a:pt x="1145124" y="40720"/>
                  </a:lnTo>
                  <a:cubicBezTo>
                    <a:pt x="1156316" y="39294"/>
                    <a:pt x="1164293" y="29071"/>
                    <a:pt x="1162904" y="17857"/>
                  </a:cubicBezTo>
                  <a:cubicBezTo>
                    <a:pt x="1161436" y="6643"/>
                    <a:pt x="1151038" y="-1123"/>
                    <a:pt x="1139965" y="105"/>
                  </a:cubicBezTo>
                  <a:close/>
                </a:path>
              </a:pathLst>
            </a:custGeom>
            <a:grpFill/>
            <a:ln w="39688" cap="flat">
              <a:noFill/>
              <a:prstDash val="solid"/>
              <a:round/>
            </a:ln>
          </p:spPr>
          <p:txBody>
            <a:bodyPr rtlCol="0" anchor="ctr"/>
            <a:lstStyle/>
            <a:p>
              <a:endParaRPr lang="en-LT"/>
            </a:p>
          </p:txBody>
        </p:sp>
        <p:sp>
          <p:nvSpPr>
            <p:cNvPr id="142" name="Freeform 141">
              <a:extLst>
                <a:ext uri="{FF2B5EF4-FFF2-40B4-BE49-F238E27FC236}">
                  <a16:creationId xmlns:a16="http://schemas.microsoft.com/office/drawing/2014/main" id="{CC514A92-1F68-514F-8EF8-B7C6FF633628}"/>
                </a:ext>
              </a:extLst>
            </p:cNvPr>
            <p:cNvSpPr/>
            <p:nvPr/>
          </p:nvSpPr>
          <p:spPr>
            <a:xfrm>
              <a:off x="5009734" y="1528902"/>
              <a:ext cx="2224912" cy="3839904"/>
            </a:xfrm>
            <a:custGeom>
              <a:avLst/>
              <a:gdLst>
                <a:gd name="connsiteX0" fmla="*/ 1842376 w 2224912"/>
                <a:gd name="connsiteY0" fmla="*/ 3722803 h 3839904"/>
                <a:gd name="connsiteX1" fmla="*/ 1821421 w 2224912"/>
                <a:gd name="connsiteY1" fmla="*/ 3725180 h 3839904"/>
                <a:gd name="connsiteX2" fmla="*/ 1829954 w 2224912"/>
                <a:gd name="connsiteY2" fmla="*/ 3727241 h 3839904"/>
                <a:gd name="connsiteX3" fmla="*/ 1833883 w 2224912"/>
                <a:gd name="connsiteY3" fmla="*/ 3726924 h 3839904"/>
                <a:gd name="connsiteX4" fmla="*/ 1842376 w 2224912"/>
                <a:gd name="connsiteY4" fmla="*/ 3722803 h 3839904"/>
                <a:gd name="connsiteX5" fmla="*/ 1773797 w 2224912"/>
                <a:gd name="connsiteY5" fmla="*/ 3439490 h 3839904"/>
                <a:gd name="connsiteX6" fmla="*/ 1773876 w 2224912"/>
                <a:gd name="connsiteY6" fmla="*/ 3439370 h 3839904"/>
                <a:gd name="connsiteX7" fmla="*/ 1773916 w 2224912"/>
                <a:gd name="connsiteY7" fmla="*/ 3439925 h 3839904"/>
                <a:gd name="connsiteX8" fmla="*/ 1773797 w 2224912"/>
                <a:gd name="connsiteY8" fmla="*/ 3439490 h 3839904"/>
                <a:gd name="connsiteX9" fmla="*/ 1507652 w 2224912"/>
                <a:gd name="connsiteY9" fmla="*/ 2053671 h 3839904"/>
                <a:gd name="connsiteX10" fmla="*/ 1590043 w 2224912"/>
                <a:gd name="connsiteY10" fmla="*/ 2050541 h 3839904"/>
                <a:gd name="connsiteX11" fmla="*/ 1749309 w 2224912"/>
                <a:gd name="connsiteY11" fmla="*/ 3253929 h 3839904"/>
                <a:gd name="connsiteX12" fmla="*/ 1507652 w 2224912"/>
                <a:gd name="connsiteY12" fmla="*/ 2053671 h 3839904"/>
                <a:gd name="connsiteX13" fmla="*/ 1620127 w 2224912"/>
                <a:gd name="connsiteY13" fmla="*/ 2899807 h 3839904"/>
                <a:gd name="connsiteX14" fmla="*/ 1414466 w 2224912"/>
                <a:gd name="connsiteY14" fmla="*/ 2057198 h 3839904"/>
                <a:gd name="connsiteX15" fmla="*/ 1465901 w 2224912"/>
                <a:gd name="connsiteY15" fmla="*/ 2055216 h 3839904"/>
                <a:gd name="connsiteX16" fmla="*/ 1698073 w 2224912"/>
                <a:gd name="connsiteY16" fmla="*/ 3191125 h 3839904"/>
                <a:gd name="connsiteX17" fmla="*/ 1620127 w 2224912"/>
                <a:gd name="connsiteY17" fmla="*/ 2899807 h 3839904"/>
                <a:gd name="connsiteX18" fmla="*/ 1029616 w 2224912"/>
                <a:gd name="connsiteY18" fmla="*/ 2030887 h 3839904"/>
                <a:gd name="connsiteX19" fmla="*/ 1028187 w 2224912"/>
                <a:gd name="connsiteY19" fmla="*/ 2030729 h 3839904"/>
                <a:gd name="connsiteX20" fmla="*/ 1027314 w 2224912"/>
                <a:gd name="connsiteY20" fmla="*/ 2030966 h 3839904"/>
                <a:gd name="connsiteX21" fmla="*/ 133630 w 2224912"/>
                <a:gd name="connsiteY21" fmla="*/ 2064568 h 3839904"/>
                <a:gd name="connsiteX22" fmla="*/ 107952 w 2224912"/>
                <a:gd name="connsiteY22" fmla="*/ 2066747 h 3839904"/>
                <a:gd name="connsiteX23" fmla="*/ 82076 w 2224912"/>
                <a:gd name="connsiteY23" fmla="*/ 2068689 h 3839904"/>
                <a:gd name="connsiteX24" fmla="*/ 47032 w 2224912"/>
                <a:gd name="connsiteY24" fmla="*/ 2052800 h 3839904"/>
                <a:gd name="connsiteX25" fmla="*/ 40920 w 2224912"/>
                <a:gd name="connsiteY25" fmla="*/ 2029342 h 3839904"/>
                <a:gd name="connsiteX26" fmla="*/ 2178213 w 2224912"/>
                <a:gd name="connsiteY26" fmla="*/ 1974343 h 3839904"/>
                <a:gd name="connsiteX27" fmla="*/ 2178649 w 2224912"/>
                <a:gd name="connsiteY27" fmla="*/ 1988291 h 3839904"/>
                <a:gd name="connsiteX28" fmla="*/ 1718948 w 2224912"/>
                <a:gd name="connsiteY28" fmla="*/ 2004973 h 3839904"/>
                <a:gd name="connsiteX29" fmla="*/ 1029616 w 2224912"/>
                <a:gd name="connsiteY29" fmla="*/ 2030887 h 3839904"/>
                <a:gd name="connsiteX30" fmla="*/ 1126969 w 2224912"/>
                <a:gd name="connsiteY30" fmla="*/ 2505705 h 3839904"/>
                <a:gd name="connsiteX31" fmla="*/ 1110697 w 2224912"/>
                <a:gd name="connsiteY31" fmla="*/ 2068649 h 3839904"/>
                <a:gd name="connsiteX32" fmla="*/ 1152131 w 2224912"/>
                <a:gd name="connsiteY32" fmla="*/ 2067104 h 3839904"/>
                <a:gd name="connsiteX33" fmla="*/ 1126969 w 2224912"/>
                <a:gd name="connsiteY33" fmla="*/ 2505705 h 3839904"/>
                <a:gd name="connsiteX34" fmla="*/ 1051801 w 2224912"/>
                <a:gd name="connsiteY34" fmla="*/ 2070908 h 3839904"/>
                <a:gd name="connsiteX35" fmla="*/ 1069740 w 2224912"/>
                <a:gd name="connsiteY35" fmla="*/ 2070195 h 3839904"/>
                <a:gd name="connsiteX36" fmla="*/ 1087797 w 2224912"/>
                <a:gd name="connsiteY36" fmla="*/ 2555948 h 3839904"/>
                <a:gd name="connsiteX37" fmla="*/ 1051801 w 2224912"/>
                <a:gd name="connsiteY37" fmla="*/ 2070908 h 3839904"/>
                <a:gd name="connsiteX38" fmla="*/ 764185 w 2224912"/>
                <a:gd name="connsiteY38" fmla="*/ 2083310 h 3839904"/>
                <a:gd name="connsiteX39" fmla="*/ 668657 w 2224912"/>
                <a:gd name="connsiteY39" fmla="*/ 2447299 h 3839904"/>
                <a:gd name="connsiteX40" fmla="*/ 623771 w 2224912"/>
                <a:gd name="connsiteY40" fmla="*/ 2625568 h 3839904"/>
                <a:gd name="connsiteX41" fmla="*/ 539991 w 2224912"/>
                <a:gd name="connsiteY41" fmla="*/ 2886256 h 3839904"/>
                <a:gd name="connsiteX42" fmla="*/ 468751 w 2224912"/>
                <a:gd name="connsiteY42" fmla="*/ 3100662 h 3839904"/>
                <a:gd name="connsiteX43" fmla="*/ 464783 w 2224912"/>
                <a:gd name="connsiteY43" fmla="*/ 3114214 h 3839904"/>
                <a:gd name="connsiteX44" fmla="*/ 689850 w 2224912"/>
                <a:gd name="connsiteY44" fmla="*/ 2084539 h 3839904"/>
                <a:gd name="connsiteX45" fmla="*/ 765019 w 2224912"/>
                <a:gd name="connsiteY45" fmla="*/ 2081685 h 3839904"/>
                <a:gd name="connsiteX46" fmla="*/ 764185 w 2224912"/>
                <a:gd name="connsiteY46" fmla="*/ 2083310 h 3839904"/>
                <a:gd name="connsiteX47" fmla="*/ 578527 w 2224912"/>
                <a:gd name="connsiteY47" fmla="*/ 2092305 h 3839904"/>
                <a:gd name="connsiteX48" fmla="*/ 578368 w 2224912"/>
                <a:gd name="connsiteY48" fmla="*/ 2088778 h 3839904"/>
                <a:gd name="connsiteX49" fmla="*/ 647583 w 2224912"/>
                <a:gd name="connsiteY49" fmla="*/ 2086123 h 3839904"/>
                <a:gd name="connsiteX50" fmla="*/ 393464 w 2224912"/>
                <a:gd name="connsiteY50" fmla="*/ 3248699 h 3839904"/>
                <a:gd name="connsiteX51" fmla="*/ 578527 w 2224912"/>
                <a:gd name="connsiteY51" fmla="*/ 2092305 h 3839904"/>
                <a:gd name="connsiteX52" fmla="*/ 353856 w 2224912"/>
                <a:gd name="connsiteY52" fmla="*/ 3496271 h 3839904"/>
                <a:gd name="connsiteX53" fmla="*/ 354491 w 2224912"/>
                <a:gd name="connsiteY53" fmla="*/ 3492189 h 3839904"/>
                <a:gd name="connsiteX54" fmla="*/ 354967 w 2224912"/>
                <a:gd name="connsiteY54" fmla="*/ 3492428 h 3839904"/>
                <a:gd name="connsiteX55" fmla="*/ 353856 w 2224912"/>
                <a:gd name="connsiteY55" fmla="*/ 3496271 h 3839904"/>
                <a:gd name="connsiteX56" fmla="*/ 49175 w 2224912"/>
                <a:gd name="connsiteY56" fmla="*/ 1968123 h 3839904"/>
                <a:gd name="connsiteX57" fmla="*/ 92236 w 2224912"/>
                <a:gd name="connsiteY57" fmla="*/ 1956473 h 3839904"/>
                <a:gd name="connsiteX58" fmla="*/ 211298 w 2224912"/>
                <a:gd name="connsiteY58" fmla="*/ 1944744 h 3839904"/>
                <a:gd name="connsiteX59" fmla="*/ 230110 w 2224912"/>
                <a:gd name="connsiteY59" fmla="*/ 1957107 h 3839904"/>
                <a:gd name="connsiteX60" fmla="*/ 248882 w 2224912"/>
                <a:gd name="connsiteY60" fmla="*/ 1944744 h 3839904"/>
                <a:gd name="connsiteX61" fmla="*/ 312263 w 2224912"/>
                <a:gd name="connsiteY61" fmla="*/ 1946052 h 3839904"/>
                <a:gd name="connsiteX62" fmla="*/ 422039 w 2224912"/>
                <a:gd name="connsiteY62" fmla="*/ 1947439 h 3839904"/>
                <a:gd name="connsiteX63" fmla="*/ 1117166 w 2224912"/>
                <a:gd name="connsiteY63" fmla="*/ 1930599 h 3839904"/>
                <a:gd name="connsiteX64" fmla="*/ 1840829 w 2224912"/>
                <a:gd name="connsiteY64" fmla="*/ 1913362 h 3839904"/>
                <a:gd name="connsiteX65" fmla="*/ 1944572 w 2224912"/>
                <a:gd name="connsiteY65" fmla="*/ 1904248 h 3839904"/>
                <a:gd name="connsiteX66" fmla="*/ 2092170 w 2224912"/>
                <a:gd name="connsiteY66" fmla="*/ 1896878 h 3839904"/>
                <a:gd name="connsiteX67" fmla="*/ 2172061 w 2224912"/>
                <a:gd name="connsiteY67" fmla="*/ 1933531 h 3839904"/>
                <a:gd name="connsiteX68" fmla="*/ 41912 w 2224912"/>
                <a:gd name="connsiteY68" fmla="*/ 1988371 h 3839904"/>
                <a:gd name="connsiteX69" fmla="*/ 49175 w 2224912"/>
                <a:gd name="connsiteY69" fmla="*/ 1968123 h 3839904"/>
                <a:gd name="connsiteX70" fmla="*/ 244557 w 2224912"/>
                <a:gd name="connsiteY70" fmla="*/ 317694 h 3839904"/>
                <a:gd name="connsiteX71" fmla="*/ 1029695 w 2224912"/>
                <a:gd name="connsiteY71" fmla="*/ 278427 h 3839904"/>
                <a:gd name="connsiteX72" fmla="*/ 1029854 w 2224912"/>
                <a:gd name="connsiteY72" fmla="*/ 278427 h 3839904"/>
                <a:gd name="connsiteX73" fmla="*/ 1095021 w 2224912"/>
                <a:gd name="connsiteY73" fmla="*/ 273513 h 3839904"/>
                <a:gd name="connsiteX74" fmla="*/ 1581312 w 2224912"/>
                <a:gd name="connsiteY74" fmla="*/ 239991 h 3839904"/>
                <a:gd name="connsiteX75" fmla="*/ 1961042 w 2224912"/>
                <a:gd name="connsiteY75" fmla="*/ 275098 h 3839904"/>
                <a:gd name="connsiteX76" fmla="*/ 1974536 w 2224912"/>
                <a:gd name="connsiteY76" fmla="*/ 881943 h 3839904"/>
                <a:gd name="connsiteX77" fmla="*/ 1983387 w 2224912"/>
                <a:gd name="connsiteY77" fmla="*/ 1032515 h 3839904"/>
                <a:gd name="connsiteX78" fmla="*/ 1982632 w 2224912"/>
                <a:gd name="connsiteY78" fmla="*/ 1471433 h 3839904"/>
                <a:gd name="connsiteX79" fmla="*/ 1963265 w 2224912"/>
                <a:gd name="connsiteY79" fmla="*/ 1860900 h 3839904"/>
                <a:gd name="connsiteX80" fmla="*/ 1939690 w 2224912"/>
                <a:gd name="connsiteY80" fmla="*/ 1863594 h 3839904"/>
                <a:gd name="connsiteX81" fmla="*/ 1839876 w 2224912"/>
                <a:gd name="connsiteY81" fmla="*/ 1872390 h 3839904"/>
                <a:gd name="connsiteX82" fmla="*/ 1116174 w 2224912"/>
                <a:gd name="connsiteY82" fmla="*/ 1889667 h 3839904"/>
                <a:gd name="connsiteX83" fmla="*/ 420968 w 2224912"/>
                <a:gd name="connsiteY83" fmla="*/ 1906467 h 3839904"/>
                <a:gd name="connsiteX84" fmla="*/ 313534 w 2224912"/>
                <a:gd name="connsiteY84" fmla="*/ 1905160 h 3839904"/>
                <a:gd name="connsiteX85" fmla="*/ 250589 w 2224912"/>
                <a:gd name="connsiteY85" fmla="*/ 1903852 h 3839904"/>
                <a:gd name="connsiteX86" fmla="*/ 250391 w 2224912"/>
                <a:gd name="connsiteY86" fmla="*/ 1308181 h 3839904"/>
                <a:gd name="connsiteX87" fmla="*/ 247374 w 2224912"/>
                <a:gd name="connsiteY87" fmla="*/ 1139540 h 3839904"/>
                <a:gd name="connsiteX88" fmla="*/ 244557 w 2224912"/>
                <a:gd name="connsiteY88" fmla="*/ 317694 h 3839904"/>
                <a:gd name="connsiteX89" fmla="*/ 1059342 w 2224912"/>
                <a:gd name="connsiteY89" fmla="*/ 61444 h 3839904"/>
                <a:gd name="connsiteX90" fmla="*/ 1067517 w 2224912"/>
                <a:gd name="connsiteY90" fmla="*/ 53321 h 3839904"/>
                <a:gd name="connsiteX91" fmla="*/ 1064541 w 2224912"/>
                <a:gd name="connsiteY91" fmla="*/ 234721 h 3839904"/>
                <a:gd name="connsiteX92" fmla="*/ 1049737 w 2224912"/>
                <a:gd name="connsiteY92" fmla="*/ 235830 h 3839904"/>
                <a:gd name="connsiteX93" fmla="*/ 1049181 w 2224912"/>
                <a:gd name="connsiteY93" fmla="*/ 219069 h 3839904"/>
                <a:gd name="connsiteX94" fmla="*/ 1059342 w 2224912"/>
                <a:gd name="connsiteY94" fmla="*/ 61444 h 3839904"/>
                <a:gd name="connsiteX95" fmla="*/ 1108752 w 2224912"/>
                <a:gd name="connsiteY95" fmla="*/ 41355 h 3839904"/>
                <a:gd name="connsiteX96" fmla="*/ 1157886 w 2224912"/>
                <a:gd name="connsiteY96" fmla="*/ 64891 h 3839904"/>
                <a:gd name="connsiteX97" fmla="*/ 1158838 w 2224912"/>
                <a:gd name="connsiteY97" fmla="*/ 162208 h 3839904"/>
                <a:gd name="connsiteX98" fmla="*/ 1153084 w 2224912"/>
                <a:gd name="connsiteY98" fmla="*/ 214988 h 3839904"/>
                <a:gd name="connsiteX99" fmla="*/ 1157886 w 2224912"/>
                <a:gd name="connsiteY99" fmla="*/ 227707 h 3839904"/>
                <a:gd name="connsiteX100" fmla="*/ 1105617 w 2224912"/>
                <a:gd name="connsiteY100" fmla="*/ 231630 h 3839904"/>
                <a:gd name="connsiteX101" fmla="*/ 1108752 w 2224912"/>
                <a:gd name="connsiteY101" fmla="*/ 41355 h 3839904"/>
                <a:gd name="connsiteX102" fmla="*/ 1808126 w 2224912"/>
                <a:gd name="connsiteY102" fmla="*/ 3705011 h 3839904"/>
                <a:gd name="connsiteX103" fmla="*/ 1849798 w 2224912"/>
                <a:gd name="connsiteY103" fmla="*/ 3700533 h 3839904"/>
                <a:gd name="connsiteX104" fmla="*/ 1631239 w 2224912"/>
                <a:gd name="connsiteY104" fmla="*/ 2048996 h 3839904"/>
                <a:gd name="connsiteX105" fmla="*/ 1662830 w 2224912"/>
                <a:gd name="connsiteY105" fmla="*/ 2047807 h 3839904"/>
                <a:gd name="connsiteX106" fmla="*/ 1720297 w 2224912"/>
                <a:gd name="connsiteY106" fmla="*/ 2045905 h 3839904"/>
                <a:gd name="connsiteX107" fmla="*/ 2040060 w 2224912"/>
                <a:gd name="connsiteY107" fmla="*/ 2034850 h 3839904"/>
                <a:gd name="connsiteX108" fmla="*/ 2217424 w 2224912"/>
                <a:gd name="connsiteY108" fmla="*/ 1969034 h 3839904"/>
                <a:gd name="connsiteX109" fmla="*/ 2216074 w 2224912"/>
                <a:gd name="connsiteY109" fmla="*/ 1935670 h 3839904"/>
                <a:gd name="connsiteX110" fmla="*/ 2095940 w 2224912"/>
                <a:gd name="connsiteY110" fmla="*/ 1856065 h 3839904"/>
                <a:gd name="connsiteX111" fmla="*/ 2004302 w 2224912"/>
                <a:gd name="connsiteY111" fmla="*/ 1856898 h 3839904"/>
                <a:gd name="connsiteX112" fmla="*/ 2023272 w 2224912"/>
                <a:gd name="connsiteY112" fmla="*/ 1477337 h 3839904"/>
                <a:gd name="connsiteX113" fmla="*/ 2024344 w 2224912"/>
                <a:gd name="connsiteY113" fmla="*/ 1029781 h 3839904"/>
                <a:gd name="connsiteX114" fmla="*/ 2015573 w 2224912"/>
                <a:gd name="connsiteY114" fmla="*/ 880200 h 3839904"/>
                <a:gd name="connsiteX115" fmla="*/ 2001960 w 2224912"/>
                <a:gd name="connsiteY115" fmla="*/ 261388 h 3839904"/>
                <a:gd name="connsiteX116" fmla="*/ 1989816 w 2224912"/>
                <a:gd name="connsiteY116" fmla="*/ 242844 h 3839904"/>
                <a:gd name="connsiteX117" fmla="*/ 1579169 w 2224912"/>
                <a:gd name="connsiteY117" fmla="*/ 199059 h 3839904"/>
                <a:gd name="connsiteX118" fmla="*/ 1190985 w 2224912"/>
                <a:gd name="connsiteY118" fmla="*/ 225211 h 3839904"/>
                <a:gd name="connsiteX119" fmla="*/ 1194120 w 2224912"/>
                <a:gd name="connsiteY119" fmla="*/ 214988 h 3839904"/>
                <a:gd name="connsiteX120" fmla="*/ 1199399 w 2224912"/>
                <a:gd name="connsiteY120" fmla="*/ 168390 h 3839904"/>
                <a:gd name="connsiteX121" fmla="*/ 1192572 w 2224912"/>
                <a:gd name="connsiteY121" fmla="*/ 43019 h 3839904"/>
                <a:gd name="connsiteX122" fmla="*/ 1104427 w 2224912"/>
                <a:gd name="connsiteY122" fmla="*/ -13 h 3839904"/>
                <a:gd name="connsiteX123" fmla="*/ 1025052 w 2224912"/>
                <a:gd name="connsiteY123" fmla="*/ 38977 h 3839904"/>
                <a:gd name="connsiteX124" fmla="*/ 1008184 w 2224912"/>
                <a:gd name="connsiteY124" fmla="*/ 220575 h 3839904"/>
                <a:gd name="connsiteX125" fmla="*/ 1008819 w 2224912"/>
                <a:gd name="connsiteY125" fmla="*/ 238921 h 3839904"/>
                <a:gd name="connsiteX126" fmla="*/ 229793 w 2224912"/>
                <a:gd name="connsiteY126" fmla="*/ 276723 h 3839904"/>
                <a:gd name="connsiteX127" fmla="*/ 214195 w 2224912"/>
                <a:gd name="connsiteY127" fmla="*/ 283577 h 3839904"/>
                <a:gd name="connsiteX128" fmla="*/ 206337 w 2224912"/>
                <a:gd name="connsiteY128" fmla="*/ 1140372 h 3839904"/>
                <a:gd name="connsiteX129" fmla="*/ 209393 w 2224912"/>
                <a:gd name="connsiteY129" fmla="*/ 1308181 h 3839904"/>
                <a:gd name="connsiteX130" fmla="*/ 209552 w 2224912"/>
                <a:gd name="connsiteY130" fmla="*/ 1903812 h 3839904"/>
                <a:gd name="connsiteX131" fmla="*/ 22306 w 2224912"/>
                <a:gd name="connsiteY131" fmla="*/ 1932303 h 3839904"/>
                <a:gd name="connsiteX132" fmla="*/ 13893 w 2224912"/>
                <a:gd name="connsiteY132" fmla="*/ 2076931 h 3839904"/>
                <a:gd name="connsiteX133" fmla="*/ 537292 w 2224912"/>
                <a:gd name="connsiteY133" fmla="*/ 2090324 h 3839904"/>
                <a:gd name="connsiteX134" fmla="*/ 261106 w 2224912"/>
                <a:gd name="connsiteY134" fmla="*/ 3816197 h 3839904"/>
                <a:gd name="connsiteX135" fmla="*/ 276902 w 2224912"/>
                <a:gd name="connsiteY135" fmla="*/ 3839377 h 3839904"/>
                <a:gd name="connsiteX136" fmla="*/ 281386 w 2224912"/>
                <a:gd name="connsiteY136" fmla="*/ 3839892 h 3839904"/>
                <a:gd name="connsiteX137" fmla="*/ 301072 w 2224912"/>
                <a:gd name="connsiteY137" fmla="*/ 3825113 h 3839904"/>
                <a:gd name="connsiteX138" fmla="*/ 508161 w 2224912"/>
                <a:gd name="connsiteY138" fmla="*/ 3112035 h 3839904"/>
                <a:gd name="connsiteX139" fmla="*/ 578646 w 2224912"/>
                <a:gd name="connsiteY139" fmla="*/ 2899886 h 3839904"/>
                <a:gd name="connsiteX140" fmla="*/ 663498 w 2224912"/>
                <a:gd name="connsiteY140" fmla="*/ 2635791 h 3839904"/>
                <a:gd name="connsiteX141" fmla="*/ 708504 w 2224912"/>
                <a:gd name="connsiteY141" fmla="*/ 2457165 h 3839904"/>
                <a:gd name="connsiteX142" fmla="*/ 803595 w 2224912"/>
                <a:gd name="connsiteY142" fmla="*/ 2094722 h 3839904"/>
                <a:gd name="connsiteX143" fmla="*/ 802246 w 2224912"/>
                <a:gd name="connsiteY143" fmla="*/ 2080299 h 3839904"/>
                <a:gd name="connsiteX144" fmla="*/ 1010724 w 2224912"/>
                <a:gd name="connsiteY144" fmla="*/ 2072454 h 3839904"/>
                <a:gd name="connsiteX145" fmla="*/ 1090377 w 2224912"/>
                <a:gd name="connsiteY145" fmla="*/ 3145161 h 3839904"/>
                <a:gd name="connsiteX146" fmla="*/ 1111015 w 2224912"/>
                <a:gd name="connsiteY146" fmla="*/ 3164101 h 3839904"/>
                <a:gd name="connsiteX147" fmla="*/ 1131335 w 2224912"/>
                <a:gd name="connsiteY147" fmla="*/ 3144844 h 3839904"/>
                <a:gd name="connsiteX148" fmla="*/ 1193327 w 2224912"/>
                <a:gd name="connsiteY148" fmla="*/ 2065519 h 3839904"/>
                <a:gd name="connsiteX149" fmla="*/ 1372476 w 2224912"/>
                <a:gd name="connsiteY149" fmla="*/ 2058783 h 3839904"/>
                <a:gd name="connsiteX150" fmla="*/ 1580082 w 2224912"/>
                <a:gd name="connsiteY150" fmla="*/ 2908762 h 3839904"/>
                <a:gd name="connsiteX151" fmla="*/ 1711090 w 2224912"/>
                <a:gd name="connsiteY151" fmla="*/ 3375337 h 3839904"/>
                <a:gd name="connsiteX152" fmla="*/ 1808126 w 2224912"/>
                <a:gd name="connsiteY152" fmla="*/ 3705011 h 383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2224912" h="3839904">
                  <a:moveTo>
                    <a:pt x="1842376" y="3722803"/>
                  </a:moveTo>
                  <a:cubicBezTo>
                    <a:pt x="1874285" y="3719554"/>
                    <a:pt x="1676522" y="3744517"/>
                    <a:pt x="1821421" y="3725180"/>
                  </a:cubicBezTo>
                  <a:cubicBezTo>
                    <a:pt x="1824081" y="3726409"/>
                    <a:pt x="1826898" y="3727241"/>
                    <a:pt x="1829954" y="3727241"/>
                  </a:cubicBezTo>
                  <a:cubicBezTo>
                    <a:pt x="1831225" y="3727241"/>
                    <a:pt x="1832574" y="3727122"/>
                    <a:pt x="1833883" y="3726924"/>
                  </a:cubicBezTo>
                  <a:cubicBezTo>
                    <a:pt x="1837138" y="3726250"/>
                    <a:pt x="1839916" y="3724705"/>
                    <a:pt x="1842376" y="3722803"/>
                  </a:cubicBezTo>
                  <a:close/>
                  <a:moveTo>
                    <a:pt x="1773797" y="3439490"/>
                  </a:moveTo>
                  <a:cubicBezTo>
                    <a:pt x="1773836" y="3439450"/>
                    <a:pt x="1773836" y="3439410"/>
                    <a:pt x="1773876" y="3439370"/>
                  </a:cubicBezTo>
                  <a:lnTo>
                    <a:pt x="1773916" y="3439925"/>
                  </a:lnTo>
                  <a:cubicBezTo>
                    <a:pt x="1773876" y="3439767"/>
                    <a:pt x="1773836" y="3439648"/>
                    <a:pt x="1773797" y="3439490"/>
                  </a:cubicBezTo>
                  <a:close/>
                  <a:moveTo>
                    <a:pt x="1507652" y="2053671"/>
                  </a:moveTo>
                  <a:lnTo>
                    <a:pt x="1590043" y="2050541"/>
                  </a:lnTo>
                  <a:lnTo>
                    <a:pt x="1749309" y="3253929"/>
                  </a:lnTo>
                  <a:cubicBezTo>
                    <a:pt x="1685532" y="2850634"/>
                    <a:pt x="1605521" y="2450191"/>
                    <a:pt x="1507652" y="2053671"/>
                  </a:cubicBezTo>
                  <a:close/>
                  <a:moveTo>
                    <a:pt x="1620127" y="2899807"/>
                  </a:moveTo>
                  <a:cubicBezTo>
                    <a:pt x="1555554" y="2613284"/>
                    <a:pt x="1486340" y="2330130"/>
                    <a:pt x="1414466" y="2057198"/>
                  </a:cubicBezTo>
                  <a:lnTo>
                    <a:pt x="1465901" y="2055216"/>
                  </a:lnTo>
                  <a:cubicBezTo>
                    <a:pt x="1558849" y="2430696"/>
                    <a:pt x="1635723" y="2809583"/>
                    <a:pt x="1698073" y="3191125"/>
                  </a:cubicBezTo>
                  <a:cubicBezTo>
                    <a:pt x="1669299" y="3094164"/>
                    <a:pt x="1641915" y="2996451"/>
                    <a:pt x="1620127" y="2899807"/>
                  </a:cubicBezTo>
                  <a:close/>
                  <a:moveTo>
                    <a:pt x="1029616" y="2030887"/>
                  </a:moveTo>
                  <a:cubicBezTo>
                    <a:pt x="1029100" y="2030887"/>
                    <a:pt x="1028703" y="2030690"/>
                    <a:pt x="1028187" y="2030729"/>
                  </a:cubicBezTo>
                  <a:cubicBezTo>
                    <a:pt x="1027909" y="2030769"/>
                    <a:pt x="1027631" y="2030927"/>
                    <a:pt x="1027314" y="2030966"/>
                  </a:cubicBezTo>
                  <a:lnTo>
                    <a:pt x="133630" y="2064568"/>
                  </a:lnTo>
                  <a:cubicBezTo>
                    <a:pt x="125057" y="2064925"/>
                    <a:pt x="116485" y="2065836"/>
                    <a:pt x="107952" y="2066747"/>
                  </a:cubicBezTo>
                  <a:cubicBezTo>
                    <a:pt x="99141" y="2067698"/>
                    <a:pt x="90450" y="2068689"/>
                    <a:pt x="82076" y="2068689"/>
                  </a:cubicBezTo>
                  <a:cubicBezTo>
                    <a:pt x="64931" y="2068689"/>
                    <a:pt x="55445" y="2064410"/>
                    <a:pt x="47032" y="2052800"/>
                  </a:cubicBezTo>
                  <a:cubicBezTo>
                    <a:pt x="43856" y="2048401"/>
                    <a:pt x="41952" y="2039565"/>
                    <a:pt x="40920" y="2029342"/>
                  </a:cubicBezTo>
                  <a:cubicBezTo>
                    <a:pt x="753351" y="2010996"/>
                    <a:pt x="1465782" y="1992690"/>
                    <a:pt x="2178213" y="1974343"/>
                  </a:cubicBezTo>
                  <a:cubicBezTo>
                    <a:pt x="2178371" y="1978900"/>
                    <a:pt x="2178609" y="1983140"/>
                    <a:pt x="2178649" y="1988291"/>
                  </a:cubicBezTo>
                  <a:cubicBezTo>
                    <a:pt x="2105148" y="1992254"/>
                    <a:pt x="1819834" y="2001645"/>
                    <a:pt x="1718948" y="2004973"/>
                  </a:cubicBezTo>
                  <a:lnTo>
                    <a:pt x="1029616" y="2030887"/>
                  </a:lnTo>
                  <a:close/>
                  <a:moveTo>
                    <a:pt x="1126969" y="2505705"/>
                  </a:moveTo>
                  <a:cubicBezTo>
                    <a:pt x="1121532" y="2360006"/>
                    <a:pt x="1116135" y="2214348"/>
                    <a:pt x="1110697" y="2068649"/>
                  </a:cubicBezTo>
                  <a:lnTo>
                    <a:pt x="1152131" y="2067104"/>
                  </a:lnTo>
                  <a:lnTo>
                    <a:pt x="1126969" y="2505705"/>
                  </a:lnTo>
                  <a:close/>
                  <a:moveTo>
                    <a:pt x="1051801" y="2070908"/>
                  </a:moveTo>
                  <a:lnTo>
                    <a:pt x="1069740" y="2070195"/>
                  </a:lnTo>
                  <a:cubicBezTo>
                    <a:pt x="1075772" y="2232099"/>
                    <a:pt x="1081805" y="2394044"/>
                    <a:pt x="1087797" y="2555948"/>
                  </a:cubicBezTo>
                  <a:lnTo>
                    <a:pt x="1051801" y="2070908"/>
                  </a:lnTo>
                  <a:close/>
                  <a:moveTo>
                    <a:pt x="764185" y="2083310"/>
                  </a:moveTo>
                  <a:cubicBezTo>
                    <a:pt x="729181" y="2203887"/>
                    <a:pt x="698423" y="2327633"/>
                    <a:pt x="668657" y="2447299"/>
                  </a:cubicBezTo>
                  <a:cubicBezTo>
                    <a:pt x="653894" y="2506775"/>
                    <a:pt x="639090" y="2566250"/>
                    <a:pt x="623771" y="2625568"/>
                  </a:cubicBezTo>
                  <a:cubicBezTo>
                    <a:pt x="600832" y="2714247"/>
                    <a:pt x="569875" y="2801698"/>
                    <a:pt x="539991" y="2886256"/>
                  </a:cubicBezTo>
                  <a:cubicBezTo>
                    <a:pt x="515424" y="2955757"/>
                    <a:pt x="489945" y="3027635"/>
                    <a:pt x="468751" y="3100662"/>
                  </a:cubicBezTo>
                  <a:lnTo>
                    <a:pt x="464783" y="3114214"/>
                  </a:lnTo>
                  <a:cubicBezTo>
                    <a:pt x="539832" y="2770989"/>
                    <a:pt x="614841" y="2427764"/>
                    <a:pt x="689850" y="2084539"/>
                  </a:cubicBezTo>
                  <a:lnTo>
                    <a:pt x="765019" y="2081685"/>
                  </a:lnTo>
                  <a:cubicBezTo>
                    <a:pt x="764781" y="2082320"/>
                    <a:pt x="764344" y="2082716"/>
                    <a:pt x="764185" y="2083310"/>
                  </a:cubicBezTo>
                  <a:close/>
                  <a:moveTo>
                    <a:pt x="578527" y="2092305"/>
                  </a:moveTo>
                  <a:cubicBezTo>
                    <a:pt x="578726" y="2091037"/>
                    <a:pt x="578408" y="2089928"/>
                    <a:pt x="578368" y="2088778"/>
                  </a:cubicBezTo>
                  <a:lnTo>
                    <a:pt x="647583" y="2086123"/>
                  </a:lnTo>
                  <a:cubicBezTo>
                    <a:pt x="562851" y="2473688"/>
                    <a:pt x="478157" y="2861174"/>
                    <a:pt x="393464" y="3248699"/>
                  </a:cubicBezTo>
                  <a:lnTo>
                    <a:pt x="578527" y="2092305"/>
                  </a:lnTo>
                  <a:close/>
                  <a:moveTo>
                    <a:pt x="353856" y="3496271"/>
                  </a:moveTo>
                  <a:lnTo>
                    <a:pt x="354491" y="3492189"/>
                  </a:lnTo>
                  <a:cubicBezTo>
                    <a:pt x="354650" y="3492308"/>
                    <a:pt x="354809" y="3492348"/>
                    <a:pt x="354967" y="3492428"/>
                  </a:cubicBezTo>
                  <a:lnTo>
                    <a:pt x="353856" y="3496271"/>
                  </a:lnTo>
                  <a:close/>
                  <a:moveTo>
                    <a:pt x="49175" y="1968123"/>
                  </a:moveTo>
                  <a:cubicBezTo>
                    <a:pt x="52945" y="1964952"/>
                    <a:pt x="69892" y="1961307"/>
                    <a:pt x="92236" y="1956473"/>
                  </a:cubicBezTo>
                  <a:cubicBezTo>
                    <a:pt x="125970" y="1949222"/>
                    <a:pt x="164546" y="1945537"/>
                    <a:pt x="211298" y="1944744"/>
                  </a:cubicBezTo>
                  <a:cubicBezTo>
                    <a:pt x="214434" y="1951996"/>
                    <a:pt x="221657" y="1957107"/>
                    <a:pt x="230110" y="1957107"/>
                  </a:cubicBezTo>
                  <a:cubicBezTo>
                    <a:pt x="238524" y="1957107"/>
                    <a:pt x="245747" y="1951996"/>
                    <a:pt x="248882" y="1944744"/>
                  </a:cubicBezTo>
                  <a:cubicBezTo>
                    <a:pt x="269996" y="1945022"/>
                    <a:pt x="291189" y="1945418"/>
                    <a:pt x="312263" y="1946052"/>
                  </a:cubicBezTo>
                  <a:cubicBezTo>
                    <a:pt x="349292" y="1947241"/>
                    <a:pt x="386201" y="1948350"/>
                    <a:pt x="422039" y="1947439"/>
                  </a:cubicBezTo>
                  <a:cubicBezTo>
                    <a:pt x="653695" y="1941455"/>
                    <a:pt x="885470" y="1935988"/>
                    <a:pt x="1117166" y="1930599"/>
                  </a:cubicBezTo>
                  <a:lnTo>
                    <a:pt x="1840829" y="1913362"/>
                  </a:lnTo>
                  <a:cubicBezTo>
                    <a:pt x="1875714" y="1912530"/>
                    <a:pt x="1910718" y="1908329"/>
                    <a:pt x="1944572" y="1904248"/>
                  </a:cubicBezTo>
                  <a:cubicBezTo>
                    <a:pt x="1993348" y="1898384"/>
                    <a:pt x="2043354" y="1892242"/>
                    <a:pt x="2092170" y="1896878"/>
                  </a:cubicBezTo>
                  <a:cubicBezTo>
                    <a:pt x="2141581" y="1901396"/>
                    <a:pt x="2162893" y="1908964"/>
                    <a:pt x="2172061" y="1933531"/>
                  </a:cubicBezTo>
                  <a:cubicBezTo>
                    <a:pt x="1462011" y="1951837"/>
                    <a:pt x="751962" y="1970104"/>
                    <a:pt x="41912" y="1988371"/>
                  </a:cubicBezTo>
                  <a:cubicBezTo>
                    <a:pt x="43460" y="1978742"/>
                    <a:pt x="45841" y="1970936"/>
                    <a:pt x="49175" y="1968123"/>
                  </a:cubicBezTo>
                  <a:close/>
                  <a:moveTo>
                    <a:pt x="244557" y="317694"/>
                  </a:moveTo>
                  <a:cubicBezTo>
                    <a:pt x="508915" y="317021"/>
                    <a:pt x="772798" y="298080"/>
                    <a:pt x="1029695" y="278427"/>
                  </a:cubicBezTo>
                  <a:lnTo>
                    <a:pt x="1029854" y="278427"/>
                  </a:lnTo>
                  <a:cubicBezTo>
                    <a:pt x="1051483" y="276762"/>
                    <a:pt x="1073470" y="275138"/>
                    <a:pt x="1095021" y="273513"/>
                  </a:cubicBezTo>
                  <a:cubicBezTo>
                    <a:pt x="1253850" y="261229"/>
                    <a:pt x="1418157" y="248589"/>
                    <a:pt x="1581312" y="239991"/>
                  </a:cubicBezTo>
                  <a:cubicBezTo>
                    <a:pt x="1703510" y="233532"/>
                    <a:pt x="1841543" y="226281"/>
                    <a:pt x="1961042" y="275098"/>
                  </a:cubicBezTo>
                  <a:cubicBezTo>
                    <a:pt x="1962987" y="519421"/>
                    <a:pt x="1967194" y="707041"/>
                    <a:pt x="1974536" y="881943"/>
                  </a:cubicBezTo>
                  <a:cubicBezTo>
                    <a:pt x="1976679" y="931434"/>
                    <a:pt x="1980013" y="981796"/>
                    <a:pt x="1983387" y="1032515"/>
                  </a:cubicBezTo>
                  <a:cubicBezTo>
                    <a:pt x="1993149" y="1178689"/>
                    <a:pt x="2003230" y="1329855"/>
                    <a:pt x="1982632" y="1471433"/>
                  </a:cubicBezTo>
                  <a:cubicBezTo>
                    <a:pt x="1963900" y="1600846"/>
                    <a:pt x="1963304" y="1726454"/>
                    <a:pt x="1963265" y="1860900"/>
                  </a:cubicBezTo>
                  <a:cubicBezTo>
                    <a:pt x="1955407" y="1861771"/>
                    <a:pt x="1947509" y="1862643"/>
                    <a:pt x="1939690" y="1863594"/>
                  </a:cubicBezTo>
                  <a:cubicBezTo>
                    <a:pt x="1906829" y="1867556"/>
                    <a:pt x="1872817" y="1871598"/>
                    <a:pt x="1839876" y="1872390"/>
                  </a:cubicBezTo>
                  <a:lnTo>
                    <a:pt x="1116174" y="1889667"/>
                  </a:lnTo>
                  <a:cubicBezTo>
                    <a:pt x="884478" y="1895095"/>
                    <a:pt x="652703" y="1900484"/>
                    <a:pt x="420968" y="1906467"/>
                  </a:cubicBezTo>
                  <a:cubicBezTo>
                    <a:pt x="385725" y="1907418"/>
                    <a:pt x="349768" y="1906230"/>
                    <a:pt x="313534" y="1905160"/>
                  </a:cubicBezTo>
                  <a:cubicBezTo>
                    <a:pt x="292618" y="1904486"/>
                    <a:pt x="271584" y="1904130"/>
                    <a:pt x="250589" y="1903852"/>
                  </a:cubicBezTo>
                  <a:lnTo>
                    <a:pt x="250391" y="1308181"/>
                  </a:lnTo>
                  <a:cubicBezTo>
                    <a:pt x="250391" y="1284961"/>
                    <a:pt x="249081" y="1222632"/>
                    <a:pt x="247374" y="1139540"/>
                  </a:cubicBezTo>
                  <a:cubicBezTo>
                    <a:pt x="242651" y="915228"/>
                    <a:pt x="231976" y="404709"/>
                    <a:pt x="244557" y="317694"/>
                  </a:cubicBezTo>
                  <a:close/>
                  <a:moveTo>
                    <a:pt x="1059342" y="61444"/>
                  </a:moveTo>
                  <a:cubicBezTo>
                    <a:pt x="1061604" y="57997"/>
                    <a:pt x="1064580" y="55699"/>
                    <a:pt x="1067517" y="53321"/>
                  </a:cubicBezTo>
                  <a:cubicBezTo>
                    <a:pt x="1066525" y="113787"/>
                    <a:pt x="1065533" y="174254"/>
                    <a:pt x="1064541" y="234721"/>
                  </a:cubicBezTo>
                  <a:cubicBezTo>
                    <a:pt x="1059580" y="235077"/>
                    <a:pt x="1054658" y="235434"/>
                    <a:pt x="1049737" y="235830"/>
                  </a:cubicBezTo>
                  <a:cubicBezTo>
                    <a:pt x="1049578" y="230481"/>
                    <a:pt x="1049420" y="225092"/>
                    <a:pt x="1049181" y="219069"/>
                  </a:cubicBezTo>
                  <a:cubicBezTo>
                    <a:pt x="1047396" y="172075"/>
                    <a:pt x="1044141" y="84584"/>
                    <a:pt x="1059342" y="61444"/>
                  </a:cubicBezTo>
                  <a:close/>
                  <a:moveTo>
                    <a:pt x="1108752" y="41355"/>
                  </a:moveTo>
                  <a:cubicBezTo>
                    <a:pt x="1129985" y="42504"/>
                    <a:pt x="1149472" y="51538"/>
                    <a:pt x="1157886" y="64891"/>
                  </a:cubicBezTo>
                  <a:cubicBezTo>
                    <a:pt x="1170665" y="85060"/>
                    <a:pt x="1164117" y="127854"/>
                    <a:pt x="1158838" y="162208"/>
                  </a:cubicBezTo>
                  <a:cubicBezTo>
                    <a:pt x="1155901" y="181426"/>
                    <a:pt x="1153084" y="199613"/>
                    <a:pt x="1153084" y="214988"/>
                  </a:cubicBezTo>
                  <a:cubicBezTo>
                    <a:pt x="1153084" y="219862"/>
                    <a:pt x="1155028" y="224181"/>
                    <a:pt x="1157886" y="227707"/>
                  </a:cubicBezTo>
                  <a:cubicBezTo>
                    <a:pt x="1140542" y="229015"/>
                    <a:pt x="1123000" y="230323"/>
                    <a:pt x="1105617" y="231630"/>
                  </a:cubicBezTo>
                  <a:cubicBezTo>
                    <a:pt x="1106649" y="168191"/>
                    <a:pt x="1107721" y="104793"/>
                    <a:pt x="1108752" y="41355"/>
                  </a:cubicBezTo>
                  <a:close/>
                  <a:moveTo>
                    <a:pt x="1808126" y="3705011"/>
                  </a:moveTo>
                  <a:cubicBezTo>
                    <a:pt x="1666918" y="3726012"/>
                    <a:pt x="1880437" y="3697799"/>
                    <a:pt x="1849798" y="3700533"/>
                  </a:cubicBezTo>
                  <a:lnTo>
                    <a:pt x="1631239" y="2048996"/>
                  </a:lnTo>
                  <a:lnTo>
                    <a:pt x="1662830" y="2047807"/>
                  </a:lnTo>
                  <a:lnTo>
                    <a:pt x="1720297" y="2045905"/>
                  </a:lnTo>
                  <a:cubicBezTo>
                    <a:pt x="1826859" y="2042418"/>
                    <a:pt x="1933499" y="2039209"/>
                    <a:pt x="2040060" y="2034850"/>
                  </a:cubicBezTo>
                  <a:cubicBezTo>
                    <a:pt x="2103917" y="2032234"/>
                    <a:pt x="2208296" y="2047450"/>
                    <a:pt x="2217424" y="1969034"/>
                  </a:cubicBezTo>
                  <a:cubicBezTo>
                    <a:pt x="2227822" y="1960594"/>
                    <a:pt x="2227425" y="1942605"/>
                    <a:pt x="2216074" y="1935670"/>
                  </a:cubicBezTo>
                  <a:cubicBezTo>
                    <a:pt x="2204763" y="1881227"/>
                    <a:pt x="2151027" y="1861137"/>
                    <a:pt x="2095940" y="1856065"/>
                  </a:cubicBezTo>
                  <a:cubicBezTo>
                    <a:pt x="2065381" y="1853252"/>
                    <a:pt x="2034703" y="1854401"/>
                    <a:pt x="2004302" y="1856898"/>
                  </a:cubicBezTo>
                  <a:cubicBezTo>
                    <a:pt x="2004342" y="1726851"/>
                    <a:pt x="2004976" y="1603302"/>
                    <a:pt x="2023272" y="1477337"/>
                  </a:cubicBezTo>
                  <a:cubicBezTo>
                    <a:pt x="2044465" y="1331441"/>
                    <a:pt x="2034226" y="1178094"/>
                    <a:pt x="2024344" y="1029781"/>
                  </a:cubicBezTo>
                  <a:cubicBezTo>
                    <a:pt x="2020970" y="979419"/>
                    <a:pt x="2017597" y="929413"/>
                    <a:pt x="2015573" y="880200"/>
                  </a:cubicBezTo>
                  <a:cubicBezTo>
                    <a:pt x="2008032" y="702643"/>
                    <a:pt x="2003826" y="511773"/>
                    <a:pt x="2001960" y="261388"/>
                  </a:cubicBezTo>
                  <a:cubicBezTo>
                    <a:pt x="2001881" y="253384"/>
                    <a:pt x="1997118" y="246133"/>
                    <a:pt x="1989816" y="242844"/>
                  </a:cubicBezTo>
                  <a:cubicBezTo>
                    <a:pt x="1858569" y="184398"/>
                    <a:pt x="1710217" y="192244"/>
                    <a:pt x="1579169" y="199059"/>
                  </a:cubicBezTo>
                  <a:cubicBezTo>
                    <a:pt x="1449034" y="205953"/>
                    <a:pt x="1319017" y="215464"/>
                    <a:pt x="1190985" y="225211"/>
                  </a:cubicBezTo>
                  <a:cubicBezTo>
                    <a:pt x="1192771" y="222160"/>
                    <a:pt x="1194120" y="218792"/>
                    <a:pt x="1194120" y="214988"/>
                  </a:cubicBezTo>
                  <a:cubicBezTo>
                    <a:pt x="1194120" y="202704"/>
                    <a:pt x="1196660" y="186062"/>
                    <a:pt x="1199399" y="168390"/>
                  </a:cubicBezTo>
                  <a:cubicBezTo>
                    <a:pt x="1206027" y="125160"/>
                    <a:pt x="1213567" y="76144"/>
                    <a:pt x="1192572" y="43019"/>
                  </a:cubicBezTo>
                  <a:cubicBezTo>
                    <a:pt x="1176261" y="17223"/>
                    <a:pt x="1142130" y="344"/>
                    <a:pt x="1104427" y="-13"/>
                  </a:cubicBezTo>
                  <a:cubicBezTo>
                    <a:pt x="1070256" y="-13"/>
                    <a:pt x="1041323" y="14172"/>
                    <a:pt x="1025052" y="38977"/>
                  </a:cubicBezTo>
                  <a:cubicBezTo>
                    <a:pt x="1004335" y="70479"/>
                    <a:pt x="1005168" y="139860"/>
                    <a:pt x="1008184" y="220575"/>
                  </a:cubicBezTo>
                  <a:cubicBezTo>
                    <a:pt x="1008422" y="227153"/>
                    <a:pt x="1008661" y="233215"/>
                    <a:pt x="1008819" y="238921"/>
                  </a:cubicBezTo>
                  <a:cubicBezTo>
                    <a:pt x="753589" y="258376"/>
                    <a:pt x="491691" y="276723"/>
                    <a:pt x="229793" y="276723"/>
                  </a:cubicBezTo>
                  <a:cubicBezTo>
                    <a:pt x="224356" y="276802"/>
                    <a:pt x="218005" y="279655"/>
                    <a:pt x="214195" y="283577"/>
                  </a:cubicBezTo>
                  <a:cubicBezTo>
                    <a:pt x="198956" y="299388"/>
                    <a:pt x="190145" y="367541"/>
                    <a:pt x="206337" y="1140372"/>
                  </a:cubicBezTo>
                  <a:cubicBezTo>
                    <a:pt x="208044" y="1223068"/>
                    <a:pt x="209393" y="1285120"/>
                    <a:pt x="209393" y="1308181"/>
                  </a:cubicBezTo>
                  <a:lnTo>
                    <a:pt x="209552" y="1903812"/>
                  </a:lnTo>
                  <a:cubicBezTo>
                    <a:pt x="153275" y="1904843"/>
                    <a:pt x="55803" y="1885982"/>
                    <a:pt x="22306" y="1932303"/>
                  </a:cubicBezTo>
                  <a:cubicBezTo>
                    <a:pt x="-633" y="1964041"/>
                    <a:pt x="-9801" y="2044598"/>
                    <a:pt x="13893" y="2076931"/>
                  </a:cubicBezTo>
                  <a:cubicBezTo>
                    <a:pt x="47032" y="2122142"/>
                    <a:pt x="534910" y="2105143"/>
                    <a:pt x="537292" y="2090324"/>
                  </a:cubicBezTo>
                  <a:cubicBezTo>
                    <a:pt x="537252" y="2090522"/>
                    <a:pt x="261106" y="3816197"/>
                    <a:pt x="261106" y="3816197"/>
                  </a:cubicBezTo>
                  <a:cubicBezTo>
                    <a:pt x="259399" y="3826895"/>
                    <a:pt x="266305" y="3837039"/>
                    <a:pt x="276902" y="3839377"/>
                  </a:cubicBezTo>
                  <a:cubicBezTo>
                    <a:pt x="278410" y="3839733"/>
                    <a:pt x="279879" y="3839892"/>
                    <a:pt x="281386" y="3839892"/>
                  </a:cubicBezTo>
                  <a:cubicBezTo>
                    <a:pt x="290356" y="3839892"/>
                    <a:pt x="298492" y="3834067"/>
                    <a:pt x="301072" y="3825113"/>
                  </a:cubicBezTo>
                  <a:lnTo>
                    <a:pt x="508161" y="3112035"/>
                  </a:lnTo>
                  <a:cubicBezTo>
                    <a:pt x="529037" y="3040196"/>
                    <a:pt x="554278" y="2968872"/>
                    <a:pt x="578646" y="2899886"/>
                  </a:cubicBezTo>
                  <a:cubicBezTo>
                    <a:pt x="608888" y="2814496"/>
                    <a:pt x="640122" y="2726214"/>
                    <a:pt x="663498" y="2635791"/>
                  </a:cubicBezTo>
                  <a:cubicBezTo>
                    <a:pt x="678857" y="2576355"/>
                    <a:pt x="693661" y="2516799"/>
                    <a:pt x="708504" y="2457165"/>
                  </a:cubicBezTo>
                  <a:cubicBezTo>
                    <a:pt x="738150" y="2337896"/>
                    <a:pt x="768789" y="2214546"/>
                    <a:pt x="803595" y="2094722"/>
                  </a:cubicBezTo>
                  <a:cubicBezTo>
                    <a:pt x="805024" y="2089729"/>
                    <a:pt x="804309" y="2084658"/>
                    <a:pt x="802246" y="2080299"/>
                  </a:cubicBezTo>
                  <a:lnTo>
                    <a:pt x="1010724" y="2072454"/>
                  </a:lnTo>
                  <a:lnTo>
                    <a:pt x="1090377" y="3145161"/>
                  </a:lnTo>
                  <a:cubicBezTo>
                    <a:pt x="1091171" y="3155859"/>
                    <a:pt x="1100101" y="3164101"/>
                    <a:pt x="1111015" y="3164101"/>
                  </a:cubicBezTo>
                  <a:cubicBezTo>
                    <a:pt x="1121810" y="3164061"/>
                    <a:pt x="1130700" y="3155622"/>
                    <a:pt x="1131335" y="3144844"/>
                  </a:cubicBezTo>
                  <a:lnTo>
                    <a:pt x="1193327" y="2065519"/>
                  </a:lnTo>
                  <a:lnTo>
                    <a:pt x="1372476" y="2058783"/>
                  </a:lnTo>
                  <a:cubicBezTo>
                    <a:pt x="1445065" y="2333894"/>
                    <a:pt x="1514954" y="2619664"/>
                    <a:pt x="1580082" y="2908762"/>
                  </a:cubicBezTo>
                  <a:cubicBezTo>
                    <a:pt x="1615205" y="3064525"/>
                    <a:pt x="1663941" y="3222507"/>
                    <a:pt x="1711090" y="3375337"/>
                  </a:cubicBezTo>
                  <a:cubicBezTo>
                    <a:pt x="1744507" y="3483432"/>
                    <a:pt x="1778837" y="3595173"/>
                    <a:pt x="1808126" y="3705011"/>
                  </a:cubicBezTo>
                  <a:close/>
                </a:path>
              </a:pathLst>
            </a:custGeom>
            <a:grpFill/>
            <a:ln w="39688" cap="flat">
              <a:noFill/>
              <a:prstDash val="solid"/>
              <a:round/>
            </a:ln>
          </p:spPr>
          <p:txBody>
            <a:bodyPr rtlCol="0" anchor="ctr"/>
            <a:lstStyle/>
            <a:p>
              <a:endParaRPr lang="en-LT"/>
            </a:p>
          </p:txBody>
        </p:sp>
      </p:grpSp>
      <p:grpSp>
        <p:nvGrpSpPr>
          <p:cNvPr id="143" name="Graphic 142">
            <a:extLst>
              <a:ext uri="{FF2B5EF4-FFF2-40B4-BE49-F238E27FC236}">
                <a16:creationId xmlns:a16="http://schemas.microsoft.com/office/drawing/2014/main" id="{5758C76D-70FD-B947-81C4-07A580E9AC1D}"/>
              </a:ext>
            </a:extLst>
          </p:cNvPr>
          <p:cNvGrpSpPr/>
          <p:nvPr/>
        </p:nvGrpSpPr>
        <p:grpSpPr>
          <a:xfrm>
            <a:off x="2914879" y="1556298"/>
            <a:ext cx="657017" cy="1133925"/>
            <a:chOff x="5009734" y="1528902"/>
            <a:chExt cx="2224912" cy="3839904"/>
          </a:xfrm>
          <a:solidFill>
            <a:schemeClr val="tx1">
              <a:lumMod val="75000"/>
              <a:lumOff val="25000"/>
            </a:schemeClr>
          </a:solidFill>
        </p:grpSpPr>
        <p:sp>
          <p:nvSpPr>
            <p:cNvPr id="144" name="Freeform 143">
              <a:extLst>
                <a:ext uri="{FF2B5EF4-FFF2-40B4-BE49-F238E27FC236}">
                  <a16:creationId xmlns:a16="http://schemas.microsoft.com/office/drawing/2014/main" id="{E60A4F9C-9E6A-5B49-B269-B4CD962F4AB9}"/>
                </a:ext>
              </a:extLst>
            </p:cNvPr>
            <p:cNvSpPr/>
            <p:nvPr/>
          </p:nvSpPr>
          <p:spPr>
            <a:xfrm>
              <a:off x="5417566" y="2003597"/>
              <a:ext cx="1483633" cy="1215002"/>
            </a:xfrm>
            <a:custGeom>
              <a:avLst/>
              <a:gdLst>
                <a:gd name="connsiteX0" fmla="*/ 1034379 w 1483633"/>
                <a:gd name="connsiteY0" fmla="*/ 631692 h 1215002"/>
                <a:gd name="connsiteX1" fmla="*/ 973220 w 1483633"/>
                <a:gd name="connsiteY1" fmla="*/ 738004 h 1215002"/>
                <a:gd name="connsiteX2" fmla="*/ 904481 w 1483633"/>
                <a:gd name="connsiteY2" fmla="*/ 600469 h 1215002"/>
                <a:gd name="connsiteX3" fmla="*/ 976712 w 1483633"/>
                <a:gd name="connsiteY3" fmla="*/ 366686 h 1215002"/>
                <a:gd name="connsiteX4" fmla="*/ 1034379 w 1483633"/>
                <a:gd name="connsiteY4" fmla="*/ 631692 h 1215002"/>
                <a:gd name="connsiteX5" fmla="*/ 1388987 w 1483633"/>
                <a:gd name="connsiteY5" fmla="*/ 64987 h 1215002"/>
                <a:gd name="connsiteX6" fmla="*/ 1387756 w 1483633"/>
                <a:gd name="connsiteY6" fmla="*/ 69464 h 1215002"/>
                <a:gd name="connsiteX7" fmla="*/ 1387439 w 1483633"/>
                <a:gd name="connsiteY7" fmla="*/ 65898 h 1215002"/>
                <a:gd name="connsiteX8" fmla="*/ 1388987 w 1483633"/>
                <a:gd name="connsiteY8" fmla="*/ 64987 h 1215002"/>
                <a:gd name="connsiteX9" fmla="*/ 756050 w 1483633"/>
                <a:gd name="connsiteY9" fmla="*/ 959583 h 1215002"/>
                <a:gd name="connsiteX10" fmla="*/ 641750 w 1483633"/>
                <a:gd name="connsiteY10" fmla="*/ 724572 h 1215002"/>
                <a:gd name="connsiteX11" fmla="*/ 766130 w 1483633"/>
                <a:gd name="connsiteY11" fmla="*/ 367121 h 1215002"/>
                <a:gd name="connsiteX12" fmla="*/ 860547 w 1483633"/>
                <a:gd name="connsiteY12" fmla="*/ 603480 h 1215002"/>
                <a:gd name="connsiteX13" fmla="*/ 756050 w 1483633"/>
                <a:gd name="connsiteY13" fmla="*/ 959583 h 1215002"/>
                <a:gd name="connsiteX14" fmla="*/ 526973 w 1483633"/>
                <a:gd name="connsiteY14" fmla="*/ 947894 h 1215002"/>
                <a:gd name="connsiteX15" fmla="*/ 411006 w 1483633"/>
                <a:gd name="connsiteY15" fmla="*/ 661252 h 1215002"/>
                <a:gd name="connsiteX16" fmla="*/ 491492 w 1483633"/>
                <a:gd name="connsiteY16" fmla="*/ 498278 h 1215002"/>
                <a:gd name="connsiteX17" fmla="*/ 597180 w 1483633"/>
                <a:gd name="connsiteY17" fmla="*/ 727583 h 1215002"/>
                <a:gd name="connsiteX18" fmla="*/ 526973 w 1483633"/>
                <a:gd name="connsiteY18" fmla="*/ 947894 h 1215002"/>
                <a:gd name="connsiteX19" fmla="*/ 960798 w 1483633"/>
                <a:gd name="connsiteY19" fmla="*/ 280463 h 1215002"/>
                <a:gd name="connsiteX20" fmla="*/ 879478 w 1483633"/>
                <a:gd name="connsiteY20" fmla="*/ 541825 h 1215002"/>
                <a:gd name="connsiteX21" fmla="*/ 785022 w 1483633"/>
                <a:gd name="connsiteY21" fmla="*/ 300038 h 1215002"/>
                <a:gd name="connsiteX22" fmla="*/ 765773 w 1483633"/>
                <a:gd name="connsiteY22" fmla="*/ 286605 h 1215002"/>
                <a:gd name="connsiteX23" fmla="*/ 765694 w 1483633"/>
                <a:gd name="connsiteY23" fmla="*/ 286605 h 1215002"/>
                <a:gd name="connsiteX24" fmla="*/ 746445 w 1483633"/>
                <a:gd name="connsiteY24" fmla="*/ 300236 h 1215002"/>
                <a:gd name="connsiteX25" fmla="*/ 616508 w 1483633"/>
                <a:gd name="connsiteY25" fmla="*/ 670722 h 1215002"/>
                <a:gd name="connsiteX26" fmla="*/ 510940 w 1483633"/>
                <a:gd name="connsiteY26" fmla="*/ 441972 h 1215002"/>
                <a:gd name="connsiteX27" fmla="*/ 492604 w 1483633"/>
                <a:gd name="connsiteY27" fmla="*/ 429966 h 1215002"/>
                <a:gd name="connsiteX28" fmla="*/ 473871 w 1483633"/>
                <a:gd name="connsiteY28" fmla="*/ 441417 h 1215002"/>
                <a:gd name="connsiteX29" fmla="*/ 390607 w 1483633"/>
                <a:gd name="connsiteY29" fmla="*/ 610018 h 1215002"/>
                <a:gd name="connsiteX30" fmla="*/ 354094 w 1483633"/>
                <a:gd name="connsiteY30" fmla="*/ 518011 h 1215002"/>
                <a:gd name="connsiteX31" fmla="*/ 336433 w 1483633"/>
                <a:gd name="connsiteY31" fmla="*/ 505093 h 1215002"/>
                <a:gd name="connsiteX32" fmla="*/ 317106 w 1483633"/>
                <a:gd name="connsiteY32" fmla="*/ 515515 h 1215002"/>
                <a:gd name="connsiteX33" fmla="*/ 2622 w 1483633"/>
                <a:gd name="connsiteY33" fmla="*/ 1075246 h 1215002"/>
                <a:gd name="connsiteX34" fmla="*/ 10519 w 1483633"/>
                <a:gd name="connsiteY34" fmla="*/ 1103142 h 1215002"/>
                <a:gd name="connsiteX35" fmla="*/ 20521 w 1483633"/>
                <a:gd name="connsiteY35" fmla="*/ 1105757 h 1215002"/>
                <a:gd name="connsiteX36" fmla="*/ 38420 w 1483633"/>
                <a:gd name="connsiteY36" fmla="*/ 1095296 h 1215002"/>
                <a:gd name="connsiteX37" fmla="*/ 331790 w 1483633"/>
                <a:gd name="connsiteY37" fmla="*/ 573128 h 1215002"/>
                <a:gd name="connsiteX38" fmla="*/ 366040 w 1483633"/>
                <a:gd name="connsiteY38" fmla="*/ 659707 h 1215002"/>
                <a:gd name="connsiteX39" fmla="*/ 106404 w 1483633"/>
                <a:gd name="connsiteY39" fmla="*/ 1185401 h 1215002"/>
                <a:gd name="connsiteX40" fmla="*/ 115771 w 1483633"/>
                <a:gd name="connsiteY40" fmla="*/ 1212822 h 1215002"/>
                <a:gd name="connsiteX41" fmla="*/ 124819 w 1483633"/>
                <a:gd name="connsiteY41" fmla="*/ 1214922 h 1215002"/>
                <a:gd name="connsiteX42" fmla="*/ 143195 w 1483633"/>
                <a:gd name="connsiteY42" fmla="*/ 1203510 h 1215002"/>
                <a:gd name="connsiteX43" fmla="*/ 386400 w 1483633"/>
                <a:gd name="connsiteY43" fmla="*/ 711060 h 1215002"/>
                <a:gd name="connsiteX44" fmla="*/ 513122 w 1483633"/>
                <a:gd name="connsiteY44" fmla="*/ 1013987 h 1215002"/>
                <a:gd name="connsiteX45" fmla="*/ 513202 w 1483633"/>
                <a:gd name="connsiteY45" fmla="*/ 1014185 h 1215002"/>
                <a:gd name="connsiteX46" fmla="*/ 513281 w 1483633"/>
                <a:gd name="connsiteY46" fmla="*/ 1014185 h 1215002"/>
                <a:gd name="connsiteX47" fmla="*/ 539157 w 1483633"/>
                <a:gd name="connsiteY47" fmla="*/ 1031422 h 1215002"/>
                <a:gd name="connsiteX48" fmla="*/ 553643 w 1483633"/>
                <a:gd name="connsiteY48" fmla="*/ 1008440 h 1215002"/>
                <a:gd name="connsiteX49" fmla="*/ 622541 w 1483633"/>
                <a:gd name="connsiteY49" fmla="*/ 781552 h 1215002"/>
                <a:gd name="connsiteX50" fmla="*/ 769345 w 1483633"/>
                <a:gd name="connsiteY50" fmla="*/ 1032175 h 1215002"/>
                <a:gd name="connsiteX51" fmla="*/ 786291 w 1483633"/>
                <a:gd name="connsiteY51" fmla="*/ 1010421 h 1215002"/>
                <a:gd name="connsiteX52" fmla="*/ 886265 w 1483633"/>
                <a:gd name="connsiteY52" fmla="*/ 660183 h 1215002"/>
                <a:gd name="connsiteX53" fmla="*/ 971910 w 1483633"/>
                <a:gd name="connsiteY53" fmla="*/ 786980 h 1215002"/>
                <a:gd name="connsiteX54" fmla="*/ 996636 w 1483633"/>
                <a:gd name="connsiteY54" fmla="*/ 776916 h 1215002"/>
                <a:gd name="connsiteX55" fmla="*/ 1047435 w 1483633"/>
                <a:gd name="connsiteY55" fmla="*/ 691842 h 1215002"/>
                <a:gd name="connsiteX56" fmla="*/ 1101252 w 1483633"/>
                <a:gd name="connsiteY56" fmla="*/ 939414 h 1215002"/>
                <a:gd name="connsiteX57" fmla="*/ 1117167 w 1483633"/>
                <a:gd name="connsiteY57" fmla="*/ 955145 h 1215002"/>
                <a:gd name="connsiteX58" fmla="*/ 1138042 w 1483633"/>
                <a:gd name="connsiteY58" fmla="*/ 946943 h 1215002"/>
                <a:gd name="connsiteX59" fmla="*/ 1401012 w 1483633"/>
                <a:gd name="connsiteY59" fmla="*/ 566907 h 1215002"/>
                <a:gd name="connsiteX60" fmla="*/ 1368032 w 1483633"/>
                <a:gd name="connsiteY60" fmla="*/ 662164 h 1215002"/>
                <a:gd name="connsiteX61" fmla="*/ 1380731 w 1483633"/>
                <a:gd name="connsiteY61" fmla="*/ 688236 h 1215002"/>
                <a:gd name="connsiteX62" fmla="*/ 1387439 w 1483633"/>
                <a:gd name="connsiteY62" fmla="*/ 689346 h 1215002"/>
                <a:gd name="connsiteX63" fmla="*/ 1406806 w 1483633"/>
                <a:gd name="connsiteY63" fmla="*/ 675557 h 1215002"/>
                <a:gd name="connsiteX64" fmla="*/ 1482530 w 1483633"/>
                <a:gd name="connsiteY64" fmla="*/ 457148 h 1215002"/>
                <a:gd name="connsiteX65" fmla="*/ 1474791 w 1483633"/>
                <a:gd name="connsiteY65" fmla="*/ 433571 h 1215002"/>
                <a:gd name="connsiteX66" fmla="*/ 1449986 w 1483633"/>
                <a:gd name="connsiteY66" fmla="*/ 434721 h 1215002"/>
                <a:gd name="connsiteX67" fmla="*/ 1298499 w 1483633"/>
                <a:gd name="connsiteY67" fmla="*/ 561003 h 1215002"/>
                <a:gd name="connsiteX68" fmla="*/ 1295919 w 1483633"/>
                <a:gd name="connsiteY68" fmla="*/ 589849 h 1215002"/>
                <a:gd name="connsiteX69" fmla="*/ 1324772 w 1483633"/>
                <a:gd name="connsiteY69" fmla="*/ 592425 h 1215002"/>
                <a:gd name="connsiteX70" fmla="*/ 1347989 w 1483633"/>
                <a:gd name="connsiteY70" fmla="*/ 573089 h 1215002"/>
                <a:gd name="connsiteX71" fmla="*/ 1131454 w 1483633"/>
                <a:gd name="connsiteY71" fmla="*/ 885327 h 1215002"/>
                <a:gd name="connsiteX72" fmla="*/ 1077757 w 1483633"/>
                <a:gd name="connsiteY72" fmla="*/ 638191 h 1215002"/>
                <a:gd name="connsiteX73" fmla="*/ 1265717 w 1483633"/>
                <a:gd name="connsiteY73" fmla="*/ 297740 h 1215002"/>
                <a:gd name="connsiteX74" fmla="*/ 1285362 w 1483633"/>
                <a:gd name="connsiteY74" fmla="*/ 313907 h 1215002"/>
                <a:gd name="connsiteX75" fmla="*/ 1456415 w 1483633"/>
                <a:gd name="connsiteY75" fmla="*/ 313907 h 1215002"/>
                <a:gd name="connsiteX76" fmla="*/ 1476934 w 1483633"/>
                <a:gd name="connsiteY76" fmla="*/ 293460 h 1215002"/>
                <a:gd name="connsiteX77" fmla="*/ 1456415 w 1483633"/>
                <a:gd name="connsiteY77" fmla="*/ 272974 h 1215002"/>
                <a:gd name="connsiteX78" fmla="*/ 1285362 w 1483633"/>
                <a:gd name="connsiteY78" fmla="*/ 272974 h 1215002"/>
                <a:gd name="connsiteX79" fmla="*/ 1278497 w 1483633"/>
                <a:gd name="connsiteY79" fmla="*/ 274361 h 1215002"/>
                <a:gd name="connsiteX80" fmla="*/ 1385454 w 1483633"/>
                <a:gd name="connsiteY80" fmla="*/ 77944 h 1215002"/>
                <a:gd name="connsiteX81" fmla="*/ 1385891 w 1483633"/>
                <a:gd name="connsiteY81" fmla="*/ 76517 h 1215002"/>
                <a:gd name="connsiteX82" fmla="*/ 1347592 w 1483633"/>
                <a:gd name="connsiteY82" fmla="*/ 219917 h 1215002"/>
                <a:gd name="connsiteX83" fmla="*/ 1362118 w 1483633"/>
                <a:gd name="connsiteY83" fmla="*/ 244960 h 1215002"/>
                <a:gd name="connsiteX84" fmla="*/ 1367436 w 1483633"/>
                <a:gd name="connsiteY84" fmla="*/ 245674 h 1215002"/>
                <a:gd name="connsiteX85" fmla="*/ 1387240 w 1483633"/>
                <a:gd name="connsiteY85" fmla="*/ 230458 h 1215002"/>
                <a:gd name="connsiteX86" fmla="*/ 1441930 w 1483633"/>
                <a:gd name="connsiteY86" fmla="*/ 25680 h 1215002"/>
                <a:gd name="connsiteX87" fmla="*/ 1434310 w 1483633"/>
                <a:gd name="connsiteY87" fmla="*/ 3965 h 1215002"/>
                <a:gd name="connsiteX88" fmla="*/ 1411331 w 1483633"/>
                <a:gd name="connsiteY88" fmla="*/ 3014 h 1215002"/>
                <a:gd name="connsiteX89" fmla="*/ 1190430 w 1483633"/>
                <a:gd name="connsiteY89" fmla="*/ 139480 h 1215002"/>
                <a:gd name="connsiteX90" fmla="*/ 1183802 w 1483633"/>
                <a:gd name="connsiteY90" fmla="*/ 167693 h 1215002"/>
                <a:gd name="connsiteX91" fmla="*/ 1211980 w 1483633"/>
                <a:gd name="connsiteY91" fmla="*/ 174350 h 1215002"/>
                <a:gd name="connsiteX92" fmla="*/ 1324018 w 1483633"/>
                <a:gd name="connsiteY92" fmla="*/ 105087 h 1215002"/>
                <a:gd name="connsiteX93" fmla="*/ 1064581 w 1483633"/>
                <a:gd name="connsiteY93" fmla="*/ 577645 h 1215002"/>
                <a:gd name="connsiteX94" fmla="*/ 1000406 w 1483633"/>
                <a:gd name="connsiteY94" fmla="*/ 282286 h 1215002"/>
                <a:gd name="connsiteX95" fmla="*/ 981237 w 1483633"/>
                <a:gd name="connsiteY95" fmla="*/ 266159 h 1215002"/>
                <a:gd name="connsiteX96" fmla="*/ 960798 w 1483633"/>
                <a:gd name="connsiteY96" fmla="*/ 280463 h 12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483633" h="1215002">
                  <a:moveTo>
                    <a:pt x="1034379" y="631692"/>
                  </a:moveTo>
                  <a:cubicBezTo>
                    <a:pt x="1007232" y="679955"/>
                    <a:pt x="985404" y="718113"/>
                    <a:pt x="973220" y="738004"/>
                  </a:cubicBezTo>
                  <a:cubicBezTo>
                    <a:pt x="957861" y="716647"/>
                    <a:pt x="933096" y="666126"/>
                    <a:pt x="904481" y="600469"/>
                  </a:cubicBezTo>
                  <a:cubicBezTo>
                    <a:pt x="928651" y="521260"/>
                    <a:pt x="953813" y="440189"/>
                    <a:pt x="976712" y="366686"/>
                  </a:cubicBezTo>
                  <a:lnTo>
                    <a:pt x="1034379" y="631692"/>
                  </a:lnTo>
                  <a:close/>
                  <a:moveTo>
                    <a:pt x="1388987" y="64987"/>
                  </a:moveTo>
                  <a:lnTo>
                    <a:pt x="1387756" y="69464"/>
                  </a:lnTo>
                  <a:cubicBezTo>
                    <a:pt x="1387835" y="68276"/>
                    <a:pt x="1387558" y="67087"/>
                    <a:pt x="1387439" y="65898"/>
                  </a:cubicBezTo>
                  <a:lnTo>
                    <a:pt x="1388987" y="64987"/>
                  </a:lnTo>
                  <a:close/>
                  <a:moveTo>
                    <a:pt x="756050" y="959583"/>
                  </a:moveTo>
                  <a:cubicBezTo>
                    <a:pt x="730531" y="911043"/>
                    <a:pt x="687708" y="822166"/>
                    <a:pt x="641750" y="724572"/>
                  </a:cubicBezTo>
                  <a:cubicBezTo>
                    <a:pt x="680881" y="609265"/>
                    <a:pt x="726840" y="477752"/>
                    <a:pt x="766130" y="367121"/>
                  </a:cubicBezTo>
                  <a:cubicBezTo>
                    <a:pt x="801651" y="462022"/>
                    <a:pt x="833083" y="540596"/>
                    <a:pt x="860547" y="603480"/>
                  </a:cubicBezTo>
                  <a:cubicBezTo>
                    <a:pt x="818478" y="741016"/>
                    <a:pt x="775576" y="884495"/>
                    <a:pt x="756050" y="959583"/>
                  </a:cubicBezTo>
                  <a:close/>
                  <a:moveTo>
                    <a:pt x="526973" y="947894"/>
                  </a:moveTo>
                  <a:cubicBezTo>
                    <a:pt x="500184" y="883782"/>
                    <a:pt x="454782" y="770972"/>
                    <a:pt x="411006" y="661252"/>
                  </a:cubicBezTo>
                  <a:lnTo>
                    <a:pt x="491492" y="498278"/>
                  </a:lnTo>
                  <a:cubicBezTo>
                    <a:pt x="533085" y="589334"/>
                    <a:pt x="567812" y="664700"/>
                    <a:pt x="597180" y="727583"/>
                  </a:cubicBezTo>
                  <a:cubicBezTo>
                    <a:pt x="567415" y="816025"/>
                    <a:pt x="541856" y="894996"/>
                    <a:pt x="526973" y="947894"/>
                  </a:cubicBezTo>
                  <a:close/>
                  <a:moveTo>
                    <a:pt x="960798" y="280463"/>
                  </a:moveTo>
                  <a:cubicBezTo>
                    <a:pt x="947621" y="322346"/>
                    <a:pt x="915237" y="425686"/>
                    <a:pt x="879478" y="541825"/>
                  </a:cubicBezTo>
                  <a:cubicBezTo>
                    <a:pt x="848641" y="467886"/>
                    <a:pt x="815343" y="382496"/>
                    <a:pt x="785022" y="300038"/>
                  </a:cubicBezTo>
                  <a:cubicBezTo>
                    <a:pt x="782085" y="291994"/>
                    <a:pt x="774385" y="286605"/>
                    <a:pt x="765773" y="286605"/>
                  </a:cubicBezTo>
                  <a:lnTo>
                    <a:pt x="765694" y="286605"/>
                  </a:lnTo>
                  <a:cubicBezTo>
                    <a:pt x="757042" y="286684"/>
                    <a:pt x="749342" y="292113"/>
                    <a:pt x="746445" y="300236"/>
                  </a:cubicBezTo>
                  <a:cubicBezTo>
                    <a:pt x="708385" y="406666"/>
                    <a:pt x="659609" y="544440"/>
                    <a:pt x="616508" y="670722"/>
                  </a:cubicBezTo>
                  <a:cubicBezTo>
                    <a:pt x="579202" y="590999"/>
                    <a:pt x="541618" y="509373"/>
                    <a:pt x="510940" y="441972"/>
                  </a:cubicBezTo>
                  <a:cubicBezTo>
                    <a:pt x="507645" y="434760"/>
                    <a:pt x="500502" y="430084"/>
                    <a:pt x="492604" y="429966"/>
                  </a:cubicBezTo>
                  <a:cubicBezTo>
                    <a:pt x="483277" y="429054"/>
                    <a:pt x="477404" y="434285"/>
                    <a:pt x="473871" y="441417"/>
                  </a:cubicBezTo>
                  <a:lnTo>
                    <a:pt x="390607" y="610018"/>
                  </a:lnTo>
                  <a:cubicBezTo>
                    <a:pt x="377827" y="577883"/>
                    <a:pt x="365485" y="546738"/>
                    <a:pt x="354094" y="518011"/>
                  </a:cubicBezTo>
                  <a:cubicBezTo>
                    <a:pt x="351237" y="510641"/>
                    <a:pt x="344331" y="505608"/>
                    <a:pt x="336433" y="505093"/>
                  </a:cubicBezTo>
                  <a:cubicBezTo>
                    <a:pt x="328020" y="504776"/>
                    <a:pt x="320995" y="508659"/>
                    <a:pt x="317106" y="515515"/>
                  </a:cubicBezTo>
                  <a:lnTo>
                    <a:pt x="2622" y="1075246"/>
                  </a:lnTo>
                  <a:cubicBezTo>
                    <a:pt x="-2895" y="1085113"/>
                    <a:pt x="597" y="1097595"/>
                    <a:pt x="10519" y="1103142"/>
                  </a:cubicBezTo>
                  <a:cubicBezTo>
                    <a:pt x="13655" y="1104925"/>
                    <a:pt x="17108" y="1105757"/>
                    <a:pt x="20521" y="1105757"/>
                  </a:cubicBezTo>
                  <a:cubicBezTo>
                    <a:pt x="27704" y="1105757"/>
                    <a:pt x="34649" y="1101993"/>
                    <a:pt x="38420" y="1095296"/>
                  </a:cubicBezTo>
                  <a:lnTo>
                    <a:pt x="331790" y="573128"/>
                  </a:lnTo>
                  <a:cubicBezTo>
                    <a:pt x="344093" y="604154"/>
                    <a:pt x="355364" y="632683"/>
                    <a:pt x="366040" y="659707"/>
                  </a:cubicBezTo>
                  <a:lnTo>
                    <a:pt x="106404" y="1185401"/>
                  </a:lnTo>
                  <a:cubicBezTo>
                    <a:pt x="101404" y="1195546"/>
                    <a:pt x="105571" y="1207829"/>
                    <a:pt x="115771" y="1212822"/>
                  </a:cubicBezTo>
                  <a:cubicBezTo>
                    <a:pt x="118628" y="1214288"/>
                    <a:pt x="121764" y="1214922"/>
                    <a:pt x="124819" y="1214922"/>
                  </a:cubicBezTo>
                  <a:cubicBezTo>
                    <a:pt x="132360" y="1214922"/>
                    <a:pt x="139623" y="1210761"/>
                    <a:pt x="143195" y="1203510"/>
                  </a:cubicBezTo>
                  <a:lnTo>
                    <a:pt x="386400" y="711060"/>
                  </a:lnTo>
                  <a:cubicBezTo>
                    <a:pt x="462957" y="903991"/>
                    <a:pt x="495342" y="983081"/>
                    <a:pt x="513122" y="1013987"/>
                  </a:cubicBezTo>
                  <a:cubicBezTo>
                    <a:pt x="513122" y="1014067"/>
                    <a:pt x="513202" y="1014146"/>
                    <a:pt x="513202" y="1014185"/>
                  </a:cubicBezTo>
                  <a:lnTo>
                    <a:pt x="513281" y="1014185"/>
                  </a:lnTo>
                  <a:cubicBezTo>
                    <a:pt x="525505" y="1035463"/>
                    <a:pt x="530942" y="1033879"/>
                    <a:pt x="539157" y="1031422"/>
                  </a:cubicBezTo>
                  <a:cubicBezTo>
                    <a:pt x="549317" y="1028411"/>
                    <a:pt x="555747" y="1018782"/>
                    <a:pt x="553643" y="1008440"/>
                  </a:cubicBezTo>
                  <a:cubicBezTo>
                    <a:pt x="554040" y="991758"/>
                    <a:pt x="582933" y="899909"/>
                    <a:pt x="622541" y="781552"/>
                  </a:cubicBezTo>
                  <a:cubicBezTo>
                    <a:pt x="743508" y="1037564"/>
                    <a:pt x="753906" y="1035741"/>
                    <a:pt x="769345" y="1032175"/>
                  </a:cubicBezTo>
                  <a:cubicBezTo>
                    <a:pt x="778394" y="1030233"/>
                    <a:pt x="785736" y="1019653"/>
                    <a:pt x="786291" y="1010421"/>
                  </a:cubicBezTo>
                  <a:cubicBezTo>
                    <a:pt x="787363" y="990728"/>
                    <a:pt x="832607" y="836550"/>
                    <a:pt x="886265" y="660183"/>
                  </a:cubicBezTo>
                  <a:cubicBezTo>
                    <a:pt x="924761" y="741452"/>
                    <a:pt x="953456" y="784167"/>
                    <a:pt x="971910" y="786980"/>
                  </a:cubicBezTo>
                  <a:cubicBezTo>
                    <a:pt x="981594" y="788644"/>
                    <a:pt x="990683" y="784721"/>
                    <a:pt x="996636" y="776916"/>
                  </a:cubicBezTo>
                  <a:cubicBezTo>
                    <a:pt x="1003065" y="768515"/>
                    <a:pt x="1021718" y="736975"/>
                    <a:pt x="1047435" y="691842"/>
                  </a:cubicBezTo>
                  <a:lnTo>
                    <a:pt x="1101252" y="939414"/>
                  </a:lnTo>
                  <a:cubicBezTo>
                    <a:pt x="1102998" y="947379"/>
                    <a:pt x="1109229" y="953521"/>
                    <a:pt x="1117167" y="955145"/>
                  </a:cubicBezTo>
                  <a:cubicBezTo>
                    <a:pt x="1125303" y="956730"/>
                    <a:pt x="1133319" y="953560"/>
                    <a:pt x="1138042" y="946943"/>
                  </a:cubicBezTo>
                  <a:cubicBezTo>
                    <a:pt x="1285918" y="738837"/>
                    <a:pt x="1361919" y="627493"/>
                    <a:pt x="1401012" y="566907"/>
                  </a:cubicBezTo>
                  <a:lnTo>
                    <a:pt x="1368032" y="662164"/>
                  </a:lnTo>
                  <a:cubicBezTo>
                    <a:pt x="1364340" y="672862"/>
                    <a:pt x="1369976" y="684512"/>
                    <a:pt x="1380731" y="688236"/>
                  </a:cubicBezTo>
                  <a:cubicBezTo>
                    <a:pt x="1382914" y="688989"/>
                    <a:pt x="1385176" y="689346"/>
                    <a:pt x="1387439" y="689346"/>
                  </a:cubicBezTo>
                  <a:cubicBezTo>
                    <a:pt x="1395892" y="689346"/>
                    <a:pt x="1403869" y="684036"/>
                    <a:pt x="1406806" y="675557"/>
                  </a:cubicBezTo>
                  <a:lnTo>
                    <a:pt x="1482530" y="457148"/>
                  </a:lnTo>
                  <a:cubicBezTo>
                    <a:pt x="1485506" y="448430"/>
                    <a:pt x="1482371" y="438842"/>
                    <a:pt x="1474791" y="433571"/>
                  </a:cubicBezTo>
                  <a:cubicBezTo>
                    <a:pt x="1467171" y="428341"/>
                    <a:pt x="1457011" y="428896"/>
                    <a:pt x="1449986" y="434721"/>
                  </a:cubicBezTo>
                  <a:lnTo>
                    <a:pt x="1298499" y="561003"/>
                  </a:lnTo>
                  <a:cubicBezTo>
                    <a:pt x="1289847" y="568254"/>
                    <a:pt x="1288656" y="581132"/>
                    <a:pt x="1295919" y="589849"/>
                  </a:cubicBezTo>
                  <a:cubicBezTo>
                    <a:pt x="1303182" y="598527"/>
                    <a:pt x="1316120" y="599676"/>
                    <a:pt x="1324772" y="592425"/>
                  </a:cubicBezTo>
                  <a:lnTo>
                    <a:pt x="1347989" y="573089"/>
                  </a:lnTo>
                  <a:cubicBezTo>
                    <a:pt x="1291792" y="656933"/>
                    <a:pt x="1202812" y="784444"/>
                    <a:pt x="1131454" y="885327"/>
                  </a:cubicBezTo>
                  <a:lnTo>
                    <a:pt x="1077757" y="638191"/>
                  </a:lnTo>
                  <a:cubicBezTo>
                    <a:pt x="1132367" y="540913"/>
                    <a:pt x="1204598" y="409520"/>
                    <a:pt x="1265717" y="297740"/>
                  </a:cubicBezTo>
                  <a:cubicBezTo>
                    <a:pt x="1267741" y="306893"/>
                    <a:pt x="1275560" y="313907"/>
                    <a:pt x="1285362" y="313907"/>
                  </a:cubicBezTo>
                  <a:lnTo>
                    <a:pt x="1456415" y="313907"/>
                  </a:lnTo>
                  <a:cubicBezTo>
                    <a:pt x="1467766" y="313907"/>
                    <a:pt x="1476934" y="304753"/>
                    <a:pt x="1476934" y="293460"/>
                  </a:cubicBezTo>
                  <a:cubicBezTo>
                    <a:pt x="1476934" y="282128"/>
                    <a:pt x="1467766" y="272974"/>
                    <a:pt x="1456415" y="272974"/>
                  </a:cubicBezTo>
                  <a:lnTo>
                    <a:pt x="1285362" y="272974"/>
                  </a:lnTo>
                  <a:cubicBezTo>
                    <a:pt x="1282942" y="272974"/>
                    <a:pt x="1280679" y="273569"/>
                    <a:pt x="1278497" y="274361"/>
                  </a:cubicBezTo>
                  <a:cubicBezTo>
                    <a:pt x="1331162" y="177995"/>
                    <a:pt x="1373508" y="99896"/>
                    <a:pt x="1385454" y="77944"/>
                  </a:cubicBezTo>
                  <a:cubicBezTo>
                    <a:pt x="1385692" y="77468"/>
                    <a:pt x="1385692" y="76953"/>
                    <a:pt x="1385891" y="76517"/>
                  </a:cubicBezTo>
                  <a:lnTo>
                    <a:pt x="1347592" y="219917"/>
                  </a:lnTo>
                  <a:cubicBezTo>
                    <a:pt x="1344655" y="230854"/>
                    <a:pt x="1351204" y="242068"/>
                    <a:pt x="1362118" y="244960"/>
                  </a:cubicBezTo>
                  <a:cubicBezTo>
                    <a:pt x="1363904" y="245435"/>
                    <a:pt x="1365690" y="245674"/>
                    <a:pt x="1367436" y="245674"/>
                  </a:cubicBezTo>
                  <a:cubicBezTo>
                    <a:pt x="1376525" y="245674"/>
                    <a:pt x="1384820" y="239611"/>
                    <a:pt x="1387240" y="230458"/>
                  </a:cubicBezTo>
                  <a:lnTo>
                    <a:pt x="1441930" y="25680"/>
                  </a:lnTo>
                  <a:cubicBezTo>
                    <a:pt x="1444112" y="17557"/>
                    <a:pt x="1441096" y="8958"/>
                    <a:pt x="1434310" y="3965"/>
                  </a:cubicBezTo>
                  <a:cubicBezTo>
                    <a:pt x="1427642" y="-1027"/>
                    <a:pt x="1418395" y="-1463"/>
                    <a:pt x="1411331" y="3014"/>
                  </a:cubicBezTo>
                  <a:lnTo>
                    <a:pt x="1190430" y="139480"/>
                  </a:lnTo>
                  <a:cubicBezTo>
                    <a:pt x="1180786" y="145464"/>
                    <a:pt x="1177809" y="158064"/>
                    <a:pt x="1183802" y="167693"/>
                  </a:cubicBezTo>
                  <a:cubicBezTo>
                    <a:pt x="1189755" y="177322"/>
                    <a:pt x="1202455" y="180293"/>
                    <a:pt x="1211980" y="174350"/>
                  </a:cubicBezTo>
                  <a:lnTo>
                    <a:pt x="1324018" y="105087"/>
                  </a:lnTo>
                  <a:cubicBezTo>
                    <a:pt x="1255755" y="230695"/>
                    <a:pt x="1145583" y="432303"/>
                    <a:pt x="1064581" y="577645"/>
                  </a:cubicBezTo>
                  <a:lnTo>
                    <a:pt x="1000406" y="282286"/>
                  </a:lnTo>
                  <a:cubicBezTo>
                    <a:pt x="998421" y="273212"/>
                    <a:pt x="990563" y="266595"/>
                    <a:pt x="981237" y="266159"/>
                  </a:cubicBezTo>
                  <a:cubicBezTo>
                    <a:pt x="971831" y="265327"/>
                    <a:pt x="963536" y="271627"/>
                    <a:pt x="960798" y="280463"/>
                  </a:cubicBezTo>
                  <a:close/>
                </a:path>
              </a:pathLst>
            </a:custGeom>
            <a:grpFill/>
            <a:ln w="39688" cap="flat">
              <a:noFill/>
              <a:prstDash val="solid"/>
              <a:round/>
            </a:ln>
          </p:spPr>
          <p:txBody>
            <a:bodyPr rtlCol="0" anchor="ctr"/>
            <a:lstStyle/>
            <a:p>
              <a:endParaRPr lang="en-LT"/>
            </a:p>
          </p:txBody>
        </p:sp>
        <p:sp>
          <p:nvSpPr>
            <p:cNvPr id="145" name="Freeform 144">
              <a:extLst>
                <a:ext uri="{FF2B5EF4-FFF2-40B4-BE49-F238E27FC236}">
                  <a16:creationId xmlns:a16="http://schemas.microsoft.com/office/drawing/2014/main" id="{BE0C4BC1-757B-484D-9BDB-67ECBE076F33}"/>
                </a:ext>
              </a:extLst>
            </p:cNvPr>
            <p:cNvSpPr/>
            <p:nvPr/>
          </p:nvSpPr>
          <p:spPr>
            <a:xfrm>
              <a:off x="5314661" y="2323207"/>
              <a:ext cx="178118" cy="45966"/>
            </a:xfrm>
            <a:custGeom>
              <a:avLst/>
              <a:gdLst>
                <a:gd name="connsiteX0" fmla="*/ 20416 w 178118"/>
                <a:gd name="connsiteY0" fmla="*/ 45866 h 45966"/>
                <a:gd name="connsiteX1" fmla="*/ 22837 w 178118"/>
                <a:gd name="connsiteY1" fmla="*/ 45746 h 45966"/>
                <a:gd name="connsiteX2" fmla="*/ 156068 w 178118"/>
                <a:gd name="connsiteY2" fmla="*/ 42656 h 45966"/>
                <a:gd name="connsiteX3" fmla="*/ 178015 w 178118"/>
                <a:gd name="connsiteY3" fmla="*/ 23675 h 45966"/>
                <a:gd name="connsiteX4" fmla="*/ 159045 w 178118"/>
                <a:gd name="connsiteY4" fmla="*/ 1803 h 45966"/>
                <a:gd name="connsiteX5" fmla="*/ 18035 w 178118"/>
                <a:gd name="connsiteY5" fmla="*/ 5052 h 45966"/>
                <a:gd name="connsiteX6" fmla="*/ 96 w 178118"/>
                <a:gd name="connsiteY6" fmla="*/ 27836 h 45966"/>
                <a:gd name="connsiteX7" fmla="*/ 20416 w 178118"/>
                <a:gd name="connsiteY7" fmla="*/ 45866 h 4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118" h="45966">
                  <a:moveTo>
                    <a:pt x="20416" y="45866"/>
                  </a:moveTo>
                  <a:cubicBezTo>
                    <a:pt x="21250" y="45866"/>
                    <a:pt x="22043" y="45866"/>
                    <a:pt x="22837" y="45746"/>
                  </a:cubicBezTo>
                  <a:cubicBezTo>
                    <a:pt x="66930" y="40516"/>
                    <a:pt x="111777" y="39446"/>
                    <a:pt x="156068" y="42656"/>
                  </a:cubicBezTo>
                  <a:cubicBezTo>
                    <a:pt x="167379" y="43646"/>
                    <a:pt x="177182" y="35048"/>
                    <a:pt x="178015" y="23675"/>
                  </a:cubicBezTo>
                  <a:cubicBezTo>
                    <a:pt x="178809" y="12422"/>
                    <a:pt x="170316" y="2595"/>
                    <a:pt x="159045" y="1803"/>
                  </a:cubicBezTo>
                  <a:cubicBezTo>
                    <a:pt x="112134" y="-1565"/>
                    <a:pt x="64628" y="-455"/>
                    <a:pt x="18035" y="5052"/>
                  </a:cubicBezTo>
                  <a:cubicBezTo>
                    <a:pt x="6803" y="6400"/>
                    <a:pt x="-1253" y="16583"/>
                    <a:pt x="96" y="27836"/>
                  </a:cubicBezTo>
                  <a:cubicBezTo>
                    <a:pt x="1327" y="38218"/>
                    <a:pt x="10217" y="45866"/>
                    <a:pt x="20416" y="45866"/>
                  </a:cubicBezTo>
                  <a:close/>
                </a:path>
              </a:pathLst>
            </a:custGeom>
            <a:grpFill/>
            <a:ln w="39688" cap="flat">
              <a:noFill/>
              <a:prstDash val="solid"/>
              <a:round/>
            </a:ln>
          </p:spPr>
          <p:txBody>
            <a:bodyPr rtlCol="0" anchor="ctr"/>
            <a:lstStyle/>
            <a:p>
              <a:endParaRPr lang="en-LT"/>
            </a:p>
          </p:txBody>
        </p:sp>
        <p:sp>
          <p:nvSpPr>
            <p:cNvPr id="146" name="Freeform 145">
              <a:extLst>
                <a:ext uri="{FF2B5EF4-FFF2-40B4-BE49-F238E27FC236}">
                  <a16:creationId xmlns:a16="http://schemas.microsoft.com/office/drawing/2014/main" id="{AE5D0EE8-6C17-6149-B0DC-F2AF0079816E}"/>
                </a:ext>
              </a:extLst>
            </p:cNvPr>
            <p:cNvSpPr/>
            <p:nvPr/>
          </p:nvSpPr>
          <p:spPr>
            <a:xfrm>
              <a:off x="5581667" y="2324438"/>
              <a:ext cx="123031" cy="40932"/>
            </a:xfrm>
            <a:custGeom>
              <a:avLst/>
              <a:gdLst>
                <a:gd name="connsiteX0" fmla="*/ 102520 w 123031"/>
                <a:gd name="connsiteY0" fmla="*/ 40831 h 40932"/>
                <a:gd name="connsiteX1" fmla="*/ 122999 w 123031"/>
                <a:gd name="connsiteY1" fmla="*/ 20345 h 40932"/>
                <a:gd name="connsiteX2" fmla="*/ 102520 w 123031"/>
                <a:gd name="connsiteY2" fmla="*/ -101 h 40932"/>
                <a:gd name="connsiteX3" fmla="*/ 20447 w 123031"/>
                <a:gd name="connsiteY3" fmla="*/ -101 h 40932"/>
                <a:gd name="connsiteX4" fmla="*/ -32 w 123031"/>
                <a:gd name="connsiteY4" fmla="*/ 20345 h 40932"/>
                <a:gd name="connsiteX5" fmla="*/ 20447 w 123031"/>
                <a:gd name="connsiteY5" fmla="*/ 40831 h 40932"/>
                <a:gd name="connsiteX6" fmla="*/ 102520 w 123031"/>
                <a:gd name="connsiteY6" fmla="*/ 40831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031" h="40932">
                  <a:moveTo>
                    <a:pt x="102520" y="40831"/>
                  </a:moveTo>
                  <a:cubicBezTo>
                    <a:pt x="113831" y="40831"/>
                    <a:pt x="122999" y="31677"/>
                    <a:pt x="122999" y="20345"/>
                  </a:cubicBezTo>
                  <a:cubicBezTo>
                    <a:pt x="122999" y="9052"/>
                    <a:pt x="113831" y="-101"/>
                    <a:pt x="102520" y="-101"/>
                  </a:cubicBezTo>
                  <a:lnTo>
                    <a:pt x="20447" y="-101"/>
                  </a:lnTo>
                  <a:cubicBezTo>
                    <a:pt x="9136" y="-101"/>
                    <a:pt x="-32" y="9052"/>
                    <a:pt x="-32" y="20345"/>
                  </a:cubicBezTo>
                  <a:cubicBezTo>
                    <a:pt x="-32" y="31677"/>
                    <a:pt x="9136" y="40831"/>
                    <a:pt x="20447" y="40831"/>
                  </a:cubicBezTo>
                  <a:lnTo>
                    <a:pt x="102520" y="40831"/>
                  </a:lnTo>
                  <a:close/>
                </a:path>
              </a:pathLst>
            </a:custGeom>
            <a:grpFill/>
            <a:ln w="39688" cap="flat">
              <a:noFill/>
              <a:prstDash val="solid"/>
              <a:round/>
            </a:ln>
          </p:spPr>
          <p:txBody>
            <a:bodyPr rtlCol="0" anchor="ctr"/>
            <a:lstStyle/>
            <a:p>
              <a:endParaRPr lang="en-LT"/>
            </a:p>
          </p:txBody>
        </p:sp>
        <p:sp>
          <p:nvSpPr>
            <p:cNvPr id="147" name="Freeform 146">
              <a:extLst>
                <a:ext uri="{FF2B5EF4-FFF2-40B4-BE49-F238E27FC236}">
                  <a16:creationId xmlns:a16="http://schemas.microsoft.com/office/drawing/2014/main" id="{1978D536-DFE3-F04E-A0AC-A2C53C4162CC}"/>
                </a:ext>
              </a:extLst>
            </p:cNvPr>
            <p:cNvSpPr/>
            <p:nvPr/>
          </p:nvSpPr>
          <p:spPr>
            <a:xfrm>
              <a:off x="5807251" y="2310767"/>
              <a:ext cx="158115" cy="40971"/>
            </a:xfrm>
            <a:custGeom>
              <a:avLst/>
              <a:gdLst>
                <a:gd name="connsiteX0" fmla="*/ 20545 w 158115"/>
                <a:gd name="connsiteY0" fmla="*/ 40869 h 40971"/>
                <a:gd name="connsiteX1" fmla="*/ 137583 w 158115"/>
                <a:gd name="connsiteY1" fmla="*/ 40869 h 40971"/>
                <a:gd name="connsiteX2" fmla="*/ 158102 w 158115"/>
                <a:gd name="connsiteY2" fmla="*/ 20384 h 40971"/>
                <a:gd name="connsiteX3" fmla="*/ 137583 w 158115"/>
                <a:gd name="connsiteY3" fmla="*/ -103 h 40971"/>
                <a:gd name="connsiteX4" fmla="*/ 20545 w 158115"/>
                <a:gd name="connsiteY4" fmla="*/ -103 h 40971"/>
                <a:gd name="connsiteX5" fmla="*/ -13 w 158115"/>
                <a:gd name="connsiteY5" fmla="*/ 20384 h 40971"/>
                <a:gd name="connsiteX6" fmla="*/ 20545 w 158115"/>
                <a:gd name="connsiteY6" fmla="*/ 40869 h 40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115" h="40971">
                  <a:moveTo>
                    <a:pt x="20545" y="40869"/>
                  </a:moveTo>
                  <a:lnTo>
                    <a:pt x="137583" y="40869"/>
                  </a:lnTo>
                  <a:cubicBezTo>
                    <a:pt x="148895" y="40869"/>
                    <a:pt x="158102" y="31716"/>
                    <a:pt x="158102" y="20384"/>
                  </a:cubicBezTo>
                  <a:cubicBezTo>
                    <a:pt x="158102" y="9051"/>
                    <a:pt x="148895" y="-103"/>
                    <a:pt x="137583" y="-103"/>
                  </a:cubicBezTo>
                  <a:lnTo>
                    <a:pt x="20545" y="-103"/>
                  </a:lnTo>
                  <a:cubicBezTo>
                    <a:pt x="9194" y="-103"/>
                    <a:pt x="-13" y="9051"/>
                    <a:pt x="-13" y="20384"/>
                  </a:cubicBezTo>
                  <a:cubicBezTo>
                    <a:pt x="-13" y="31716"/>
                    <a:pt x="9194" y="40869"/>
                    <a:pt x="20545" y="40869"/>
                  </a:cubicBezTo>
                  <a:close/>
                </a:path>
              </a:pathLst>
            </a:custGeom>
            <a:grpFill/>
            <a:ln w="39688" cap="flat">
              <a:noFill/>
              <a:prstDash val="solid"/>
              <a:round/>
            </a:ln>
          </p:spPr>
          <p:txBody>
            <a:bodyPr rtlCol="0" anchor="ctr"/>
            <a:lstStyle/>
            <a:p>
              <a:endParaRPr lang="en-LT"/>
            </a:p>
          </p:txBody>
        </p:sp>
        <p:sp>
          <p:nvSpPr>
            <p:cNvPr id="148" name="Freeform 147">
              <a:extLst>
                <a:ext uri="{FF2B5EF4-FFF2-40B4-BE49-F238E27FC236}">
                  <a16:creationId xmlns:a16="http://schemas.microsoft.com/office/drawing/2014/main" id="{8C97EE9F-8DB3-0B4A-A44D-C31307915716}"/>
                </a:ext>
              </a:extLst>
            </p:cNvPr>
            <p:cNvSpPr/>
            <p:nvPr/>
          </p:nvSpPr>
          <p:spPr>
            <a:xfrm>
              <a:off x="6470470" y="2269836"/>
              <a:ext cx="116522" cy="40931"/>
            </a:xfrm>
            <a:custGeom>
              <a:avLst/>
              <a:gdLst>
                <a:gd name="connsiteX0" fmla="*/ 20557 w 116522"/>
                <a:gd name="connsiteY0" fmla="*/ -106 h 40931"/>
                <a:gd name="connsiteX1" fmla="*/ 38 w 116522"/>
                <a:gd name="connsiteY1" fmla="*/ 20340 h 40931"/>
                <a:gd name="connsiteX2" fmla="*/ 20557 w 116522"/>
                <a:gd name="connsiteY2" fmla="*/ 40826 h 40931"/>
                <a:gd name="connsiteX3" fmla="*/ 96043 w 116522"/>
                <a:gd name="connsiteY3" fmla="*/ 40826 h 40931"/>
                <a:gd name="connsiteX4" fmla="*/ 116561 w 116522"/>
                <a:gd name="connsiteY4" fmla="*/ 20340 h 40931"/>
                <a:gd name="connsiteX5" fmla="*/ 96043 w 116522"/>
                <a:gd name="connsiteY5" fmla="*/ -106 h 40931"/>
                <a:gd name="connsiteX6" fmla="*/ 20557 w 116522"/>
                <a:gd name="connsiteY6" fmla="*/ -106 h 40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522" h="40931">
                  <a:moveTo>
                    <a:pt x="20557" y="-106"/>
                  </a:moveTo>
                  <a:cubicBezTo>
                    <a:pt x="9206" y="-106"/>
                    <a:pt x="38" y="9048"/>
                    <a:pt x="38" y="20340"/>
                  </a:cubicBezTo>
                  <a:cubicBezTo>
                    <a:pt x="38" y="31673"/>
                    <a:pt x="9206" y="40826"/>
                    <a:pt x="20557" y="40826"/>
                  </a:cubicBezTo>
                  <a:lnTo>
                    <a:pt x="96043" y="40826"/>
                  </a:lnTo>
                  <a:cubicBezTo>
                    <a:pt x="107393" y="40826"/>
                    <a:pt x="116561" y="31673"/>
                    <a:pt x="116561" y="20340"/>
                  </a:cubicBezTo>
                  <a:cubicBezTo>
                    <a:pt x="116561" y="9048"/>
                    <a:pt x="107393" y="-106"/>
                    <a:pt x="96043" y="-106"/>
                  </a:cubicBezTo>
                  <a:lnTo>
                    <a:pt x="20557" y="-106"/>
                  </a:lnTo>
                  <a:close/>
                </a:path>
              </a:pathLst>
            </a:custGeom>
            <a:grpFill/>
            <a:ln w="39688" cap="flat">
              <a:noFill/>
              <a:prstDash val="solid"/>
              <a:round/>
            </a:ln>
          </p:spPr>
          <p:txBody>
            <a:bodyPr rtlCol="0" anchor="ctr"/>
            <a:lstStyle/>
            <a:p>
              <a:endParaRPr lang="en-LT"/>
            </a:p>
          </p:txBody>
        </p:sp>
        <p:sp>
          <p:nvSpPr>
            <p:cNvPr id="149" name="Freeform 148">
              <a:extLst>
                <a:ext uri="{FF2B5EF4-FFF2-40B4-BE49-F238E27FC236}">
                  <a16:creationId xmlns:a16="http://schemas.microsoft.com/office/drawing/2014/main" id="{9C471679-6ECC-E640-8AC8-4F893C8DA659}"/>
                </a:ext>
              </a:extLst>
            </p:cNvPr>
            <p:cNvSpPr/>
            <p:nvPr/>
          </p:nvSpPr>
          <p:spPr>
            <a:xfrm>
              <a:off x="5697912" y="3013860"/>
              <a:ext cx="213161" cy="40932"/>
            </a:xfrm>
            <a:custGeom>
              <a:avLst/>
              <a:gdLst>
                <a:gd name="connsiteX0" fmla="*/ 192624 w 213161"/>
                <a:gd name="connsiteY0" fmla="*/ 40886 h 40932"/>
                <a:gd name="connsiteX1" fmla="*/ 213142 w 213161"/>
                <a:gd name="connsiteY1" fmla="*/ 20439 h 40932"/>
                <a:gd name="connsiteX2" fmla="*/ 192624 w 213161"/>
                <a:gd name="connsiteY2" fmla="*/ -46 h 40932"/>
                <a:gd name="connsiteX3" fmla="*/ 20499 w 213161"/>
                <a:gd name="connsiteY3" fmla="*/ -46 h 40932"/>
                <a:gd name="connsiteX4" fmla="*/ -20 w 213161"/>
                <a:gd name="connsiteY4" fmla="*/ 20439 h 40932"/>
                <a:gd name="connsiteX5" fmla="*/ 20499 w 213161"/>
                <a:gd name="connsiteY5" fmla="*/ 40886 h 40932"/>
                <a:gd name="connsiteX6" fmla="*/ 192624 w 213161"/>
                <a:gd name="connsiteY6" fmla="*/ 4088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161" h="40932">
                  <a:moveTo>
                    <a:pt x="192624" y="40886"/>
                  </a:moveTo>
                  <a:cubicBezTo>
                    <a:pt x="203974" y="40886"/>
                    <a:pt x="213142" y="31732"/>
                    <a:pt x="213142" y="20439"/>
                  </a:cubicBezTo>
                  <a:cubicBezTo>
                    <a:pt x="213142" y="9107"/>
                    <a:pt x="203974" y="-46"/>
                    <a:pt x="192624" y="-46"/>
                  </a:cubicBezTo>
                  <a:lnTo>
                    <a:pt x="20499" y="-46"/>
                  </a:lnTo>
                  <a:cubicBezTo>
                    <a:pt x="9148" y="-46"/>
                    <a:pt x="-20" y="9107"/>
                    <a:pt x="-20" y="20439"/>
                  </a:cubicBezTo>
                  <a:cubicBezTo>
                    <a:pt x="-20" y="31732"/>
                    <a:pt x="9148" y="40886"/>
                    <a:pt x="20499" y="40886"/>
                  </a:cubicBezTo>
                  <a:lnTo>
                    <a:pt x="192624" y="40886"/>
                  </a:lnTo>
                  <a:close/>
                </a:path>
              </a:pathLst>
            </a:custGeom>
            <a:grpFill/>
            <a:ln w="39688" cap="flat">
              <a:noFill/>
              <a:prstDash val="solid"/>
              <a:round/>
            </a:ln>
          </p:spPr>
          <p:txBody>
            <a:bodyPr rtlCol="0" anchor="ctr"/>
            <a:lstStyle/>
            <a:p>
              <a:endParaRPr lang="en-LT"/>
            </a:p>
          </p:txBody>
        </p:sp>
        <p:sp>
          <p:nvSpPr>
            <p:cNvPr id="150" name="Freeform 149">
              <a:extLst>
                <a:ext uri="{FF2B5EF4-FFF2-40B4-BE49-F238E27FC236}">
                  <a16:creationId xmlns:a16="http://schemas.microsoft.com/office/drawing/2014/main" id="{3189F592-5363-F24B-B794-C199572D35F6}"/>
                </a:ext>
              </a:extLst>
            </p:cNvPr>
            <p:cNvSpPr/>
            <p:nvPr/>
          </p:nvSpPr>
          <p:spPr>
            <a:xfrm>
              <a:off x="6244846" y="3007045"/>
              <a:ext cx="172521" cy="40932"/>
            </a:xfrm>
            <a:custGeom>
              <a:avLst/>
              <a:gdLst>
                <a:gd name="connsiteX0" fmla="*/ 152065 w 172521"/>
                <a:gd name="connsiteY0" fmla="*/ 40885 h 40932"/>
                <a:gd name="connsiteX1" fmla="*/ 172544 w 172521"/>
                <a:gd name="connsiteY1" fmla="*/ 20399 h 40932"/>
                <a:gd name="connsiteX2" fmla="*/ 152065 w 172521"/>
                <a:gd name="connsiteY2" fmla="*/ -47 h 40932"/>
                <a:gd name="connsiteX3" fmla="*/ 20541 w 172521"/>
                <a:gd name="connsiteY3" fmla="*/ -47 h 40932"/>
                <a:gd name="connsiteX4" fmla="*/ 22 w 172521"/>
                <a:gd name="connsiteY4" fmla="*/ 20399 h 40932"/>
                <a:gd name="connsiteX5" fmla="*/ 20541 w 172521"/>
                <a:gd name="connsiteY5" fmla="*/ 40885 h 40932"/>
                <a:gd name="connsiteX6" fmla="*/ 152065 w 172521"/>
                <a:gd name="connsiteY6" fmla="*/ 40885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21" h="40932">
                  <a:moveTo>
                    <a:pt x="152065" y="40885"/>
                  </a:moveTo>
                  <a:cubicBezTo>
                    <a:pt x="163416" y="40885"/>
                    <a:pt x="172544" y="31732"/>
                    <a:pt x="172544" y="20399"/>
                  </a:cubicBezTo>
                  <a:cubicBezTo>
                    <a:pt x="172544" y="9106"/>
                    <a:pt x="163416" y="-47"/>
                    <a:pt x="152065" y="-47"/>
                  </a:cubicBezTo>
                  <a:lnTo>
                    <a:pt x="20541" y="-47"/>
                  </a:lnTo>
                  <a:cubicBezTo>
                    <a:pt x="9190" y="-47"/>
                    <a:pt x="22" y="9106"/>
                    <a:pt x="22" y="20399"/>
                  </a:cubicBezTo>
                  <a:cubicBezTo>
                    <a:pt x="22" y="31732"/>
                    <a:pt x="9190" y="40885"/>
                    <a:pt x="20541" y="40885"/>
                  </a:cubicBezTo>
                  <a:lnTo>
                    <a:pt x="152065" y="40885"/>
                  </a:lnTo>
                  <a:close/>
                </a:path>
              </a:pathLst>
            </a:custGeom>
            <a:grpFill/>
            <a:ln w="39688" cap="flat">
              <a:noFill/>
              <a:prstDash val="solid"/>
              <a:round/>
            </a:ln>
          </p:spPr>
          <p:txBody>
            <a:bodyPr rtlCol="0" anchor="ctr"/>
            <a:lstStyle/>
            <a:p>
              <a:endParaRPr lang="en-LT"/>
            </a:p>
          </p:txBody>
        </p:sp>
        <p:sp>
          <p:nvSpPr>
            <p:cNvPr id="151" name="Freeform 150">
              <a:extLst>
                <a:ext uri="{FF2B5EF4-FFF2-40B4-BE49-F238E27FC236}">
                  <a16:creationId xmlns:a16="http://schemas.microsoft.com/office/drawing/2014/main" id="{4BDF3A49-9C38-1E48-B755-E760F13CE641}"/>
                </a:ext>
              </a:extLst>
            </p:cNvPr>
            <p:cNvSpPr/>
            <p:nvPr/>
          </p:nvSpPr>
          <p:spPr>
            <a:xfrm>
              <a:off x="6490988" y="3013860"/>
              <a:ext cx="422275" cy="40932"/>
            </a:xfrm>
            <a:custGeom>
              <a:avLst/>
              <a:gdLst>
                <a:gd name="connsiteX0" fmla="*/ 20570 w 422275"/>
                <a:gd name="connsiteY0" fmla="*/ -46 h 40932"/>
                <a:gd name="connsiteX1" fmla="*/ 52 w 422275"/>
                <a:gd name="connsiteY1" fmla="*/ 20439 h 40932"/>
                <a:gd name="connsiteX2" fmla="*/ 20570 w 422275"/>
                <a:gd name="connsiteY2" fmla="*/ 40886 h 40932"/>
                <a:gd name="connsiteX3" fmla="*/ 401809 w 422275"/>
                <a:gd name="connsiteY3" fmla="*/ 40886 h 40932"/>
                <a:gd name="connsiteX4" fmla="*/ 422327 w 422275"/>
                <a:gd name="connsiteY4" fmla="*/ 20439 h 40932"/>
                <a:gd name="connsiteX5" fmla="*/ 401809 w 422275"/>
                <a:gd name="connsiteY5" fmla="*/ -46 h 40932"/>
                <a:gd name="connsiteX6" fmla="*/ 20570 w 422275"/>
                <a:gd name="connsiteY6" fmla="*/ -4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275" h="40932">
                  <a:moveTo>
                    <a:pt x="20570" y="-46"/>
                  </a:moveTo>
                  <a:cubicBezTo>
                    <a:pt x="9220" y="-46"/>
                    <a:pt x="52" y="9107"/>
                    <a:pt x="52" y="20439"/>
                  </a:cubicBezTo>
                  <a:cubicBezTo>
                    <a:pt x="52" y="31732"/>
                    <a:pt x="9220" y="40886"/>
                    <a:pt x="20570" y="40886"/>
                  </a:cubicBezTo>
                  <a:lnTo>
                    <a:pt x="401809" y="40886"/>
                  </a:lnTo>
                  <a:cubicBezTo>
                    <a:pt x="413159" y="40886"/>
                    <a:pt x="422327" y="31732"/>
                    <a:pt x="422327" y="20439"/>
                  </a:cubicBezTo>
                  <a:cubicBezTo>
                    <a:pt x="422327" y="9107"/>
                    <a:pt x="413159" y="-46"/>
                    <a:pt x="401809" y="-46"/>
                  </a:cubicBezTo>
                  <a:lnTo>
                    <a:pt x="20570" y="-46"/>
                  </a:lnTo>
                  <a:close/>
                </a:path>
              </a:pathLst>
            </a:custGeom>
            <a:grpFill/>
            <a:ln w="39688" cap="flat">
              <a:noFill/>
              <a:prstDash val="solid"/>
              <a:round/>
            </a:ln>
          </p:spPr>
          <p:txBody>
            <a:bodyPr rtlCol="0" anchor="ctr"/>
            <a:lstStyle/>
            <a:p>
              <a:endParaRPr lang="en-LT"/>
            </a:p>
          </p:txBody>
        </p:sp>
        <p:sp>
          <p:nvSpPr>
            <p:cNvPr id="152" name="Freeform 151">
              <a:extLst>
                <a:ext uri="{FF2B5EF4-FFF2-40B4-BE49-F238E27FC236}">
                  <a16:creationId xmlns:a16="http://schemas.microsoft.com/office/drawing/2014/main" id="{7E913B1D-A423-3F4F-96DE-787B87A6C97C}"/>
                </a:ext>
              </a:extLst>
            </p:cNvPr>
            <p:cNvSpPr/>
            <p:nvPr/>
          </p:nvSpPr>
          <p:spPr>
            <a:xfrm>
              <a:off x="5361802" y="1907238"/>
              <a:ext cx="350719" cy="376030"/>
            </a:xfrm>
            <a:custGeom>
              <a:avLst/>
              <a:gdLst>
                <a:gd name="connsiteX0" fmla="*/ 100801 w 350719"/>
                <a:gd name="connsiteY0" fmla="*/ 100085 h 376030"/>
                <a:gd name="connsiteX1" fmla="*/ 205219 w 350719"/>
                <a:gd name="connsiteY1" fmla="*/ 46434 h 376030"/>
                <a:gd name="connsiteX2" fmla="*/ 145450 w 350719"/>
                <a:gd name="connsiteY2" fmla="*/ 189557 h 376030"/>
                <a:gd name="connsiteX3" fmla="*/ 135805 w 350719"/>
                <a:gd name="connsiteY3" fmla="*/ 209963 h 376030"/>
                <a:gd name="connsiteX4" fmla="*/ 137195 w 350719"/>
                <a:gd name="connsiteY4" fmla="*/ 229815 h 376030"/>
                <a:gd name="connsiteX5" fmla="*/ 154856 w 350719"/>
                <a:gd name="connsiteY5" fmla="*/ 239126 h 376030"/>
                <a:gd name="connsiteX6" fmla="*/ 305708 w 350719"/>
                <a:gd name="connsiteY6" fmla="*/ 246536 h 376030"/>
                <a:gd name="connsiteX7" fmla="*/ 309399 w 350719"/>
                <a:gd name="connsiteY7" fmla="*/ 246180 h 376030"/>
                <a:gd name="connsiteX8" fmla="*/ 309676 w 350719"/>
                <a:gd name="connsiteY8" fmla="*/ 251846 h 376030"/>
                <a:gd name="connsiteX9" fmla="*/ 298167 w 350719"/>
                <a:gd name="connsiteY9" fmla="*/ 298682 h 376030"/>
                <a:gd name="connsiteX10" fmla="*/ 133702 w 350719"/>
                <a:gd name="connsiteY10" fmla="*/ 327568 h 376030"/>
                <a:gd name="connsiteX11" fmla="*/ 41111 w 350719"/>
                <a:gd name="connsiteY11" fmla="*/ 206357 h 376030"/>
                <a:gd name="connsiteX12" fmla="*/ 100801 w 350719"/>
                <a:gd name="connsiteY12" fmla="*/ 100085 h 376030"/>
                <a:gd name="connsiteX13" fmla="*/ 121201 w 350719"/>
                <a:gd name="connsiteY13" fmla="*/ 366637 h 376030"/>
                <a:gd name="connsiteX14" fmla="*/ 182438 w 350719"/>
                <a:gd name="connsiteY14" fmla="*/ 375909 h 376030"/>
                <a:gd name="connsiteX15" fmla="*/ 320630 w 350719"/>
                <a:gd name="connsiteY15" fmla="*/ 332956 h 376030"/>
                <a:gd name="connsiteX16" fmla="*/ 350674 w 350719"/>
                <a:gd name="connsiteY16" fmla="*/ 251172 h 376030"/>
                <a:gd name="connsiteX17" fmla="*/ 338252 w 350719"/>
                <a:gd name="connsiteY17" fmla="*/ 216779 h 376030"/>
                <a:gd name="connsiteX18" fmla="*/ 310629 w 350719"/>
                <a:gd name="connsiteY18" fmla="*/ 205882 h 376030"/>
                <a:gd name="connsiteX19" fmla="*/ 186844 w 350719"/>
                <a:gd name="connsiteY19" fmla="*/ 197917 h 376030"/>
                <a:gd name="connsiteX20" fmla="*/ 253519 w 350719"/>
                <a:gd name="connsiteY20" fmla="*/ 24997 h 376030"/>
                <a:gd name="connsiteX21" fmla="*/ 248756 w 350719"/>
                <a:gd name="connsiteY21" fmla="*/ 6691 h 376030"/>
                <a:gd name="connsiteX22" fmla="*/ 231056 w 350719"/>
                <a:gd name="connsiteY22" fmla="*/ 74 h 376030"/>
                <a:gd name="connsiteX23" fmla="*/ 74091 w 350719"/>
                <a:gd name="connsiteY23" fmla="*/ 68980 h 376030"/>
                <a:gd name="connsiteX24" fmla="*/ 74 w 350719"/>
                <a:gd name="connsiteY24" fmla="*/ 204654 h 376030"/>
                <a:gd name="connsiteX25" fmla="*/ 121201 w 350719"/>
                <a:gd name="connsiteY25" fmla="*/ 366637 h 37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0719" h="376030">
                  <a:moveTo>
                    <a:pt x="100801" y="100085"/>
                  </a:moveTo>
                  <a:cubicBezTo>
                    <a:pt x="130646" y="74567"/>
                    <a:pt x="166921" y="56023"/>
                    <a:pt x="205219" y="46434"/>
                  </a:cubicBezTo>
                  <a:cubicBezTo>
                    <a:pt x="190376" y="94617"/>
                    <a:pt x="167556" y="142721"/>
                    <a:pt x="145450" y="189557"/>
                  </a:cubicBezTo>
                  <a:lnTo>
                    <a:pt x="135805" y="209963"/>
                  </a:lnTo>
                  <a:cubicBezTo>
                    <a:pt x="132789" y="216383"/>
                    <a:pt x="133345" y="223871"/>
                    <a:pt x="137195" y="229815"/>
                  </a:cubicBezTo>
                  <a:cubicBezTo>
                    <a:pt x="141084" y="235759"/>
                    <a:pt x="147196" y="238611"/>
                    <a:pt x="154856" y="239126"/>
                  </a:cubicBezTo>
                  <a:cubicBezTo>
                    <a:pt x="205060" y="237859"/>
                    <a:pt x="255781" y="240513"/>
                    <a:pt x="305708" y="246536"/>
                  </a:cubicBezTo>
                  <a:cubicBezTo>
                    <a:pt x="306660" y="246655"/>
                    <a:pt x="308962" y="246933"/>
                    <a:pt x="309399" y="246180"/>
                  </a:cubicBezTo>
                  <a:cubicBezTo>
                    <a:pt x="309518" y="247091"/>
                    <a:pt x="309676" y="248795"/>
                    <a:pt x="309676" y="251846"/>
                  </a:cubicBezTo>
                  <a:cubicBezTo>
                    <a:pt x="309597" y="276333"/>
                    <a:pt x="308804" y="291748"/>
                    <a:pt x="298167" y="298682"/>
                  </a:cubicBezTo>
                  <a:cubicBezTo>
                    <a:pt x="246692" y="332283"/>
                    <a:pt x="184026" y="343655"/>
                    <a:pt x="133702" y="327568"/>
                  </a:cubicBezTo>
                  <a:cubicBezTo>
                    <a:pt x="78775" y="310093"/>
                    <a:pt x="38928" y="257948"/>
                    <a:pt x="41111" y="206357"/>
                  </a:cubicBezTo>
                  <a:cubicBezTo>
                    <a:pt x="42580" y="169903"/>
                    <a:pt x="64328" y="131190"/>
                    <a:pt x="100801" y="100085"/>
                  </a:cubicBezTo>
                  <a:close/>
                  <a:moveTo>
                    <a:pt x="121201" y="366637"/>
                  </a:moveTo>
                  <a:cubicBezTo>
                    <a:pt x="140608" y="372779"/>
                    <a:pt x="161205" y="375909"/>
                    <a:pt x="182438" y="375909"/>
                  </a:cubicBezTo>
                  <a:cubicBezTo>
                    <a:pt x="229150" y="375909"/>
                    <a:pt x="278244" y="360654"/>
                    <a:pt x="320630" y="332956"/>
                  </a:cubicBezTo>
                  <a:cubicBezTo>
                    <a:pt x="350476" y="313422"/>
                    <a:pt x="350595" y="279345"/>
                    <a:pt x="350674" y="251172"/>
                  </a:cubicBezTo>
                  <a:cubicBezTo>
                    <a:pt x="350714" y="245546"/>
                    <a:pt x="350793" y="228468"/>
                    <a:pt x="338252" y="216779"/>
                  </a:cubicBezTo>
                  <a:cubicBezTo>
                    <a:pt x="328925" y="208140"/>
                    <a:pt x="317059" y="206674"/>
                    <a:pt x="310629" y="205882"/>
                  </a:cubicBezTo>
                  <a:cubicBezTo>
                    <a:pt x="269751" y="200928"/>
                    <a:pt x="228119" y="198274"/>
                    <a:pt x="186844" y="197917"/>
                  </a:cubicBezTo>
                  <a:cubicBezTo>
                    <a:pt x="213236" y="142087"/>
                    <a:pt x="239747" y="84434"/>
                    <a:pt x="253519" y="24997"/>
                  </a:cubicBezTo>
                  <a:cubicBezTo>
                    <a:pt x="254987" y="18499"/>
                    <a:pt x="253241" y="11644"/>
                    <a:pt x="248756" y="6691"/>
                  </a:cubicBezTo>
                  <a:cubicBezTo>
                    <a:pt x="244311" y="1698"/>
                    <a:pt x="237644" y="-877"/>
                    <a:pt x="231056" y="74"/>
                  </a:cubicBezTo>
                  <a:cubicBezTo>
                    <a:pt x="173707" y="7047"/>
                    <a:pt x="117986" y="31535"/>
                    <a:pt x="74091" y="68980"/>
                  </a:cubicBezTo>
                  <a:cubicBezTo>
                    <a:pt x="28411" y="107970"/>
                    <a:pt x="2098" y="156193"/>
                    <a:pt x="74" y="204654"/>
                  </a:cubicBezTo>
                  <a:cubicBezTo>
                    <a:pt x="-2823" y="274114"/>
                    <a:pt x="49287" y="343695"/>
                    <a:pt x="121201" y="366637"/>
                  </a:cubicBezTo>
                  <a:close/>
                </a:path>
              </a:pathLst>
            </a:custGeom>
            <a:grpFill/>
            <a:ln w="39688" cap="flat">
              <a:noFill/>
              <a:prstDash val="solid"/>
              <a:round/>
            </a:ln>
          </p:spPr>
          <p:txBody>
            <a:bodyPr rtlCol="0" anchor="ctr"/>
            <a:lstStyle/>
            <a:p>
              <a:endParaRPr lang="en-LT"/>
            </a:p>
          </p:txBody>
        </p:sp>
        <p:sp>
          <p:nvSpPr>
            <p:cNvPr id="153" name="Freeform 152">
              <a:extLst>
                <a:ext uri="{FF2B5EF4-FFF2-40B4-BE49-F238E27FC236}">
                  <a16:creationId xmlns:a16="http://schemas.microsoft.com/office/drawing/2014/main" id="{1B43C26B-F36C-F84C-A320-09B5BEC983DC}"/>
                </a:ext>
              </a:extLst>
            </p:cNvPr>
            <p:cNvSpPr/>
            <p:nvPr/>
          </p:nvSpPr>
          <p:spPr>
            <a:xfrm>
              <a:off x="5568014" y="1916018"/>
              <a:ext cx="717856" cy="183393"/>
            </a:xfrm>
            <a:custGeom>
              <a:avLst/>
              <a:gdLst>
                <a:gd name="connsiteX0" fmla="*/ 86906 w 717856"/>
                <a:gd name="connsiteY0" fmla="*/ 52822 h 183393"/>
                <a:gd name="connsiteX1" fmla="*/ 124093 w 717856"/>
                <a:gd name="connsiteY1" fmla="*/ 141581 h 183393"/>
                <a:gd name="connsiteX2" fmla="*/ 53291 w 717856"/>
                <a:gd name="connsiteY2" fmla="*/ 142056 h 183393"/>
                <a:gd name="connsiteX3" fmla="*/ 86906 w 717856"/>
                <a:gd name="connsiteY3" fmla="*/ 52822 h 183393"/>
                <a:gd name="connsiteX4" fmla="*/ -9 w 717856"/>
                <a:gd name="connsiteY4" fmla="*/ 162978 h 183393"/>
                <a:gd name="connsiteX5" fmla="*/ 20469 w 717856"/>
                <a:gd name="connsiteY5" fmla="*/ 183265 h 183393"/>
                <a:gd name="connsiteX6" fmla="*/ 20668 w 717856"/>
                <a:gd name="connsiteY6" fmla="*/ 183265 h 183393"/>
                <a:gd name="connsiteX7" fmla="*/ 142548 w 717856"/>
                <a:gd name="connsiteY7" fmla="*/ 182394 h 183393"/>
                <a:gd name="connsiteX8" fmla="*/ 162511 w 717856"/>
                <a:gd name="connsiteY8" fmla="*/ 165870 h 183393"/>
                <a:gd name="connsiteX9" fmla="*/ 159733 w 717856"/>
                <a:gd name="connsiteY9" fmla="*/ 98786 h 183393"/>
                <a:gd name="connsiteX10" fmla="*/ 170964 w 717856"/>
                <a:gd name="connsiteY10" fmla="*/ 102551 h 183393"/>
                <a:gd name="connsiteX11" fmla="*/ 172393 w 717856"/>
                <a:gd name="connsiteY11" fmla="*/ 102511 h 183393"/>
                <a:gd name="connsiteX12" fmla="*/ 410638 w 717856"/>
                <a:gd name="connsiteY12" fmla="*/ 97043 h 183393"/>
                <a:gd name="connsiteX13" fmla="*/ 699404 w 717856"/>
                <a:gd name="connsiteY13" fmla="*/ 87454 h 183393"/>
                <a:gd name="connsiteX14" fmla="*/ 717740 w 717856"/>
                <a:gd name="connsiteY14" fmla="*/ 65026 h 183393"/>
                <a:gd name="connsiteX15" fmla="*/ 695316 w 717856"/>
                <a:gd name="connsiteY15" fmla="*/ 46720 h 183393"/>
                <a:gd name="connsiteX16" fmla="*/ 410677 w 717856"/>
                <a:gd name="connsiteY16" fmla="*/ 56071 h 183393"/>
                <a:gd name="connsiteX17" fmla="*/ 169615 w 717856"/>
                <a:gd name="connsiteY17" fmla="*/ 61619 h 183393"/>
                <a:gd name="connsiteX18" fmla="*/ 151597 w 717856"/>
                <a:gd name="connsiteY18" fmla="*/ 75368 h 183393"/>
                <a:gd name="connsiteX19" fmla="*/ 87343 w 717856"/>
                <a:gd name="connsiteY19" fmla="*/ 2539 h 183393"/>
                <a:gd name="connsiteX20" fmla="*/ 70237 w 717856"/>
                <a:gd name="connsiteY20" fmla="*/ 1073 h 183393"/>
                <a:gd name="connsiteX21" fmla="*/ 58014 w 717856"/>
                <a:gd name="connsiteY21" fmla="*/ 13158 h 183393"/>
                <a:gd name="connsiteX22" fmla="*/ 7690 w 717856"/>
                <a:gd name="connsiteY22" fmla="*/ 146771 h 183393"/>
                <a:gd name="connsiteX23" fmla="*/ -9 w 717856"/>
                <a:gd name="connsiteY23" fmla="*/ 162978 h 18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7856" h="183393">
                  <a:moveTo>
                    <a:pt x="86906" y="52822"/>
                  </a:moveTo>
                  <a:cubicBezTo>
                    <a:pt x="110838" y="75289"/>
                    <a:pt x="125086" y="108930"/>
                    <a:pt x="124093" y="141581"/>
                  </a:cubicBezTo>
                  <a:lnTo>
                    <a:pt x="53291" y="142056"/>
                  </a:lnTo>
                  <a:lnTo>
                    <a:pt x="86906" y="52822"/>
                  </a:lnTo>
                  <a:close/>
                  <a:moveTo>
                    <a:pt x="-9" y="162978"/>
                  </a:moveTo>
                  <a:cubicBezTo>
                    <a:pt x="70" y="174191"/>
                    <a:pt x="9238" y="183265"/>
                    <a:pt x="20469" y="183265"/>
                  </a:cubicBezTo>
                  <a:lnTo>
                    <a:pt x="20668" y="183265"/>
                  </a:lnTo>
                  <a:lnTo>
                    <a:pt x="142548" y="182394"/>
                  </a:lnTo>
                  <a:cubicBezTo>
                    <a:pt x="152272" y="182354"/>
                    <a:pt x="160646" y="175419"/>
                    <a:pt x="162511" y="165870"/>
                  </a:cubicBezTo>
                  <a:cubicBezTo>
                    <a:pt x="166876" y="143561"/>
                    <a:pt x="165527" y="120619"/>
                    <a:pt x="159733" y="98786"/>
                  </a:cubicBezTo>
                  <a:cubicBezTo>
                    <a:pt x="163027" y="101005"/>
                    <a:pt x="166757" y="102551"/>
                    <a:pt x="170964" y="102551"/>
                  </a:cubicBezTo>
                  <a:cubicBezTo>
                    <a:pt x="171441" y="102551"/>
                    <a:pt x="171917" y="102511"/>
                    <a:pt x="172393" y="102511"/>
                  </a:cubicBezTo>
                  <a:cubicBezTo>
                    <a:pt x="251689" y="96964"/>
                    <a:pt x="332731" y="97241"/>
                    <a:pt x="410638" y="97043"/>
                  </a:cubicBezTo>
                  <a:cubicBezTo>
                    <a:pt x="505491" y="97122"/>
                    <a:pt x="602804" y="97122"/>
                    <a:pt x="699404" y="87454"/>
                  </a:cubicBezTo>
                  <a:cubicBezTo>
                    <a:pt x="710636" y="86344"/>
                    <a:pt x="718891" y="76319"/>
                    <a:pt x="717740" y="65026"/>
                  </a:cubicBezTo>
                  <a:cubicBezTo>
                    <a:pt x="716589" y="53773"/>
                    <a:pt x="706151" y="45492"/>
                    <a:pt x="695316" y="46720"/>
                  </a:cubicBezTo>
                  <a:cubicBezTo>
                    <a:pt x="600781" y="56151"/>
                    <a:pt x="503863" y="56507"/>
                    <a:pt x="410677" y="56071"/>
                  </a:cubicBezTo>
                  <a:cubicBezTo>
                    <a:pt x="331381" y="55992"/>
                    <a:pt x="250260" y="56032"/>
                    <a:pt x="169615" y="61619"/>
                  </a:cubicBezTo>
                  <a:cubicBezTo>
                    <a:pt x="161122" y="62213"/>
                    <a:pt x="154216" y="67840"/>
                    <a:pt x="151597" y="75368"/>
                  </a:cubicBezTo>
                  <a:cubicBezTo>
                    <a:pt x="138421" y="45174"/>
                    <a:pt x="116196" y="18864"/>
                    <a:pt x="87343" y="2539"/>
                  </a:cubicBezTo>
                  <a:cubicBezTo>
                    <a:pt x="82144" y="-393"/>
                    <a:pt x="75833" y="-948"/>
                    <a:pt x="70237" y="1073"/>
                  </a:cubicBezTo>
                  <a:cubicBezTo>
                    <a:pt x="64602" y="3134"/>
                    <a:pt x="60117" y="7532"/>
                    <a:pt x="58014" y="13158"/>
                  </a:cubicBezTo>
                  <a:lnTo>
                    <a:pt x="7690" y="146771"/>
                  </a:lnTo>
                  <a:cubicBezTo>
                    <a:pt x="2967" y="150536"/>
                    <a:pt x="-49" y="156400"/>
                    <a:pt x="-9" y="162978"/>
                  </a:cubicBezTo>
                  <a:close/>
                </a:path>
              </a:pathLst>
            </a:custGeom>
            <a:grpFill/>
            <a:ln w="39688" cap="flat">
              <a:noFill/>
              <a:prstDash val="solid"/>
              <a:round/>
            </a:ln>
          </p:spPr>
          <p:txBody>
            <a:bodyPr rtlCol="0" anchor="ctr"/>
            <a:lstStyle/>
            <a:p>
              <a:endParaRPr lang="en-LT"/>
            </a:p>
          </p:txBody>
        </p:sp>
        <p:sp>
          <p:nvSpPr>
            <p:cNvPr id="154" name="Freeform 153">
              <a:extLst>
                <a:ext uri="{FF2B5EF4-FFF2-40B4-BE49-F238E27FC236}">
                  <a16:creationId xmlns:a16="http://schemas.microsoft.com/office/drawing/2014/main" id="{5415FFFF-611D-1C46-8F89-F75D924CEB7C}"/>
                </a:ext>
              </a:extLst>
            </p:cNvPr>
            <p:cNvSpPr/>
            <p:nvPr/>
          </p:nvSpPr>
          <p:spPr>
            <a:xfrm>
              <a:off x="5711960" y="1988760"/>
              <a:ext cx="695728" cy="246562"/>
            </a:xfrm>
            <a:custGeom>
              <a:avLst/>
              <a:gdLst>
                <a:gd name="connsiteX0" fmla="*/ 516893 w 695728"/>
                <a:gd name="connsiteY0" fmla="*/ 153286 h 246562"/>
                <a:gd name="connsiteX1" fmla="*/ 462958 w 695728"/>
                <a:gd name="connsiteY1" fmla="*/ 170840 h 246562"/>
                <a:gd name="connsiteX2" fmla="*/ 263805 w 695728"/>
                <a:gd name="connsiteY2" fmla="*/ 190216 h 246562"/>
                <a:gd name="connsiteX3" fmla="*/ 19251 w 695728"/>
                <a:gd name="connsiteY3" fmla="*/ 205511 h 246562"/>
                <a:gd name="connsiteX4" fmla="*/ 42 w 695728"/>
                <a:gd name="connsiteY4" fmla="*/ 227264 h 246562"/>
                <a:gd name="connsiteX5" fmla="*/ 20521 w 695728"/>
                <a:gd name="connsiteY5" fmla="*/ 246443 h 246562"/>
                <a:gd name="connsiteX6" fmla="*/ 21791 w 695728"/>
                <a:gd name="connsiteY6" fmla="*/ 246403 h 246562"/>
                <a:gd name="connsiteX7" fmla="*/ 266346 w 695728"/>
                <a:gd name="connsiteY7" fmla="*/ 231069 h 246562"/>
                <a:gd name="connsiteX8" fmla="*/ 469704 w 695728"/>
                <a:gd name="connsiteY8" fmla="*/ 211256 h 246562"/>
                <a:gd name="connsiteX9" fmla="*/ 540507 w 695728"/>
                <a:gd name="connsiteY9" fmla="*/ 186808 h 246562"/>
                <a:gd name="connsiteX10" fmla="*/ 566661 w 695728"/>
                <a:gd name="connsiteY10" fmla="*/ 163034 h 246562"/>
                <a:gd name="connsiteX11" fmla="*/ 690010 w 695728"/>
                <a:gd name="connsiteY11" fmla="*/ 34493 h 246562"/>
                <a:gd name="connsiteX12" fmla="*/ 689415 w 695728"/>
                <a:gd name="connsiteY12" fmla="*/ 5527 h 246562"/>
                <a:gd name="connsiteX13" fmla="*/ 660403 w 695728"/>
                <a:gd name="connsiteY13" fmla="*/ 6162 h 246562"/>
                <a:gd name="connsiteX14" fmla="*/ 537015 w 695728"/>
                <a:gd name="connsiteY14" fmla="*/ 134702 h 246562"/>
                <a:gd name="connsiteX15" fmla="*/ 516893 w 695728"/>
                <a:gd name="connsiteY15" fmla="*/ 153286 h 24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5728" h="246562">
                  <a:moveTo>
                    <a:pt x="516893" y="153286"/>
                  </a:moveTo>
                  <a:cubicBezTo>
                    <a:pt x="502090" y="163668"/>
                    <a:pt x="482127" y="167670"/>
                    <a:pt x="462958" y="170840"/>
                  </a:cubicBezTo>
                  <a:cubicBezTo>
                    <a:pt x="397394" y="181816"/>
                    <a:pt x="329489" y="186095"/>
                    <a:pt x="263805" y="190216"/>
                  </a:cubicBezTo>
                  <a:lnTo>
                    <a:pt x="19251" y="205511"/>
                  </a:lnTo>
                  <a:cubicBezTo>
                    <a:pt x="7940" y="206224"/>
                    <a:pt x="-672" y="215972"/>
                    <a:pt x="42" y="227264"/>
                  </a:cubicBezTo>
                  <a:cubicBezTo>
                    <a:pt x="757" y="238121"/>
                    <a:pt x="9766" y="246443"/>
                    <a:pt x="20521" y="246443"/>
                  </a:cubicBezTo>
                  <a:cubicBezTo>
                    <a:pt x="20918" y="246443"/>
                    <a:pt x="21355" y="246443"/>
                    <a:pt x="21791" y="246403"/>
                  </a:cubicBezTo>
                  <a:lnTo>
                    <a:pt x="266346" y="231069"/>
                  </a:lnTo>
                  <a:cubicBezTo>
                    <a:pt x="333100" y="226908"/>
                    <a:pt x="402077" y="222589"/>
                    <a:pt x="469704" y="211256"/>
                  </a:cubicBezTo>
                  <a:cubicBezTo>
                    <a:pt x="492485" y="207452"/>
                    <a:pt x="518600" y="202143"/>
                    <a:pt x="540507" y="186808"/>
                  </a:cubicBezTo>
                  <a:cubicBezTo>
                    <a:pt x="550746" y="179597"/>
                    <a:pt x="559200" y="170800"/>
                    <a:pt x="566661" y="163034"/>
                  </a:cubicBezTo>
                  <a:lnTo>
                    <a:pt x="690010" y="34493"/>
                  </a:lnTo>
                  <a:cubicBezTo>
                    <a:pt x="697868" y="26330"/>
                    <a:pt x="697590" y="13373"/>
                    <a:pt x="689415" y="5527"/>
                  </a:cubicBezTo>
                  <a:cubicBezTo>
                    <a:pt x="681199" y="-2279"/>
                    <a:pt x="668261" y="-1922"/>
                    <a:pt x="660403" y="6162"/>
                  </a:cubicBezTo>
                  <a:lnTo>
                    <a:pt x="537015" y="134702"/>
                  </a:lnTo>
                  <a:cubicBezTo>
                    <a:pt x="530585" y="141439"/>
                    <a:pt x="523878" y="148373"/>
                    <a:pt x="516893" y="153286"/>
                  </a:cubicBezTo>
                  <a:close/>
                </a:path>
              </a:pathLst>
            </a:custGeom>
            <a:grpFill/>
            <a:ln w="39688" cap="flat">
              <a:noFill/>
              <a:prstDash val="solid"/>
              <a:round/>
            </a:ln>
          </p:spPr>
          <p:txBody>
            <a:bodyPr rtlCol="0" anchor="ctr"/>
            <a:lstStyle/>
            <a:p>
              <a:endParaRPr lang="en-LT"/>
            </a:p>
          </p:txBody>
        </p:sp>
        <p:sp>
          <p:nvSpPr>
            <p:cNvPr id="155" name="Freeform 154">
              <a:extLst>
                <a:ext uri="{FF2B5EF4-FFF2-40B4-BE49-F238E27FC236}">
                  <a16:creationId xmlns:a16="http://schemas.microsoft.com/office/drawing/2014/main" id="{4CA306FB-1CE7-2148-A491-3E2DD20C51E7}"/>
                </a:ext>
              </a:extLst>
            </p:cNvPr>
            <p:cNvSpPr/>
            <p:nvPr/>
          </p:nvSpPr>
          <p:spPr>
            <a:xfrm>
              <a:off x="6452962" y="1844330"/>
              <a:ext cx="208950" cy="278657"/>
            </a:xfrm>
            <a:custGeom>
              <a:avLst/>
              <a:gdLst>
                <a:gd name="connsiteX0" fmla="*/ 562 w 208950"/>
                <a:gd name="connsiteY0" fmla="*/ 253525 h 278657"/>
                <a:gd name="connsiteX1" fmla="*/ 16041 w 208950"/>
                <a:gd name="connsiteY1" fmla="*/ 278012 h 278657"/>
                <a:gd name="connsiteX2" fmla="*/ 20565 w 208950"/>
                <a:gd name="connsiteY2" fmla="*/ 278528 h 278657"/>
                <a:gd name="connsiteX3" fmla="*/ 40527 w 208950"/>
                <a:gd name="connsiteY3" fmla="*/ 262559 h 278657"/>
                <a:gd name="connsiteX4" fmla="*/ 53267 w 208950"/>
                <a:gd name="connsiteY4" fmla="*/ 239894 h 278657"/>
                <a:gd name="connsiteX5" fmla="*/ 204953 w 208950"/>
                <a:gd name="connsiteY5" fmla="*/ 32541 h 278657"/>
                <a:gd name="connsiteX6" fmla="*/ 200707 w 208950"/>
                <a:gd name="connsiteY6" fmla="*/ 3853 h 278657"/>
                <a:gd name="connsiteX7" fmla="*/ 172012 w 208950"/>
                <a:gd name="connsiteY7" fmla="*/ 8132 h 278657"/>
                <a:gd name="connsiteX8" fmla="*/ 19930 w 208950"/>
                <a:gd name="connsiteY8" fmla="*/ 215961 h 278657"/>
                <a:gd name="connsiteX9" fmla="*/ 562 w 208950"/>
                <a:gd name="connsiteY9" fmla="*/ 253525 h 278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950" h="278657">
                  <a:moveTo>
                    <a:pt x="562" y="253525"/>
                  </a:moveTo>
                  <a:cubicBezTo>
                    <a:pt x="-1978" y="264580"/>
                    <a:pt x="5007" y="275517"/>
                    <a:pt x="16041" y="278012"/>
                  </a:cubicBezTo>
                  <a:cubicBezTo>
                    <a:pt x="17548" y="278369"/>
                    <a:pt x="19056" y="278528"/>
                    <a:pt x="20565" y="278528"/>
                  </a:cubicBezTo>
                  <a:cubicBezTo>
                    <a:pt x="29971" y="278528"/>
                    <a:pt x="38424" y="272069"/>
                    <a:pt x="40527" y="262559"/>
                  </a:cubicBezTo>
                  <a:cubicBezTo>
                    <a:pt x="42234" y="255268"/>
                    <a:pt x="47830" y="247423"/>
                    <a:pt x="53267" y="239894"/>
                  </a:cubicBezTo>
                  <a:cubicBezTo>
                    <a:pt x="103353" y="170433"/>
                    <a:pt x="153915" y="101249"/>
                    <a:pt x="204953" y="32541"/>
                  </a:cubicBezTo>
                  <a:cubicBezTo>
                    <a:pt x="211700" y="23466"/>
                    <a:pt x="209795" y="10589"/>
                    <a:pt x="200707" y="3853"/>
                  </a:cubicBezTo>
                  <a:cubicBezTo>
                    <a:pt x="191618" y="-2804"/>
                    <a:pt x="178799" y="-942"/>
                    <a:pt x="172012" y="8132"/>
                  </a:cubicBezTo>
                  <a:cubicBezTo>
                    <a:pt x="120816" y="77039"/>
                    <a:pt x="70214" y="146341"/>
                    <a:pt x="19930" y="215961"/>
                  </a:cubicBezTo>
                  <a:cubicBezTo>
                    <a:pt x="12865" y="225867"/>
                    <a:pt x="4015" y="238111"/>
                    <a:pt x="562" y="253525"/>
                  </a:cubicBezTo>
                  <a:close/>
                </a:path>
              </a:pathLst>
            </a:custGeom>
            <a:grpFill/>
            <a:ln w="39688" cap="flat">
              <a:noFill/>
              <a:prstDash val="solid"/>
              <a:round/>
            </a:ln>
          </p:spPr>
          <p:txBody>
            <a:bodyPr rtlCol="0" anchor="ctr"/>
            <a:lstStyle/>
            <a:p>
              <a:endParaRPr lang="en-LT"/>
            </a:p>
          </p:txBody>
        </p:sp>
        <p:sp>
          <p:nvSpPr>
            <p:cNvPr id="156" name="Freeform 155">
              <a:extLst>
                <a:ext uri="{FF2B5EF4-FFF2-40B4-BE49-F238E27FC236}">
                  <a16:creationId xmlns:a16="http://schemas.microsoft.com/office/drawing/2014/main" id="{537A009C-360F-5842-8386-A94805E194E2}"/>
                </a:ext>
              </a:extLst>
            </p:cNvPr>
            <p:cNvSpPr/>
            <p:nvPr/>
          </p:nvSpPr>
          <p:spPr>
            <a:xfrm>
              <a:off x="6420009" y="1826062"/>
              <a:ext cx="126162" cy="138072"/>
            </a:xfrm>
            <a:custGeom>
              <a:avLst/>
              <a:gdLst>
                <a:gd name="connsiteX0" fmla="*/ 42002 w 126162"/>
                <a:gd name="connsiteY0" fmla="*/ 45650 h 138072"/>
                <a:gd name="connsiteX1" fmla="*/ 48114 w 126162"/>
                <a:gd name="connsiteY1" fmla="*/ 40143 h 138072"/>
                <a:gd name="connsiteX2" fmla="*/ 68553 w 126162"/>
                <a:gd name="connsiteY2" fmla="*/ 48503 h 138072"/>
                <a:gd name="connsiteX3" fmla="*/ 83952 w 126162"/>
                <a:gd name="connsiteY3" fmla="*/ 85314 h 138072"/>
                <a:gd name="connsiteX4" fmla="*/ 56964 w 126162"/>
                <a:gd name="connsiteY4" fmla="*/ 87731 h 138072"/>
                <a:gd name="connsiteX5" fmla="*/ 42002 w 126162"/>
                <a:gd name="connsiteY5" fmla="*/ 45650 h 138072"/>
                <a:gd name="connsiteX6" fmla="*/ 72879 w 126162"/>
                <a:gd name="connsiteY6" fmla="*/ 137935 h 138072"/>
                <a:gd name="connsiteX7" fmla="*/ 123242 w 126162"/>
                <a:gd name="connsiteY7" fmla="*/ 97162 h 138072"/>
                <a:gd name="connsiteX8" fmla="*/ 91334 w 126162"/>
                <a:gd name="connsiteY8" fmla="*/ 14387 h 138072"/>
                <a:gd name="connsiteX9" fmla="*/ 2751 w 126162"/>
                <a:gd name="connsiteY9" fmla="*/ 33803 h 138072"/>
                <a:gd name="connsiteX10" fmla="*/ 27913 w 126162"/>
                <a:gd name="connsiteY10" fmla="*/ 116617 h 138072"/>
                <a:gd name="connsiteX11" fmla="*/ 72879 w 126162"/>
                <a:gd name="connsiteY11" fmla="*/ 137935 h 13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162" h="138072">
                  <a:moveTo>
                    <a:pt x="42002" y="45650"/>
                  </a:moveTo>
                  <a:cubicBezTo>
                    <a:pt x="43669" y="40143"/>
                    <a:pt x="46130" y="40143"/>
                    <a:pt x="48114" y="40143"/>
                  </a:cubicBezTo>
                  <a:cubicBezTo>
                    <a:pt x="51091" y="40143"/>
                    <a:pt x="57679" y="41212"/>
                    <a:pt x="68553" y="48503"/>
                  </a:cubicBezTo>
                  <a:cubicBezTo>
                    <a:pt x="84865" y="59281"/>
                    <a:pt x="87206" y="74576"/>
                    <a:pt x="83952" y="85314"/>
                  </a:cubicBezTo>
                  <a:cubicBezTo>
                    <a:pt x="80737" y="95854"/>
                    <a:pt x="70022" y="100847"/>
                    <a:pt x="56964" y="87731"/>
                  </a:cubicBezTo>
                  <a:cubicBezTo>
                    <a:pt x="42995" y="73784"/>
                    <a:pt x="38867" y="55992"/>
                    <a:pt x="42002" y="45650"/>
                  </a:cubicBezTo>
                  <a:close/>
                  <a:moveTo>
                    <a:pt x="72879" y="137935"/>
                  </a:moveTo>
                  <a:cubicBezTo>
                    <a:pt x="95977" y="137935"/>
                    <a:pt x="115702" y="121927"/>
                    <a:pt x="123242" y="97162"/>
                  </a:cubicBezTo>
                  <a:cubicBezTo>
                    <a:pt x="130386" y="73506"/>
                    <a:pt x="126338" y="37646"/>
                    <a:pt x="91334" y="14387"/>
                  </a:cubicBezTo>
                  <a:cubicBezTo>
                    <a:pt x="51924" y="-11765"/>
                    <a:pt x="13308" y="-988"/>
                    <a:pt x="2751" y="33803"/>
                  </a:cubicBezTo>
                  <a:cubicBezTo>
                    <a:pt x="-5266" y="60232"/>
                    <a:pt x="4855" y="93556"/>
                    <a:pt x="27913" y="116617"/>
                  </a:cubicBezTo>
                  <a:cubicBezTo>
                    <a:pt x="45455" y="134250"/>
                    <a:pt x="62084" y="137935"/>
                    <a:pt x="72879" y="137935"/>
                  </a:cubicBezTo>
                  <a:close/>
                </a:path>
              </a:pathLst>
            </a:custGeom>
            <a:grpFill/>
            <a:ln w="39688" cap="flat">
              <a:noFill/>
              <a:prstDash val="solid"/>
              <a:round/>
            </a:ln>
          </p:spPr>
          <p:txBody>
            <a:bodyPr rtlCol="0" anchor="ctr"/>
            <a:lstStyle/>
            <a:p>
              <a:endParaRPr lang="en-LT"/>
            </a:p>
          </p:txBody>
        </p:sp>
        <p:sp>
          <p:nvSpPr>
            <p:cNvPr id="157" name="Freeform 156">
              <a:extLst>
                <a:ext uri="{FF2B5EF4-FFF2-40B4-BE49-F238E27FC236}">
                  <a16:creationId xmlns:a16="http://schemas.microsoft.com/office/drawing/2014/main" id="{60938809-278F-EE43-A866-FE0406B1DF84}"/>
                </a:ext>
              </a:extLst>
            </p:cNvPr>
            <p:cNvSpPr/>
            <p:nvPr/>
          </p:nvSpPr>
          <p:spPr>
            <a:xfrm>
              <a:off x="6558403" y="1979945"/>
              <a:ext cx="134428" cy="133573"/>
            </a:xfrm>
            <a:custGeom>
              <a:avLst/>
              <a:gdLst>
                <a:gd name="connsiteX0" fmla="*/ 92889 w 134428"/>
                <a:gd name="connsiteY0" fmla="*/ 62402 h 133573"/>
                <a:gd name="connsiteX1" fmla="*/ 52329 w 134428"/>
                <a:gd name="connsiteY1" fmla="*/ 90892 h 133573"/>
                <a:gd name="connsiteX2" fmla="*/ 41652 w 134428"/>
                <a:gd name="connsiteY2" fmla="*/ 70406 h 133573"/>
                <a:gd name="connsiteX3" fmla="*/ 73799 w 134428"/>
                <a:gd name="connsiteY3" fmla="*/ 40847 h 133573"/>
                <a:gd name="connsiteX4" fmla="*/ 82411 w 134428"/>
                <a:gd name="connsiteY4" fmla="*/ 42867 h 133573"/>
                <a:gd name="connsiteX5" fmla="*/ 92889 w 134428"/>
                <a:gd name="connsiteY5" fmla="*/ 62402 h 133573"/>
                <a:gd name="connsiteX6" fmla="*/ 73601 w 134428"/>
                <a:gd name="connsiteY6" fmla="*/ -125 h 133573"/>
                <a:gd name="connsiteX7" fmla="*/ 1568 w 134428"/>
                <a:gd name="connsiteY7" fmla="*/ 61768 h 133573"/>
                <a:gd name="connsiteX8" fmla="*/ 35421 w 134428"/>
                <a:gd name="connsiteY8" fmla="*/ 128178 h 133573"/>
                <a:gd name="connsiteX9" fmla="*/ 59869 w 134428"/>
                <a:gd name="connsiteY9" fmla="*/ 133448 h 133573"/>
                <a:gd name="connsiteX10" fmla="*/ 132934 w 134428"/>
                <a:gd name="connsiteY10" fmla="*/ 71278 h 133573"/>
                <a:gd name="connsiteX11" fmla="*/ 99715 w 134428"/>
                <a:gd name="connsiteY11" fmla="*/ 5740 h 133573"/>
                <a:gd name="connsiteX12" fmla="*/ 73601 w 134428"/>
                <a:gd name="connsiteY12" fmla="*/ -125 h 1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428" h="133573">
                  <a:moveTo>
                    <a:pt x="92889" y="62402"/>
                  </a:moveTo>
                  <a:cubicBezTo>
                    <a:pt x="88762" y="80867"/>
                    <a:pt x="67251" y="97588"/>
                    <a:pt x="52329" y="90892"/>
                  </a:cubicBezTo>
                  <a:cubicBezTo>
                    <a:pt x="45899" y="87960"/>
                    <a:pt x="38914" y="83046"/>
                    <a:pt x="41652" y="70406"/>
                  </a:cubicBezTo>
                  <a:cubicBezTo>
                    <a:pt x="44668" y="56419"/>
                    <a:pt x="58996" y="40847"/>
                    <a:pt x="73799" y="40847"/>
                  </a:cubicBezTo>
                  <a:cubicBezTo>
                    <a:pt x="76657" y="40886"/>
                    <a:pt x="79594" y="41560"/>
                    <a:pt x="82411" y="42867"/>
                  </a:cubicBezTo>
                  <a:cubicBezTo>
                    <a:pt x="91817" y="47265"/>
                    <a:pt x="94953" y="53090"/>
                    <a:pt x="92889" y="62402"/>
                  </a:cubicBezTo>
                  <a:close/>
                  <a:moveTo>
                    <a:pt x="73601" y="-125"/>
                  </a:moveTo>
                  <a:cubicBezTo>
                    <a:pt x="36850" y="-125"/>
                    <a:pt x="8077" y="31337"/>
                    <a:pt x="1568" y="61768"/>
                  </a:cubicBezTo>
                  <a:cubicBezTo>
                    <a:pt x="-4624" y="90495"/>
                    <a:pt x="8355" y="115974"/>
                    <a:pt x="35421" y="128178"/>
                  </a:cubicBezTo>
                  <a:cubicBezTo>
                    <a:pt x="43200" y="131665"/>
                    <a:pt x="51415" y="133448"/>
                    <a:pt x="59869" y="133448"/>
                  </a:cubicBezTo>
                  <a:cubicBezTo>
                    <a:pt x="92532" y="133448"/>
                    <a:pt x="125313" y="105553"/>
                    <a:pt x="132934" y="71278"/>
                  </a:cubicBezTo>
                  <a:cubicBezTo>
                    <a:pt x="139125" y="43224"/>
                    <a:pt x="126385" y="18141"/>
                    <a:pt x="99715" y="5740"/>
                  </a:cubicBezTo>
                  <a:cubicBezTo>
                    <a:pt x="91619" y="1975"/>
                    <a:pt x="83086" y="-6"/>
                    <a:pt x="73601" y="-125"/>
                  </a:cubicBezTo>
                  <a:close/>
                </a:path>
              </a:pathLst>
            </a:custGeom>
            <a:grpFill/>
            <a:ln w="39688" cap="flat">
              <a:noFill/>
              <a:prstDash val="solid"/>
              <a:round/>
            </a:ln>
          </p:spPr>
          <p:txBody>
            <a:bodyPr rtlCol="0" anchor="ctr"/>
            <a:lstStyle/>
            <a:p>
              <a:endParaRPr lang="en-LT"/>
            </a:p>
          </p:txBody>
        </p:sp>
        <p:sp>
          <p:nvSpPr>
            <p:cNvPr id="158" name="Freeform 157">
              <a:extLst>
                <a:ext uri="{FF2B5EF4-FFF2-40B4-BE49-F238E27FC236}">
                  <a16:creationId xmlns:a16="http://schemas.microsoft.com/office/drawing/2014/main" id="{097CBDD1-4D70-0248-B2A4-0346CFC0B4F1}"/>
                </a:ext>
              </a:extLst>
            </p:cNvPr>
            <p:cNvSpPr/>
            <p:nvPr/>
          </p:nvSpPr>
          <p:spPr>
            <a:xfrm>
              <a:off x="5844833" y="3179486"/>
              <a:ext cx="973887" cy="91178"/>
            </a:xfrm>
            <a:custGeom>
              <a:avLst/>
              <a:gdLst>
                <a:gd name="connsiteX0" fmla="*/ 957367 w 973887"/>
                <a:gd name="connsiteY0" fmla="*/ 5480 h 91178"/>
                <a:gd name="connsiteX1" fmla="*/ 755437 w 973887"/>
                <a:gd name="connsiteY1" fmla="*/ 18912 h 91178"/>
                <a:gd name="connsiteX2" fmla="*/ 687929 w 973887"/>
                <a:gd name="connsiteY2" fmla="*/ 31394 h 91178"/>
                <a:gd name="connsiteX3" fmla="*/ 502429 w 973887"/>
                <a:gd name="connsiteY3" fmla="*/ 42568 h 91178"/>
                <a:gd name="connsiteX4" fmla="*/ 20226 w 973887"/>
                <a:gd name="connsiteY4" fmla="*/ 50215 h 91178"/>
                <a:gd name="connsiteX5" fmla="*/ 25 w 973887"/>
                <a:gd name="connsiteY5" fmla="*/ 71018 h 91178"/>
                <a:gd name="connsiteX6" fmla="*/ 20543 w 973887"/>
                <a:gd name="connsiteY6" fmla="*/ 91147 h 91178"/>
                <a:gd name="connsiteX7" fmla="*/ 20861 w 973887"/>
                <a:gd name="connsiteY7" fmla="*/ 91147 h 91178"/>
                <a:gd name="connsiteX8" fmla="*/ 503064 w 973887"/>
                <a:gd name="connsiteY8" fmla="*/ 83539 h 91178"/>
                <a:gd name="connsiteX9" fmla="*/ 694080 w 973887"/>
                <a:gd name="connsiteY9" fmla="*/ 71850 h 91178"/>
                <a:gd name="connsiteX10" fmla="*/ 763533 w 973887"/>
                <a:gd name="connsiteY10" fmla="*/ 59052 h 91178"/>
                <a:gd name="connsiteX11" fmla="*/ 949430 w 973887"/>
                <a:gd name="connsiteY11" fmla="*/ 45698 h 91178"/>
                <a:gd name="connsiteX12" fmla="*/ 973520 w 973887"/>
                <a:gd name="connsiteY12" fmla="*/ 29571 h 91178"/>
                <a:gd name="connsiteX13" fmla="*/ 957367 w 973887"/>
                <a:gd name="connsiteY13" fmla="*/ 5480 h 9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3887" h="91178">
                  <a:moveTo>
                    <a:pt x="957367" y="5480"/>
                  </a:moveTo>
                  <a:cubicBezTo>
                    <a:pt x="889184" y="-7913"/>
                    <a:pt x="821159" y="5678"/>
                    <a:pt x="755437" y="18912"/>
                  </a:cubicBezTo>
                  <a:cubicBezTo>
                    <a:pt x="732894" y="23429"/>
                    <a:pt x="710392" y="27947"/>
                    <a:pt x="687929" y="31394"/>
                  </a:cubicBezTo>
                  <a:cubicBezTo>
                    <a:pt x="626929" y="40587"/>
                    <a:pt x="563627" y="41578"/>
                    <a:pt x="502429" y="42568"/>
                  </a:cubicBezTo>
                  <a:lnTo>
                    <a:pt x="20226" y="50215"/>
                  </a:lnTo>
                  <a:cubicBezTo>
                    <a:pt x="8875" y="50374"/>
                    <a:pt x="-134" y="59725"/>
                    <a:pt x="25" y="71018"/>
                  </a:cubicBezTo>
                  <a:cubicBezTo>
                    <a:pt x="223" y="82192"/>
                    <a:pt x="9391" y="91147"/>
                    <a:pt x="20543" y="91147"/>
                  </a:cubicBezTo>
                  <a:lnTo>
                    <a:pt x="20861" y="91147"/>
                  </a:lnTo>
                  <a:lnTo>
                    <a:pt x="503064" y="83539"/>
                  </a:lnTo>
                  <a:cubicBezTo>
                    <a:pt x="565652" y="82509"/>
                    <a:pt x="630342" y="81519"/>
                    <a:pt x="694080" y="71850"/>
                  </a:cubicBezTo>
                  <a:cubicBezTo>
                    <a:pt x="717218" y="68363"/>
                    <a:pt x="740356" y="63727"/>
                    <a:pt x="763533" y="59052"/>
                  </a:cubicBezTo>
                  <a:cubicBezTo>
                    <a:pt x="828184" y="46095"/>
                    <a:pt x="889224" y="33851"/>
                    <a:pt x="949430" y="45698"/>
                  </a:cubicBezTo>
                  <a:cubicBezTo>
                    <a:pt x="960224" y="47838"/>
                    <a:pt x="971298" y="40666"/>
                    <a:pt x="973520" y="29571"/>
                  </a:cubicBezTo>
                  <a:cubicBezTo>
                    <a:pt x="975703" y="18436"/>
                    <a:pt x="968519" y="7698"/>
                    <a:pt x="957367" y="5480"/>
                  </a:cubicBezTo>
                  <a:close/>
                </a:path>
              </a:pathLst>
            </a:custGeom>
            <a:grpFill/>
            <a:ln w="39688" cap="flat">
              <a:noFill/>
              <a:prstDash val="solid"/>
              <a:round/>
            </a:ln>
          </p:spPr>
          <p:txBody>
            <a:bodyPr rtlCol="0" anchor="ctr"/>
            <a:lstStyle/>
            <a:p>
              <a:endParaRPr lang="en-LT"/>
            </a:p>
          </p:txBody>
        </p:sp>
        <p:sp>
          <p:nvSpPr>
            <p:cNvPr id="159" name="Freeform 158">
              <a:extLst>
                <a:ext uri="{FF2B5EF4-FFF2-40B4-BE49-F238E27FC236}">
                  <a16:creationId xmlns:a16="http://schemas.microsoft.com/office/drawing/2014/main" id="{A211B46C-5377-7440-926C-D508BB06C499}"/>
                </a:ext>
              </a:extLst>
            </p:cNvPr>
            <p:cNvSpPr/>
            <p:nvPr/>
          </p:nvSpPr>
          <p:spPr>
            <a:xfrm>
              <a:off x="5614402" y="3277551"/>
              <a:ext cx="1163049" cy="116781"/>
            </a:xfrm>
            <a:custGeom>
              <a:avLst/>
              <a:gdLst>
                <a:gd name="connsiteX0" fmla="*/ 1139965 w 1163049"/>
                <a:gd name="connsiteY0" fmla="*/ 105 h 116781"/>
                <a:gd name="connsiteX1" fmla="*/ 659547 w 1163049"/>
                <a:gd name="connsiteY1" fmla="*/ 60374 h 116781"/>
                <a:gd name="connsiteX2" fmla="*/ 461109 w 1163049"/>
                <a:gd name="connsiteY2" fmla="*/ 75669 h 116781"/>
                <a:gd name="connsiteX3" fmla="*/ 302597 w 1163049"/>
                <a:gd name="connsiteY3" fmla="*/ 60453 h 116781"/>
                <a:gd name="connsiteX4" fmla="*/ 15974 w 1163049"/>
                <a:gd name="connsiteY4" fmla="*/ 56451 h 116781"/>
                <a:gd name="connsiteX5" fmla="*/ 536 w 1163049"/>
                <a:gd name="connsiteY5" fmla="*/ 80939 h 116781"/>
                <a:gd name="connsiteX6" fmla="*/ 25023 w 1163049"/>
                <a:gd name="connsiteY6" fmla="*/ 96392 h 116781"/>
                <a:gd name="connsiteX7" fmla="*/ 297121 w 1163049"/>
                <a:gd name="connsiteY7" fmla="*/ 101068 h 116781"/>
                <a:gd name="connsiteX8" fmla="*/ 460316 w 1163049"/>
                <a:gd name="connsiteY8" fmla="*/ 116601 h 116781"/>
                <a:gd name="connsiteX9" fmla="*/ 475000 w 1163049"/>
                <a:gd name="connsiteY9" fmla="*/ 116759 h 116781"/>
                <a:gd name="connsiteX10" fmla="*/ 664746 w 1163049"/>
                <a:gd name="connsiteY10" fmla="*/ 100989 h 116781"/>
                <a:gd name="connsiteX11" fmla="*/ 1145124 w 1163049"/>
                <a:gd name="connsiteY11" fmla="*/ 40720 h 116781"/>
                <a:gd name="connsiteX12" fmla="*/ 1162904 w 1163049"/>
                <a:gd name="connsiteY12" fmla="*/ 17857 h 116781"/>
                <a:gd name="connsiteX13" fmla="*/ 1139965 w 1163049"/>
                <a:gd name="connsiteY13" fmla="*/ 105 h 11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3049" h="116781">
                  <a:moveTo>
                    <a:pt x="1139965" y="105"/>
                  </a:moveTo>
                  <a:lnTo>
                    <a:pt x="659547" y="60374"/>
                  </a:lnTo>
                  <a:cubicBezTo>
                    <a:pt x="594340" y="68537"/>
                    <a:pt x="527110" y="77056"/>
                    <a:pt x="461109" y="75669"/>
                  </a:cubicBezTo>
                  <a:cubicBezTo>
                    <a:pt x="408722" y="74639"/>
                    <a:pt x="354786" y="67427"/>
                    <a:pt x="302597" y="60453"/>
                  </a:cubicBezTo>
                  <a:cubicBezTo>
                    <a:pt x="208498" y="47932"/>
                    <a:pt x="111304" y="34935"/>
                    <a:pt x="15974" y="56451"/>
                  </a:cubicBezTo>
                  <a:cubicBezTo>
                    <a:pt x="4941" y="58947"/>
                    <a:pt x="-2005" y="69884"/>
                    <a:pt x="536" y="80939"/>
                  </a:cubicBezTo>
                  <a:cubicBezTo>
                    <a:pt x="2956" y="91954"/>
                    <a:pt x="13910" y="98928"/>
                    <a:pt x="25023" y="96392"/>
                  </a:cubicBezTo>
                  <a:cubicBezTo>
                    <a:pt x="113129" y="76541"/>
                    <a:pt x="202545" y="88467"/>
                    <a:pt x="297121" y="101068"/>
                  </a:cubicBezTo>
                  <a:cubicBezTo>
                    <a:pt x="350500" y="108200"/>
                    <a:pt x="405587" y="115531"/>
                    <a:pt x="460316" y="116601"/>
                  </a:cubicBezTo>
                  <a:cubicBezTo>
                    <a:pt x="465197" y="116719"/>
                    <a:pt x="470119" y="116759"/>
                    <a:pt x="475000" y="116759"/>
                  </a:cubicBezTo>
                  <a:cubicBezTo>
                    <a:pt x="538937" y="116759"/>
                    <a:pt x="602794" y="108755"/>
                    <a:pt x="664746" y="100989"/>
                  </a:cubicBezTo>
                  <a:lnTo>
                    <a:pt x="1145124" y="40720"/>
                  </a:lnTo>
                  <a:cubicBezTo>
                    <a:pt x="1156316" y="39294"/>
                    <a:pt x="1164293" y="29071"/>
                    <a:pt x="1162904" y="17857"/>
                  </a:cubicBezTo>
                  <a:cubicBezTo>
                    <a:pt x="1161436" y="6643"/>
                    <a:pt x="1151038" y="-1123"/>
                    <a:pt x="1139965" y="105"/>
                  </a:cubicBezTo>
                  <a:close/>
                </a:path>
              </a:pathLst>
            </a:custGeom>
            <a:grpFill/>
            <a:ln w="39688" cap="flat">
              <a:noFill/>
              <a:prstDash val="solid"/>
              <a:round/>
            </a:ln>
          </p:spPr>
          <p:txBody>
            <a:bodyPr rtlCol="0" anchor="ctr"/>
            <a:lstStyle/>
            <a:p>
              <a:endParaRPr lang="en-LT"/>
            </a:p>
          </p:txBody>
        </p:sp>
        <p:sp>
          <p:nvSpPr>
            <p:cNvPr id="160" name="Freeform 159">
              <a:extLst>
                <a:ext uri="{FF2B5EF4-FFF2-40B4-BE49-F238E27FC236}">
                  <a16:creationId xmlns:a16="http://schemas.microsoft.com/office/drawing/2014/main" id="{400E0484-A828-C644-9302-A31EFDA23843}"/>
                </a:ext>
              </a:extLst>
            </p:cNvPr>
            <p:cNvSpPr/>
            <p:nvPr/>
          </p:nvSpPr>
          <p:spPr>
            <a:xfrm>
              <a:off x="5009734" y="1528902"/>
              <a:ext cx="2224912" cy="3839904"/>
            </a:xfrm>
            <a:custGeom>
              <a:avLst/>
              <a:gdLst>
                <a:gd name="connsiteX0" fmla="*/ 1842376 w 2224912"/>
                <a:gd name="connsiteY0" fmla="*/ 3722803 h 3839904"/>
                <a:gd name="connsiteX1" fmla="*/ 1821421 w 2224912"/>
                <a:gd name="connsiteY1" fmla="*/ 3725180 h 3839904"/>
                <a:gd name="connsiteX2" fmla="*/ 1829954 w 2224912"/>
                <a:gd name="connsiteY2" fmla="*/ 3727241 h 3839904"/>
                <a:gd name="connsiteX3" fmla="*/ 1833883 w 2224912"/>
                <a:gd name="connsiteY3" fmla="*/ 3726924 h 3839904"/>
                <a:gd name="connsiteX4" fmla="*/ 1842376 w 2224912"/>
                <a:gd name="connsiteY4" fmla="*/ 3722803 h 3839904"/>
                <a:gd name="connsiteX5" fmla="*/ 1773797 w 2224912"/>
                <a:gd name="connsiteY5" fmla="*/ 3439490 h 3839904"/>
                <a:gd name="connsiteX6" fmla="*/ 1773876 w 2224912"/>
                <a:gd name="connsiteY6" fmla="*/ 3439370 h 3839904"/>
                <a:gd name="connsiteX7" fmla="*/ 1773916 w 2224912"/>
                <a:gd name="connsiteY7" fmla="*/ 3439925 h 3839904"/>
                <a:gd name="connsiteX8" fmla="*/ 1773797 w 2224912"/>
                <a:gd name="connsiteY8" fmla="*/ 3439490 h 3839904"/>
                <a:gd name="connsiteX9" fmla="*/ 1507652 w 2224912"/>
                <a:gd name="connsiteY9" fmla="*/ 2053671 h 3839904"/>
                <a:gd name="connsiteX10" fmla="*/ 1590043 w 2224912"/>
                <a:gd name="connsiteY10" fmla="*/ 2050541 h 3839904"/>
                <a:gd name="connsiteX11" fmla="*/ 1749309 w 2224912"/>
                <a:gd name="connsiteY11" fmla="*/ 3253929 h 3839904"/>
                <a:gd name="connsiteX12" fmla="*/ 1507652 w 2224912"/>
                <a:gd name="connsiteY12" fmla="*/ 2053671 h 3839904"/>
                <a:gd name="connsiteX13" fmla="*/ 1620127 w 2224912"/>
                <a:gd name="connsiteY13" fmla="*/ 2899807 h 3839904"/>
                <a:gd name="connsiteX14" fmla="*/ 1414466 w 2224912"/>
                <a:gd name="connsiteY14" fmla="*/ 2057198 h 3839904"/>
                <a:gd name="connsiteX15" fmla="*/ 1465901 w 2224912"/>
                <a:gd name="connsiteY15" fmla="*/ 2055216 h 3839904"/>
                <a:gd name="connsiteX16" fmla="*/ 1698073 w 2224912"/>
                <a:gd name="connsiteY16" fmla="*/ 3191125 h 3839904"/>
                <a:gd name="connsiteX17" fmla="*/ 1620127 w 2224912"/>
                <a:gd name="connsiteY17" fmla="*/ 2899807 h 3839904"/>
                <a:gd name="connsiteX18" fmla="*/ 1029616 w 2224912"/>
                <a:gd name="connsiteY18" fmla="*/ 2030887 h 3839904"/>
                <a:gd name="connsiteX19" fmla="*/ 1028187 w 2224912"/>
                <a:gd name="connsiteY19" fmla="*/ 2030729 h 3839904"/>
                <a:gd name="connsiteX20" fmla="*/ 1027314 w 2224912"/>
                <a:gd name="connsiteY20" fmla="*/ 2030966 h 3839904"/>
                <a:gd name="connsiteX21" fmla="*/ 133630 w 2224912"/>
                <a:gd name="connsiteY21" fmla="*/ 2064568 h 3839904"/>
                <a:gd name="connsiteX22" fmla="*/ 107952 w 2224912"/>
                <a:gd name="connsiteY22" fmla="*/ 2066747 h 3839904"/>
                <a:gd name="connsiteX23" fmla="*/ 82076 w 2224912"/>
                <a:gd name="connsiteY23" fmla="*/ 2068689 h 3839904"/>
                <a:gd name="connsiteX24" fmla="*/ 47032 w 2224912"/>
                <a:gd name="connsiteY24" fmla="*/ 2052800 h 3839904"/>
                <a:gd name="connsiteX25" fmla="*/ 40920 w 2224912"/>
                <a:gd name="connsiteY25" fmla="*/ 2029342 h 3839904"/>
                <a:gd name="connsiteX26" fmla="*/ 2178213 w 2224912"/>
                <a:gd name="connsiteY26" fmla="*/ 1974343 h 3839904"/>
                <a:gd name="connsiteX27" fmla="*/ 2178649 w 2224912"/>
                <a:gd name="connsiteY27" fmla="*/ 1988291 h 3839904"/>
                <a:gd name="connsiteX28" fmla="*/ 1718948 w 2224912"/>
                <a:gd name="connsiteY28" fmla="*/ 2004973 h 3839904"/>
                <a:gd name="connsiteX29" fmla="*/ 1029616 w 2224912"/>
                <a:gd name="connsiteY29" fmla="*/ 2030887 h 3839904"/>
                <a:gd name="connsiteX30" fmla="*/ 1126969 w 2224912"/>
                <a:gd name="connsiteY30" fmla="*/ 2505705 h 3839904"/>
                <a:gd name="connsiteX31" fmla="*/ 1110697 w 2224912"/>
                <a:gd name="connsiteY31" fmla="*/ 2068649 h 3839904"/>
                <a:gd name="connsiteX32" fmla="*/ 1152131 w 2224912"/>
                <a:gd name="connsiteY32" fmla="*/ 2067104 h 3839904"/>
                <a:gd name="connsiteX33" fmla="*/ 1126969 w 2224912"/>
                <a:gd name="connsiteY33" fmla="*/ 2505705 h 3839904"/>
                <a:gd name="connsiteX34" fmla="*/ 1051801 w 2224912"/>
                <a:gd name="connsiteY34" fmla="*/ 2070908 h 3839904"/>
                <a:gd name="connsiteX35" fmla="*/ 1069740 w 2224912"/>
                <a:gd name="connsiteY35" fmla="*/ 2070195 h 3839904"/>
                <a:gd name="connsiteX36" fmla="*/ 1087797 w 2224912"/>
                <a:gd name="connsiteY36" fmla="*/ 2555948 h 3839904"/>
                <a:gd name="connsiteX37" fmla="*/ 1051801 w 2224912"/>
                <a:gd name="connsiteY37" fmla="*/ 2070908 h 3839904"/>
                <a:gd name="connsiteX38" fmla="*/ 764185 w 2224912"/>
                <a:gd name="connsiteY38" fmla="*/ 2083310 h 3839904"/>
                <a:gd name="connsiteX39" fmla="*/ 668657 w 2224912"/>
                <a:gd name="connsiteY39" fmla="*/ 2447299 h 3839904"/>
                <a:gd name="connsiteX40" fmla="*/ 623771 w 2224912"/>
                <a:gd name="connsiteY40" fmla="*/ 2625568 h 3839904"/>
                <a:gd name="connsiteX41" fmla="*/ 539991 w 2224912"/>
                <a:gd name="connsiteY41" fmla="*/ 2886256 h 3839904"/>
                <a:gd name="connsiteX42" fmla="*/ 468751 w 2224912"/>
                <a:gd name="connsiteY42" fmla="*/ 3100662 h 3839904"/>
                <a:gd name="connsiteX43" fmla="*/ 464783 w 2224912"/>
                <a:gd name="connsiteY43" fmla="*/ 3114214 h 3839904"/>
                <a:gd name="connsiteX44" fmla="*/ 689850 w 2224912"/>
                <a:gd name="connsiteY44" fmla="*/ 2084539 h 3839904"/>
                <a:gd name="connsiteX45" fmla="*/ 765019 w 2224912"/>
                <a:gd name="connsiteY45" fmla="*/ 2081685 h 3839904"/>
                <a:gd name="connsiteX46" fmla="*/ 764185 w 2224912"/>
                <a:gd name="connsiteY46" fmla="*/ 2083310 h 3839904"/>
                <a:gd name="connsiteX47" fmla="*/ 578527 w 2224912"/>
                <a:gd name="connsiteY47" fmla="*/ 2092305 h 3839904"/>
                <a:gd name="connsiteX48" fmla="*/ 578368 w 2224912"/>
                <a:gd name="connsiteY48" fmla="*/ 2088778 h 3839904"/>
                <a:gd name="connsiteX49" fmla="*/ 647583 w 2224912"/>
                <a:gd name="connsiteY49" fmla="*/ 2086123 h 3839904"/>
                <a:gd name="connsiteX50" fmla="*/ 393464 w 2224912"/>
                <a:gd name="connsiteY50" fmla="*/ 3248699 h 3839904"/>
                <a:gd name="connsiteX51" fmla="*/ 578527 w 2224912"/>
                <a:gd name="connsiteY51" fmla="*/ 2092305 h 3839904"/>
                <a:gd name="connsiteX52" fmla="*/ 353856 w 2224912"/>
                <a:gd name="connsiteY52" fmla="*/ 3496271 h 3839904"/>
                <a:gd name="connsiteX53" fmla="*/ 354491 w 2224912"/>
                <a:gd name="connsiteY53" fmla="*/ 3492189 h 3839904"/>
                <a:gd name="connsiteX54" fmla="*/ 354967 w 2224912"/>
                <a:gd name="connsiteY54" fmla="*/ 3492428 h 3839904"/>
                <a:gd name="connsiteX55" fmla="*/ 353856 w 2224912"/>
                <a:gd name="connsiteY55" fmla="*/ 3496271 h 3839904"/>
                <a:gd name="connsiteX56" fmla="*/ 49175 w 2224912"/>
                <a:gd name="connsiteY56" fmla="*/ 1968123 h 3839904"/>
                <a:gd name="connsiteX57" fmla="*/ 92236 w 2224912"/>
                <a:gd name="connsiteY57" fmla="*/ 1956473 h 3839904"/>
                <a:gd name="connsiteX58" fmla="*/ 211298 w 2224912"/>
                <a:gd name="connsiteY58" fmla="*/ 1944744 h 3839904"/>
                <a:gd name="connsiteX59" fmla="*/ 230110 w 2224912"/>
                <a:gd name="connsiteY59" fmla="*/ 1957107 h 3839904"/>
                <a:gd name="connsiteX60" fmla="*/ 248882 w 2224912"/>
                <a:gd name="connsiteY60" fmla="*/ 1944744 h 3839904"/>
                <a:gd name="connsiteX61" fmla="*/ 312263 w 2224912"/>
                <a:gd name="connsiteY61" fmla="*/ 1946052 h 3839904"/>
                <a:gd name="connsiteX62" fmla="*/ 422039 w 2224912"/>
                <a:gd name="connsiteY62" fmla="*/ 1947439 h 3839904"/>
                <a:gd name="connsiteX63" fmla="*/ 1117166 w 2224912"/>
                <a:gd name="connsiteY63" fmla="*/ 1930599 h 3839904"/>
                <a:gd name="connsiteX64" fmla="*/ 1840829 w 2224912"/>
                <a:gd name="connsiteY64" fmla="*/ 1913362 h 3839904"/>
                <a:gd name="connsiteX65" fmla="*/ 1944572 w 2224912"/>
                <a:gd name="connsiteY65" fmla="*/ 1904248 h 3839904"/>
                <a:gd name="connsiteX66" fmla="*/ 2092170 w 2224912"/>
                <a:gd name="connsiteY66" fmla="*/ 1896878 h 3839904"/>
                <a:gd name="connsiteX67" fmla="*/ 2172061 w 2224912"/>
                <a:gd name="connsiteY67" fmla="*/ 1933531 h 3839904"/>
                <a:gd name="connsiteX68" fmla="*/ 41912 w 2224912"/>
                <a:gd name="connsiteY68" fmla="*/ 1988371 h 3839904"/>
                <a:gd name="connsiteX69" fmla="*/ 49175 w 2224912"/>
                <a:gd name="connsiteY69" fmla="*/ 1968123 h 3839904"/>
                <a:gd name="connsiteX70" fmla="*/ 244557 w 2224912"/>
                <a:gd name="connsiteY70" fmla="*/ 317694 h 3839904"/>
                <a:gd name="connsiteX71" fmla="*/ 1029695 w 2224912"/>
                <a:gd name="connsiteY71" fmla="*/ 278427 h 3839904"/>
                <a:gd name="connsiteX72" fmla="*/ 1029854 w 2224912"/>
                <a:gd name="connsiteY72" fmla="*/ 278427 h 3839904"/>
                <a:gd name="connsiteX73" fmla="*/ 1095021 w 2224912"/>
                <a:gd name="connsiteY73" fmla="*/ 273513 h 3839904"/>
                <a:gd name="connsiteX74" fmla="*/ 1581312 w 2224912"/>
                <a:gd name="connsiteY74" fmla="*/ 239991 h 3839904"/>
                <a:gd name="connsiteX75" fmla="*/ 1961042 w 2224912"/>
                <a:gd name="connsiteY75" fmla="*/ 275098 h 3839904"/>
                <a:gd name="connsiteX76" fmla="*/ 1974536 w 2224912"/>
                <a:gd name="connsiteY76" fmla="*/ 881943 h 3839904"/>
                <a:gd name="connsiteX77" fmla="*/ 1983387 w 2224912"/>
                <a:gd name="connsiteY77" fmla="*/ 1032515 h 3839904"/>
                <a:gd name="connsiteX78" fmla="*/ 1982632 w 2224912"/>
                <a:gd name="connsiteY78" fmla="*/ 1471433 h 3839904"/>
                <a:gd name="connsiteX79" fmla="*/ 1963265 w 2224912"/>
                <a:gd name="connsiteY79" fmla="*/ 1860900 h 3839904"/>
                <a:gd name="connsiteX80" fmla="*/ 1939690 w 2224912"/>
                <a:gd name="connsiteY80" fmla="*/ 1863594 h 3839904"/>
                <a:gd name="connsiteX81" fmla="*/ 1839876 w 2224912"/>
                <a:gd name="connsiteY81" fmla="*/ 1872390 h 3839904"/>
                <a:gd name="connsiteX82" fmla="*/ 1116174 w 2224912"/>
                <a:gd name="connsiteY82" fmla="*/ 1889667 h 3839904"/>
                <a:gd name="connsiteX83" fmla="*/ 420968 w 2224912"/>
                <a:gd name="connsiteY83" fmla="*/ 1906467 h 3839904"/>
                <a:gd name="connsiteX84" fmla="*/ 313534 w 2224912"/>
                <a:gd name="connsiteY84" fmla="*/ 1905160 h 3839904"/>
                <a:gd name="connsiteX85" fmla="*/ 250589 w 2224912"/>
                <a:gd name="connsiteY85" fmla="*/ 1903852 h 3839904"/>
                <a:gd name="connsiteX86" fmla="*/ 250391 w 2224912"/>
                <a:gd name="connsiteY86" fmla="*/ 1308181 h 3839904"/>
                <a:gd name="connsiteX87" fmla="*/ 247374 w 2224912"/>
                <a:gd name="connsiteY87" fmla="*/ 1139540 h 3839904"/>
                <a:gd name="connsiteX88" fmla="*/ 244557 w 2224912"/>
                <a:gd name="connsiteY88" fmla="*/ 317694 h 3839904"/>
                <a:gd name="connsiteX89" fmla="*/ 1059342 w 2224912"/>
                <a:gd name="connsiteY89" fmla="*/ 61444 h 3839904"/>
                <a:gd name="connsiteX90" fmla="*/ 1067517 w 2224912"/>
                <a:gd name="connsiteY90" fmla="*/ 53321 h 3839904"/>
                <a:gd name="connsiteX91" fmla="*/ 1064541 w 2224912"/>
                <a:gd name="connsiteY91" fmla="*/ 234721 h 3839904"/>
                <a:gd name="connsiteX92" fmla="*/ 1049737 w 2224912"/>
                <a:gd name="connsiteY92" fmla="*/ 235830 h 3839904"/>
                <a:gd name="connsiteX93" fmla="*/ 1049181 w 2224912"/>
                <a:gd name="connsiteY93" fmla="*/ 219069 h 3839904"/>
                <a:gd name="connsiteX94" fmla="*/ 1059342 w 2224912"/>
                <a:gd name="connsiteY94" fmla="*/ 61444 h 3839904"/>
                <a:gd name="connsiteX95" fmla="*/ 1108752 w 2224912"/>
                <a:gd name="connsiteY95" fmla="*/ 41355 h 3839904"/>
                <a:gd name="connsiteX96" fmla="*/ 1157886 w 2224912"/>
                <a:gd name="connsiteY96" fmla="*/ 64891 h 3839904"/>
                <a:gd name="connsiteX97" fmla="*/ 1158838 w 2224912"/>
                <a:gd name="connsiteY97" fmla="*/ 162208 h 3839904"/>
                <a:gd name="connsiteX98" fmla="*/ 1153084 w 2224912"/>
                <a:gd name="connsiteY98" fmla="*/ 214988 h 3839904"/>
                <a:gd name="connsiteX99" fmla="*/ 1157886 w 2224912"/>
                <a:gd name="connsiteY99" fmla="*/ 227707 h 3839904"/>
                <a:gd name="connsiteX100" fmla="*/ 1105617 w 2224912"/>
                <a:gd name="connsiteY100" fmla="*/ 231630 h 3839904"/>
                <a:gd name="connsiteX101" fmla="*/ 1108752 w 2224912"/>
                <a:gd name="connsiteY101" fmla="*/ 41355 h 3839904"/>
                <a:gd name="connsiteX102" fmla="*/ 1808126 w 2224912"/>
                <a:gd name="connsiteY102" fmla="*/ 3705011 h 3839904"/>
                <a:gd name="connsiteX103" fmla="*/ 1849798 w 2224912"/>
                <a:gd name="connsiteY103" fmla="*/ 3700533 h 3839904"/>
                <a:gd name="connsiteX104" fmla="*/ 1631239 w 2224912"/>
                <a:gd name="connsiteY104" fmla="*/ 2048996 h 3839904"/>
                <a:gd name="connsiteX105" fmla="*/ 1662830 w 2224912"/>
                <a:gd name="connsiteY105" fmla="*/ 2047807 h 3839904"/>
                <a:gd name="connsiteX106" fmla="*/ 1720297 w 2224912"/>
                <a:gd name="connsiteY106" fmla="*/ 2045905 h 3839904"/>
                <a:gd name="connsiteX107" fmla="*/ 2040060 w 2224912"/>
                <a:gd name="connsiteY107" fmla="*/ 2034850 h 3839904"/>
                <a:gd name="connsiteX108" fmla="*/ 2217424 w 2224912"/>
                <a:gd name="connsiteY108" fmla="*/ 1969034 h 3839904"/>
                <a:gd name="connsiteX109" fmla="*/ 2216074 w 2224912"/>
                <a:gd name="connsiteY109" fmla="*/ 1935670 h 3839904"/>
                <a:gd name="connsiteX110" fmla="*/ 2095940 w 2224912"/>
                <a:gd name="connsiteY110" fmla="*/ 1856065 h 3839904"/>
                <a:gd name="connsiteX111" fmla="*/ 2004302 w 2224912"/>
                <a:gd name="connsiteY111" fmla="*/ 1856898 h 3839904"/>
                <a:gd name="connsiteX112" fmla="*/ 2023272 w 2224912"/>
                <a:gd name="connsiteY112" fmla="*/ 1477337 h 3839904"/>
                <a:gd name="connsiteX113" fmla="*/ 2024344 w 2224912"/>
                <a:gd name="connsiteY113" fmla="*/ 1029781 h 3839904"/>
                <a:gd name="connsiteX114" fmla="*/ 2015573 w 2224912"/>
                <a:gd name="connsiteY114" fmla="*/ 880200 h 3839904"/>
                <a:gd name="connsiteX115" fmla="*/ 2001960 w 2224912"/>
                <a:gd name="connsiteY115" fmla="*/ 261388 h 3839904"/>
                <a:gd name="connsiteX116" fmla="*/ 1989816 w 2224912"/>
                <a:gd name="connsiteY116" fmla="*/ 242844 h 3839904"/>
                <a:gd name="connsiteX117" fmla="*/ 1579169 w 2224912"/>
                <a:gd name="connsiteY117" fmla="*/ 199059 h 3839904"/>
                <a:gd name="connsiteX118" fmla="*/ 1190985 w 2224912"/>
                <a:gd name="connsiteY118" fmla="*/ 225211 h 3839904"/>
                <a:gd name="connsiteX119" fmla="*/ 1194120 w 2224912"/>
                <a:gd name="connsiteY119" fmla="*/ 214988 h 3839904"/>
                <a:gd name="connsiteX120" fmla="*/ 1199399 w 2224912"/>
                <a:gd name="connsiteY120" fmla="*/ 168390 h 3839904"/>
                <a:gd name="connsiteX121" fmla="*/ 1192572 w 2224912"/>
                <a:gd name="connsiteY121" fmla="*/ 43019 h 3839904"/>
                <a:gd name="connsiteX122" fmla="*/ 1104427 w 2224912"/>
                <a:gd name="connsiteY122" fmla="*/ -13 h 3839904"/>
                <a:gd name="connsiteX123" fmla="*/ 1025052 w 2224912"/>
                <a:gd name="connsiteY123" fmla="*/ 38977 h 3839904"/>
                <a:gd name="connsiteX124" fmla="*/ 1008184 w 2224912"/>
                <a:gd name="connsiteY124" fmla="*/ 220575 h 3839904"/>
                <a:gd name="connsiteX125" fmla="*/ 1008819 w 2224912"/>
                <a:gd name="connsiteY125" fmla="*/ 238921 h 3839904"/>
                <a:gd name="connsiteX126" fmla="*/ 229793 w 2224912"/>
                <a:gd name="connsiteY126" fmla="*/ 276723 h 3839904"/>
                <a:gd name="connsiteX127" fmla="*/ 214195 w 2224912"/>
                <a:gd name="connsiteY127" fmla="*/ 283577 h 3839904"/>
                <a:gd name="connsiteX128" fmla="*/ 206337 w 2224912"/>
                <a:gd name="connsiteY128" fmla="*/ 1140372 h 3839904"/>
                <a:gd name="connsiteX129" fmla="*/ 209393 w 2224912"/>
                <a:gd name="connsiteY129" fmla="*/ 1308181 h 3839904"/>
                <a:gd name="connsiteX130" fmla="*/ 209552 w 2224912"/>
                <a:gd name="connsiteY130" fmla="*/ 1903812 h 3839904"/>
                <a:gd name="connsiteX131" fmla="*/ 22306 w 2224912"/>
                <a:gd name="connsiteY131" fmla="*/ 1932303 h 3839904"/>
                <a:gd name="connsiteX132" fmla="*/ 13893 w 2224912"/>
                <a:gd name="connsiteY132" fmla="*/ 2076931 h 3839904"/>
                <a:gd name="connsiteX133" fmla="*/ 537292 w 2224912"/>
                <a:gd name="connsiteY133" fmla="*/ 2090324 h 3839904"/>
                <a:gd name="connsiteX134" fmla="*/ 261106 w 2224912"/>
                <a:gd name="connsiteY134" fmla="*/ 3816197 h 3839904"/>
                <a:gd name="connsiteX135" fmla="*/ 276902 w 2224912"/>
                <a:gd name="connsiteY135" fmla="*/ 3839377 h 3839904"/>
                <a:gd name="connsiteX136" fmla="*/ 281386 w 2224912"/>
                <a:gd name="connsiteY136" fmla="*/ 3839892 h 3839904"/>
                <a:gd name="connsiteX137" fmla="*/ 301072 w 2224912"/>
                <a:gd name="connsiteY137" fmla="*/ 3825113 h 3839904"/>
                <a:gd name="connsiteX138" fmla="*/ 508161 w 2224912"/>
                <a:gd name="connsiteY138" fmla="*/ 3112035 h 3839904"/>
                <a:gd name="connsiteX139" fmla="*/ 578646 w 2224912"/>
                <a:gd name="connsiteY139" fmla="*/ 2899886 h 3839904"/>
                <a:gd name="connsiteX140" fmla="*/ 663498 w 2224912"/>
                <a:gd name="connsiteY140" fmla="*/ 2635791 h 3839904"/>
                <a:gd name="connsiteX141" fmla="*/ 708504 w 2224912"/>
                <a:gd name="connsiteY141" fmla="*/ 2457165 h 3839904"/>
                <a:gd name="connsiteX142" fmla="*/ 803595 w 2224912"/>
                <a:gd name="connsiteY142" fmla="*/ 2094722 h 3839904"/>
                <a:gd name="connsiteX143" fmla="*/ 802246 w 2224912"/>
                <a:gd name="connsiteY143" fmla="*/ 2080299 h 3839904"/>
                <a:gd name="connsiteX144" fmla="*/ 1010724 w 2224912"/>
                <a:gd name="connsiteY144" fmla="*/ 2072454 h 3839904"/>
                <a:gd name="connsiteX145" fmla="*/ 1090377 w 2224912"/>
                <a:gd name="connsiteY145" fmla="*/ 3145161 h 3839904"/>
                <a:gd name="connsiteX146" fmla="*/ 1111015 w 2224912"/>
                <a:gd name="connsiteY146" fmla="*/ 3164101 h 3839904"/>
                <a:gd name="connsiteX147" fmla="*/ 1131335 w 2224912"/>
                <a:gd name="connsiteY147" fmla="*/ 3144844 h 3839904"/>
                <a:gd name="connsiteX148" fmla="*/ 1193327 w 2224912"/>
                <a:gd name="connsiteY148" fmla="*/ 2065519 h 3839904"/>
                <a:gd name="connsiteX149" fmla="*/ 1372476 w 2224912"/>
                <a:gd name="connsiteY149" fmla="*/ 2058783 h 3839904"/>
                <a:gd name="connsiteX150" fmla="*/ 1580082 w 2224912"/>
                <a:gd name="connsiteY150" fmla="*/ 2908762 h 3839904"/>
                <a:gd name="connsiteX151" fmla="*/ 1711090 w 2224912"/>
                <a:gd name="connsiteY151" fmla="*/ 3375337 h 3839904"/>
                <a:gd name="connsiteX152" fmla="*/ 1808126 w 2224912"/>
                <a:gd name="connsiteY152" fmla="*/ 3705011 h 383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2224912" h="3839904">
                  <a:moveTo>
                    <a:pt x="1842376" y="3722803"/>
                  </a:moveTo>
                  <a:cubicBezTo>
                    <a:pt x="1874285" y="3719554"/>
                    <a:pt x="1676522" y="3744517"/>
                    <a:pt x="1821421" y="3725180"/>
                  </a:cubicBezTo>
                  <a:cubicBezTo>
                    <a:pt x="1824081" y="3726409"/>
                    <a:pt x="1826898" y="3727241"/>
                    <a:pt x="1829954" y="3727241"/>
                  </a:cubicBezTo>
                  <a:cubicBezTo>
                    <a:pt x="1831225" y="3727241"/>
                    <a:pt x="1832574" y="3727122"/>
                    <a:pt x="1833883" y="3726924"/>
                  </a:cubicBezTo>
                  <a:cubicBezTo>
                    <a:pt x="1837138" y="3726250"/>
                    <a:pt x="1839916" y="3724705"/>
                    <a:pt x="1842376" y="3722803"/>
                  </a:cubicBezTo>
                  <a:close/>
                  <a:moveTo>
                    <a:pt x="1773797" y="3439490"/>
                  </a:moveTo>
                  <a:cubicBezTo>
                    <a:pt x="1773836" y="3439450"/>
                    <a:pt x="1773836" y="3439410"/>
                    <a:pt x="1773876" y="3439370"/>
                  </a:cubicBezTo>
                  <a:lnTo>
                    <a:pt x="1773916" y="3439925"/>
                  </a:lnTo>
                  <a:cubicBezTo>
                    <a:pt x="1773876" y="3439767"/>
                    <a:pt x="1773836" y="3439648"/>
                    <a:pt x="1773797" y="3439490"/>
                  </a:cubicBezTo>
                  <a:close/>
                  <a:moveTo>
                    <a:pt x="1507652" y="2053671"/>
                  </a:moveTo>
                  <a:lnTo>
                    <a:pt x="1590043" y="2050541"/>
                  </a:lnTo>
                  <a:lnTo>
                    <a:pt x="1749309" y="3253929"/>
                  </a:lnTo>
                  <a:cubicBezTo>
                    <a:pt x="1685532" y="2850634"/>
                    <a:pt x="1605521" y="2450191"/>
                    <a:pt x="1507652" y="2053671"/>
                  </a:cubicBezTo>
                  <a:close/>
                  <a:moveTo>
                    <a:pt x="1620127" y="2899807"/>
                  </a:moveTo>
                  <a:cubicBezTo>
                    <a:pt x="1555554" y="2613284"/>
                    <a:pt x="1486340" y="2330130"/>
                    <a:pt x="1414466" y="2057198"/>
                  </a:cubicBezTo>
                  <a:lnTo>
                    <a:pt x="1465901" y="2055216"/>
                  </a:lnTo>
                  <a:cubicBezTo>
                    <a:pt x="1558849" y="2430696"/>
                    <a:pt x="1635723" y="2809583"/>
                    <a:pt x="1698073" y="3191125"/>
                  </a:cubicBezTo>
                  <a:cubicBezTo>
                    <a:pt x="1669299" y="3094164"/>
                    <a:pt x="1641915" y="2996451"/>
                    <a:pt x="1620127" y="2899807"/>
                  </a:cubicBezTo>
                  <a:close/>
                  <a:moveTo>
                    <a:pt x="1029616" y="2030887"/>
                  </a:moveTo>
                  <a:cubicBezTo>
                    <a:pt x="1029100" y="2030887"/>
                    <a:pt x="1028703" y="2030690"/>
                    <a:pt x="1028187" y="2030729"/>
                  </a:cubicBezTo>
                  <a:cubicBezTo>
                    <a:pt x="1027909" y="2030769"/>
                    <a:pt x="1027631" y="2030927"/>
                    <a:pt x="1027314" y="2030966"/>
                  </a:cubicBezTo>
                  <a:lnTo>
                    <a:pt x="133630" y="2064568"/>
                  </a:lnTo>
                  <a:cubicBezTo>
                    <a:pt x="125057" y="2064925"/>
                    <a:pt x="116485" y="2065836"/>
                    <a:pt x="107952" y="2066747"/>
                  </a:cubicBezTo>
                  <a:cubicBezTo>
                    <a:pt x="99141" y="2067698"/>
                    <a:pt x="90450" y="2068689"/>
                    <a:pt x="82076" y="2068689"/>
                  </a:cubicBezTo>
                  <a:cubicBezTo>
                    <a:pt x="64931" y="2068689"/>
                    <a:pt x="55445" y="2064410"/>
                    <a:pt x="47032" y="2052800"/>
                  </a:cubicBezTo>
                  <a:cubicBezTo>
                    <a:pt x="43856" y="2048401"/>
                    <a:pt x="41952" y="2039565"/>
                    <a:pt x="40920" y="2029342"/>
                  </a:cubicBezTo>
                  <a:cubicBezTo>
                    <a:pt x="753351" y="2010996"/>
                    <a:pt x="1465782" y="1992690"/>
                    <a:pt x="2178213" y="1974343"/>
                  </a:cubicBezTo>
                  <a:cubicBezTo>
                    <a:pt x="2178371" y="1978900"/>
                    <a:pt x="2178609" y="1983140"/>
                    <a:pt x="2178649" y="1988291"/>
                  </a:cubicBezTo>
                  <a:cubicBezTo>
                    <a:pt x="2105148" y="1992254"/>
                    <a:pt x="1819834" y="2001645"/>
                    <a:pt x="1718948" y="2004973"/>
                  </a:cubicBezTo>
                  <a:lnTo>
                    <a:pt x="1029616" y="2030887"/>
                  </a:lnTo>
                  <a:close/>
                  <a:moveTo>
                    <a:pt x="1126969" y="2505705"/>
                  </a:moveTo>
                  <a:cubicBezTo>
                    <a:pt x="1121532" y="2360006"/>
                    <a:pt x="1116135" y="2214348"/>
                    <a:pt x="1110697" y="2068649"/>
                  </a:cubicBezTo>
                  <a:lnTo>
                    <a:pt x="1152131" y="2067104"/>
                  </a:lnTo>
                  <a:lnTo>
                    <a:pt x="1126969" y="2505705"/>
                  </a:lnTo>
                  <a:close/>
                  <a:moveTo>
                    <a:pt x="1051801" y="2070908"/>
                  </a:moveTo>
                  <a:lnTo>
                    <a:pt x="1069740" y="2070195"/>
                  </a:lnTo>
                  <a:cubicBezTo>
                    <a:pt x="1075772" y="2232099"/>
                    <a:pt x="1081805" y="2394044"/>
                    <a:pt x="1087797" y="2555948"/>
                  </a:cubicBezTo>
                  <a:lnTo>
                    <a:pt x="1051801" y="2070908"/>
                  </a:lnTo>
                  <a:close/>
                  <a:moveTo>
                    <a:pt x="764185" y="2083310"/>
                  </a:moveTo>
                  <a:cubicBezTo>
                    <a:pt x="729181" y="2203887"/>
                    <a:pt x="698423" y="2327633"/>
                    <a:pt x="668657" y="2447299"/>
                  </a:cubicBezTo>
                  <a:cubicBezTo>
                    <a:pt x="653894" y="2506775"/>
                    <a:pt x="639090" y="2566250"/>
                    <a:pt x="623771" y="2625568"/>
                  </a:cubicBezTo>
                  <a:cubicBezTo>
                    <a:pt x="600832" y="2714247"/>
                    <a:pt x="569875" y="2801698"/>
                    <a:pt x="539991" y="2886256"/>
                  </a:cubicBezTo>
                  <a:cubicBezTo>
                    <a:pt x="515424" y="2955757"/>
                    <a:pt x="489945" y="3027635"/>
                    <a:pt x="468751" y="3100662"/>
                  </a:cubicBezTo>
                  <a:lnTo>
                    <a:pt x="464783" y="3114214"/>
                  </a:lnTo>
                  <a:cubicBezTo>
                    <a:pt x="539832" y="2770989"/>
                    <a:pt x="614841" y="2427764"/>
                    <a:pt x="689850" y="2084539"/>
                  </a:cubicBezTo>
                  <a:lnTo>
                    <a:pt x="765019" y="2081685"/>
                  </a:lnTo>
                  <a:cubicBezTo>
                    <a:pt x="764781" y="2082320"/>
                    <a:pt x="764344" y="2082716"/>
                    <a:pt x="764185" y="2083310"/>
                  </a:cubicBezTo>
                  <a:close/>
                  <a:moveTo>
                    <a:pt x="578527" y="2092305"/>
                  </a:moveTo>
                  <a:cubicBezTo>
                    <a:pt x="578726" y="2091037"/>
                    <a:pt x="578408" y="2089928"/>
                    <a:pt x="578368" y="2088778"/>
                  </a:cubicBezTo>
                  <a:lnTo>
                    <a:pt x="647583" y="2086123"/>
                  </a:lnTo>
                  <a:cubicBezTo>
                    <a:pt x="562851" y="2473688"/>
                    <a:pt x="478157" y="2861174"/>
                    <a:pt x="393464" y="3248699"/>
                  </a:cubicBezTo>
                  <a:lnTo>
                    <a:pt x="578527" y="2092305"/>
                  </a:lnTo>
                  <a:close/>
                  <a:moveTo>
                    <a:pt x="353856" y="3496271"/>
                  </a:moveTo>
                  <a:lnTo>
                    <a:pt x="354491" y="3492189"/>
                  </a:lnTo>
                  <a:cubicBezTo>
                    <a:pt x="354650" y="3492308"/>
                    <a:pt x="354809" y="3492348"/>
                    <a:pt x="354967" y="3492428"/>
                  </a:cubicBezTo>
                  <a:lnTo>
                    <a:pt x="353856" y="3496271"/>
                  </a:lnTo>
                  <a:close/>
                  <a:moveTo>
                    <a:pt x="49175" y="1968123"/>
                  </a:moveTo>
                  <a:cubicBezTo>
                    <a:pt x="52945" y="1964952"/>
                    <a:pt x="69892" y="1961307"/>
                    <a:pt x="92236" y="1956473"/>
                  </a:cubicBezTo>
                  <a:cubicBezTo>
                    <a:pt x="125970" y="1949222"/>
                    <a:pt x="164546" y="1945537"/>
                    <a:pt x="211298" y="1944744"/>
                  </a:cubicBezTo>
                  <a:cubicBezTo>
                    <a:pt x="214434" y="1951996"/>
                    <a:pt x="221657" y="1957107"/>
                    <a:pt x="230110" y="1957107"/>
                  </a:cubicBezTo>
                  <a:cubicBezTo>
                    <a:pt x="238524" y="1957107"/>
                    <a:pt x="245747" y="1951996"/>
                    <a:pt x="248882" y="1944744"/>
                  </a:cubicBezTo>
                  <a:cubicBezTo>
                    <a:pt x="269996" y="1945022"/>
                    <a:pt x="291189" y="1945418"/>
                    <a:pt x="312263" y="1946052"/>
                  </a:cubicBezTo>
                  <a:cubicBezTo>
                    <a:pt x="349292" y="1947241"/>
                    <a:pt x="386201" y="1948350"/>
                    <a:pt x="422039" y="1947439"/>
                  </a:cubicBezTo>
                  <a:cubicBezTo>
                    <a:pt x="653695" y="1941455"/>
                    <a:pt x="885470" y="1935988"/>
                    <a:pt x="1117166" y="1930599"/>
                  </a:cubicBezTo>
                  <a:lnTo>
                    <a:pt x="1840829" y="1913362"/>
                  </a:lnTo>
                  <a:cubicBezTo>
                    <a:pt x="1875714" y="1912530"/>
                    <a:pt x="1910718" y="1908329"/>
                    <a:pt x="1944572" y="1904248"/>
                  </a:cubicBezTo>
                  <a:cubicBezTo>
                    <a:pt x="1993348" y="1898384"/>
                    <a:pt x="2043354" y="1892242"/>
                    <a:pt x="2092170" y="1896878"/>
                  </a:cubicBezTo>
                  <a:cubicBezTo>
                    <a:pt x="2141581" y="1901396"/>
                    <a:pt x="2162893" y="1908964"/>
                    <a:pt x="2172061" y="1933531"/>
                  </a:cubicBezTo>
                  <a:cubicBezTo>
                    <a:pt x="1462011" y="1951837"/>
                    <a:pt x="751962" y="1970104"/>
                    <a:pt x="41912" y="1988371"/>
                  </a:cubicBezTo>
                  <a:cubicBezTo>
                    <a:pt x="43460" y="1978742"/>
                    <a:pt x="45841" y="1970936"/>
                    <a:pt x="49175" y="1968123"/>
                  </a:cubicBezTo>
                  <a:close/>
                  <a:moveTo>
                    <a:pt x="244557" y="317694"/>
                  </a:moveTo>
                  <a:cubicBezTo>
                    <a:pt x="508915" y="317021"/>
                    <a:pt x="772798" y="298080"/>
                    <a:pt x="1029695" y="278427"/>
                  </a:cubicBezTo>
                  <a:lnTo>
                    <a:pt x="1029854" y="278427"/>
                  </a:lnTo>
                  <a:cubicBezTo>
                    <a:pt x="1051483" y="276762"/>
                    <a:pt x="1073470" y="275138"/>
                    <a:pt x="1095021" y="273513"/>
                  </a:cubicBezTo>
                  <a:cubicBezTo>
                    <a:pt x="1253850" y="261229"/>
                    <a:pt x="1418157" y="248589"/>
                    <a:pt x="1581312" y="239991"/>
                  </a:cubicBezTo>
                  <a:cubicBezTo>
                    <a:pt x="1703510" y="233532"/>
                    <a:pt x="1841543" y="226281"/>
                    <a:pt x="1961042" y="275098"/>
                  </a:cubicBezTo>
                  <a:cubicBezTo>
                    <a:pt x="1962987" y="519421"/>
                    <a:pt x="1967194" y="707041"/>
                    <a:pt x="1974536" y="881943"/>
                  </a:cubicBezTo>
                  <a:cubicBezTo>
                    <a:pt x="1976679" y="931434"/>
                    <a:pt x="1980013" y="981796"/>
                    <a:pt x="1983387" y="1032515"/>
                  </a:cubicBezTo>
                  <a:cubicBezTo>
                    <a:pt x="1993149" y="1178689"/>
                    <a:pt x="2003230" y="1329855"/>
                    <a:pt x="1982632" y="1471433"/>
                  </a:cubicBezTo>
                  <a:cubicBezTo>
                    <a:pt x="1963900" y="1600846"/>
                    <a:pt x="1963304" y="1726454"/>
                    <a:pt x="1963265" y="1860900"/>
                  </a:cubicBezTo>
                  <a:cubicBezTo>
                    <a:pt x="1955407" y="1861771"/>
                    <a:pt x="1947509" y="1862643"/>
                    <a:pt x="1939690" y="1863594"/>
                  </a:cubicBezTo>
                  <a:cubicBezTo>
                    <a:pt x="1906829" y="1867556"/>
                    <a:pt x="1872817" y="1871598"/>
                    <a:pt x="1839876" y="1872390"/>
                  </a:cubicBezTo>
                  <a:lnTo>
                    <a:pt x="1116174" y="1889667"/>
                  </a:lnTo>
                  <a:cubicBezTo>
                    <a:pt x="884478" y="1895095"/>
                    <a:pt x="652703" y="1900484"/>
                    <a:pt x="420968" y="1906467"/>
                  </a:cubicBezTo>
                  <a:cubicBezTo>
                    <a:pt x="385725" y="1907418"/>
                    <a:pt x="349768" y="1906230"/>
                    <a:pt x="313534" y="1905160"/>
                  </a:cubicBezTo>
                  <a:cubicBezTo>
                    <a:pt x="292618" y="1904486"/>
                    <a:pt x="271584" y="1904130"/>
                    <a:pt x="250589" y="1903852"/>
                  </a:cubicBezTo>
                  <a:lnTo>
                    <a:pt x="250391" y="1308181"/>
                  </a:lnTo>
                  <a:cubicBezTo>
                    <a:pt x="250391" y="1284961"/>
                    <a:pt x="249081" y="1222632"/>
                    <a:pt x="247374" y="1139540"/>
                  </a:cubicBezTo>
                  <a:cubicBezTo>
                    <a:pt x="242651" y="915228"/>
                    <a:pt x="231976" y="404709"/>
                    <a:pt x="244557" y="317694"/>
                  </a:cubicBezTo>
                  <a:close/>
                  <a:moveTo>
                    <a:pt x="1059342" y="61444"/>
                  </a:moveTo>
                  <a:cubicBezTo>
                    <a:pt x="1061604" y="57997"/>
                    <a:pt x="1064580" y="55699"/>
                    <a:pt x="1067517" y="53321"/>
                  </a:cubicBezTo>
                  <a:cubicBezTo>
                    <a:pt x="1066525" y="113787"/>
                    <a:pt x="1065533" y="174254"/>
                    <a:pt x="1064541" y="234721"/>
                  </a:cubicBezTo>
                  <a:cubicBezTo>
                    <a:pt x="1059580" y="235077"/>
                    <a:pt x="1054658" y="235434"/>
                    <a:pt x="1049737" y="235830"/>
                  </a:cubicBezTo>
                  <a:cubicBezTo>
                    <a:pt x="1049578" y="230481"/>
                    <a:pt x="1049420" y="225092"/>
                    <a:pt x="1049181" y="219069"/>
                  </a:cubicBezTo>
                  <a:cubicBezTo>
                    <a:pt x="1047396" y="172075"/>
                    <a:pt x="1044141" y="84584"/>
                    <a:pt x="1059342" y="61444"/>
                  </a:cubicBezTo>
                  <a:close/>
                  <a:moveTo>
                    <a:pt x="1108752" y="41355"/>
                  </a:moveTo>
                  <a:cubicBezTo>
                    <a:pt x="1129985" y="42504"/>
                    <a:pt x="1149472" y="51538"/>
                    <a:pt x="1157886" y="64891"/>
                  </a:cubicBezTo>
                  <a:cubicBezTo>
                    <a:pt x="1170665" y="85060"/>
                    <a:pt x="1164117" y="127854"/>
                    <a:pt x="1158838" y="162208"/>
                  </a:cubicBezTo>
                  <a:cubicBezTo>
                    <a:pt x="1155901" y="181426"/>
                    <a:pt x="1153084" y="199613"/>
                    <a:pt x="1153084" y="214988"/>
                  </a:cubicBezTo>
                  <a:cubicBezTo>
                    <a:pt x="1153084" y="219862"/>
                    <a:pt x="1155028" y="224181"/>
                    <a:pt x="1157886" y="227707"/>
                  </a:cubicBezTo>
                  <a:cubicBezTo>
                    <a:pt x="1140542" y="229015"/>
                    <a:pt x="1123000" y="230323"/>
                    <a:pt x="1105617" y="231630"/>
                  </a:cubicBezTo>
                  <a:cubicBezTo>
                    <a:pt x="1106649" y="168191"/>
                    <a:pt x="1107721" y="104793"/>
                    <a:pt x="1108752" y="41355"/>
                  </a:cubicBezTo>
                  <a:close/>
                  <a:moveTo>
                    <a:pt x="1808126" y="3705011"/>
                  </a:moveTo>
                  <a:cubicBezTo>
                    <a:pt x="1666918" y="3726012"/>
                    <a:pt x="1880437" y="3697799"/>
                    <a:pt x="1849798" y="3700533"/>
                  </a:cubicBezTo>
                  <a:lnTo>
                    <a:pt x="1631239" y="2048996"/>
                  </a:lnTo>
                  <a:lnTo>
                    <a:pt x="1662830" y="2047807"/>
                  </a:lnTo>
                  <a:lnTo>
                    <a:pt x="1720297" y="2045905"/>
                  </a:lnTo>
                  <a:cubicBezTo>
                    <a:pt x="1826859" y="2042418"/>
                    <a:pt x="1933499" y="2039209"/>
                    <a:pt x="2040060" y="2034850"/>
                  </a:cubicBezTo>
                  <a:cubicBezTo>
                    <a:pt x="2103917" y="2032234"/>
                    <a:pt x="2208296" y="2047450"/>
                    <a:pt x="2217424" y="1969034"/>
                  </a:cubicBezTo>
                  <a:cubicBezTo>
                    <a:pt x="2227822" y="1960594"/>
                    <a:pt x="2227425" y="1942605"/>
                    <a:pt x="2216074" y="1935670"/>
                  </a:cubicBezTo>
                  <a:cubicBezTo>
                    <a:pt x="2204763" y="1881227"/>
                    <a:pt x="2151027" y="1861137"/>
                    <a:pt x="2095940" y="1856065"/>
                  </a:cubicBezTo>
                  <a:cubicBezTo>
                    <a:pt x="2065381" y="1853252"/>
                    <a:pt x="2034703" y="1854401"/>
                    <a:pt x="2004302" y="1856898"/>
                  </a:cubicBezTo>
                  <a:cubicBezTo>
                    <a:pt x="2004342" y="1726851"/>
                    <a:pt x="2004976" y="1603302"/>
                    <a:pt x="2023272" y="1477337"/>
                  </a:cubicBezTo>
                  <a:cubicBezTo>
                    <a:pt x="2044465" y="1331441"/>
                    <a:pt x="2034226" y="1178094"/>
                    <a:pt x="2024344" y="1029781"/>
                  </a:cubicBezTo>
                  <a:cubicBezTo>
                    <a:pt x="2020970" y="979419"/>
                    <a:pt x="2017597" y="929413"/>
                    <a:pt x="2015573" y="880200"/>
                  </a:cubicBezTo>
                  <a:cubicBezTo>
                    <a:pt x="2008032" y="702643"/>
                    <a:pt x="2003826" y="511773"/>
                    <a:pt x="2001960" y="261388"/>
                  </a:cubicBezTo>
                  <a:cubicBezTo>
                    <a:pt x="2001881" y="253384"/>
                    <a:pt x="1997118" y="246133"/>
                    <a:pt x="1989816" y="242844"/>
                  </a:cubicBezTo>
                  <a:cubicBezTo>
                    <a:pt x="1858569" y="184398"/>
                    <a:pt x="1710217" y="192244"/>
                    <a:pt x="1579169" y="199059"/>
                  </a:cubicBezTo>
                  <a:cubicBezTo>
                    <a:pt x="1449034" y="205953"/>
                    <a:pt x="1319017" y="215464"/>
                    <a:pt x="1190985" y="225211"/>
                  </a:cubicBezTo>
                  <a:cubicBezTo>
                    <a:pt x="1192771" y="222160"/>
                    <a:pt x="1194120" y="218792"/>
                    <a:pt x="1194120" y="214988"/>
                  </a:cubicBezTo>
                  <a:cubicBezTo>
                    <a:pt x="1194120" y="202704"/>
                    <a:pt x="1196660" y="186062"/>
                    <a:pt x="1199399" y="168390"/>
                  </a:cubicBezTo>
                  <a:cubicBezTo>
                    <a:pt x="1206027" y="125160"/>
                    <a:pt x="1213567" y="76144"/>
                    <a:pt x="1192572" y="43019"/>
                  </a:cubicBezTo>
                  <a:cubicBezTo>
                    <a:pt x="1176261" y="17223"/>
                    <a:pt x="1142130" y="344"/>
                    <a:pt x="1104427" y="-13"/>
                  </a:cubicBezTo>
                  <a:cubicBezTo>
                    <a:pt x="1070256" y="-13"/>
                    <a:pt x="1041323" y="14172"/>
                    <a:pt x="1025052" y="38977"/>
                  </a:cubicBezTo>
                  <a:cubicBezTo>
                    <a:pt x="1004335" y="70479"/>
                    <a:pt x="1005168" y="139860"/>
                    <a:pt x="1008184" y="220575"/>
                  </a:cubicBezTo>
                  <a:cubicBezTo>
                    <a:pt x="1008422" y="227153"/>
                    <a:pt x="1008661" y="233215"/>
                    <a:pt x="1008819" y="238921"/>
                  </a:cubicBezTo>
                  <a:cubicBezTo>
                    <a:pt x="753589" y="258376"/>
                    <a:pt x="491691" y="276723"/>
                    <a:pt x="229793" y="276723"/>
                  </a:cubicBezTo>
                  <a:cubicBezTo>
                    <a:pt x="224356" y="276802"/>
                    <a:pt x="218005" y="279655"/>
                    <a:pt x="214195" y="283577"/>
                  </a:cubicBezTo>
                  <a:cubicBezTo>
                    <a:pt x="198956" y="299388"/>
                    <a:pt x="190145" y="367541"/>
                    <a:pt x="206337" y="1140372"/>
                  </a:cubicBezTo>
                  <a:cubicBezTo>
                    <a:pt x="208044" y="1223068"/>
                    <a:pt x="209393" y="1285120"/>
                    <a:pt x="209393" y="1308181"/>
                  </a:cubicBezTo>
                  <a:lnTo>
                    <a:pt x="209552" y="1903812"/>
                  </a:lnTo>
                  <a:cubicBezTo>
                    <a:pt x="153275" y="1904843"/>
                    <a:pt x="55803" y="1885982"/>
                    <a:pt x="22306" y="1932303"/>
                  </a:cubicBezTo>
                  <a:cubicBezTo>
                    <a:pt x="-633" y="1964041"/>
                    <a:pt x="-9801" y="2044598"/>
                    <a:pt x="13893" y="2076931"/>
                  </a:cubicBezTo>
                  <a:cubicBezTo>
                    <a:pt x="47032" y="2122142"/>
                    <a:pt x="534910" y="2105143"/>
                    <a:pt x="537292" y="2090324"/>
                  </a:cubicBezTo>
                  <a:cubicBezTo>
                    <a:pt x="537252" y="2090522"/>
                    <a:pt x="261106" y="3816197"/>
                    <a:pt x="261106" y="3816197"/>
                  </a:cubicBezTo>
                  <a:cubicBezTo>
                    <a:pt x="259399" y="3826895"/>
                    <a:pt x="266305" y="3837039"/>
                    <a:pt x="276902" y="3839377"/>
                  </a:cubicBezTo>
                  <a:cubicBezTo>
                    <a:pt x="278410" y="3839733"/>
                    <a:pt x="279879" y="3839892"/>
                    <a:pt x="281386" y="3839892"/>
                  </a:cubicBezTo>
                  <a:cubicBezTo>
                    <a:pt x="290356" y="3839892"/>
                    <a:pt x="298492" y="3834067"/>
                    <a:pt x="301072" y="3825113"/>
                  </a:cubicBezTo>
                  <a:lnTo>
                    <a:pt x="508161" y="3112035"/>
                  </a:lnTo>
                  <a:cubicBezTo>
                    <a:pt x="529037" y="3040196"/>
                    <a:pt x="554278" y="2968872"/>
                    <a:pt x="578646" y="2899886"/>
                  </a:cubicBezTo>
                  <a:cubicBezTo>
                    <a:pt x="608888" y="2814496"/>
                    <a:pt x="640122" y="2726214"/>
                    <a:pt x="663498" y="2635791"/>
                  </a:cubicBezTo>
                  <a:cubicBezTo>
                    <a:pt x="678857" y="2576355"/>
                    <a:pt x="693661" y="2516799"/>
                    <a:pt x="708504" y="2457165"/>
                  </a:cubicBezTo>
                  <a:cubicBezTo>
                    <a:pt x="738150" y="2337896"/>
                    <a:pt x="768789" y="2214546"/>
                    <a:pt x="803595" y="2094722"/>
                  </a:cubicBezTo>
                  <a:cubicBezTo>
                    <a:pt x="805024" y="2089729"/>
                    <a:pt x="804309" y="2084658"/>
                    <a:pt x="802246" y="2080299"/>
                  </a:cubicBezTo>
                  <a:lnTo>
                    <a:pt x="1010724" y="2072454"/>
                  </a:lnTo>
                  <a:lnTo>
                    <a:pt x="1090377" y="3145161"/>
                  </a:lnTo>
                  <a:cubicBezTo>
                    <a:pt x="1091171" y="3155859"/>
                    <a:pt x="1100101" y="3164101"/>
                    <a:pt x="1111015" y="3164101"/>
                  </a:cubicBezTo>
                  <a:cubicBezTo>
                    <a:pt x="1121810" y="3164061"/>
                    <a:pt x="1130700" y="3155622"/>
                    <a:pt x="1131335" y="3144844"/>
                  </a:cubicBezTo>
                  <a:lnTo>
                    <a:pt x="1193327" y="2065519"/>
                  </a:lnTo>
                  <a:lnTo>
                    <a:pt x="1372476" y="2058783"/>
                  </a:lnTo>
                  <a:cubicBezTo>
                    <a:pt x="1445065" y="2333894"/>
                    <a:pt x="1514954" y="2619664"/>
                    <a:pt x="1580082" y="2908762"/>
                  </a:cubicBezTo>
                  <a:cubicBezTo>
                    <a:pt x="1615205" y="3064525"/>
                    <a:pt x="1663941" y="3222507"/>
                    <a:pt x="1711090" y="3375337"/>
                  </a:cubicBezTo>
                  <a:cubicBezTo>
                    <a:pt x="1744507" y="3483432"/>
                    <a:pt x="1778837" y="3595173"/>
                    <a:pt x="1808126" y="3705011"/>
                  </a:cubicBezTo>
                  <a:close/>
                </a:path>
              </a:pathLst>
            </a:custGeom>
            <a:grpFill/>
            <a:ln w="39688" cap="flat">
              <a:noFill/>
              <a:prstDash val="solid"/>
              <a:round/>
            </a:ln>
          </p:spPr>
          <p:txBody>
            <a:bodyPr rtlCol="0" anchor="ctr"/>
            <a:lstStyle/>
            <a:p>
              <a:endParaRPr lang="en-LT"/>
            </a:p>
          </p:txBody>
        </p:sp>
      </p:grpSp>
      <p:grpSp>
        <p:nvGrpSpPr>
          <p:cNvPr id="161" name="Graphic 142">
            <a:extLst>
              <a:ext uri="{FF2B5EF4-FFF2-40B4-BE49-F238E27FC236}">
                <a16:creationId xmlns:a16="http://schemas.microsoft.com/office/drawing/2014/main" id="{99B6D9A8-24D2-E549-AEF8-96F47D6C4BF2}"/>
              </a:ext>
            </a:extLst>
          </p:cNvPr>
          <p:cNvGrpSpPr/>
          <p:nvPr/>
        </p:nvGrpSpPr>
        <p:grpSpPr>
          <a:xfrm>
            <a:off x="2914879" y="3985990"/>
            <a:ext cx="657017" cy="1133925"/>
            <a:chOff x="5009734" y="1528902"/>
            <a:chExt cx="2224912" cy="3839904"/>
          </a:xfrm>
          <a:solidFill>
            <a:schemeClr val="tx1">
              <a:lumMod val="75000"/>
              <a:lumOff val="25000"/>
            </a:schemeClr>
          </a:solidFill>
        </p:grpSpPr>
        <p:sp>
          <p:nvSpPr>
            <p:cNvPr id="162" name="Freeform 161">
              <a:extLst>
                <a:ext uri="{FF2B5EF4-FFF2-40B4-BE49-F238E27FC236}">
                  <a16:creationId xmlns:a16="http://schemas.microsoft.com/office/drawing/2014/main" id="{1835F041-A081-E942-8361-B2D5FE9C6194}"/>
                </a:ext>
              </a:extLst>
            </p:cNvPr>
            <p:cNvSpPr/>
            <p:nvPr/>
          </p:nvSpPr>
          <p:spPr>
            <a:xfrm>
              <a:off x="5417566" y="2003597"/>
              <a:ext cx="1483633" cy="1215002"/>
            </a:xfrm>
            <a:custGeom>
              <a:avLst/>
              <a:gdLst>
                <a:gd name="connsiteX0" fmla="*/ 1034379 w 1483633"/>
                <a:gd name="connsiteY0" fmla="*/ 631692 h 1215002"/>
                <a:gd name="connsiteX1" fmla="*/ 973220 w 1483633"/>
                <a:gd name="connsiteY1" fmla="*/ 738004 h 1215002"/>
                <a:gd name="connsiteX2" fmla="*/ 904481 w 1483633"/>
                <a:gd name="connsiteY2" fmla="*/ 600469 h 1215002"/>
                <a:gd name="connsiteX3" fmla="*/ 976712 w 1483633"/>
                <a:gd name="connsiteY3" fmla="*/ 366686 h 1215002"/>
                <a:gd name="connsiteX4" fmla="*/ 1034379 w 1483633"/>
                <a:gd name="connsiteY4" fmla="*/ 631692 h 1215002"/>
                <a:gd name="connsiteX5" fmla="*/ 1388987 w 1483633"/>
                <a:gd name="connsiteY5" fmla="*/ 64987 h 1215002"/>
                <a:gd name="connsiteX6" fmla="*/ 1387756 w 1483633"/>
                <a:gd name="connsiteY6" fmla="*/ 69464 h 1215002"/>
                <a:gd name="connsiteX7" fmla="*/ 1387439 w 1483633"/>
                <a:gd name="connsiteY7" fmla="*/ 65898 h 1215002"/>
                <a:gd name="connsiteX8" fmla="*/ 1388987 w 1483633"/>
                <a:gd name="connsiteY8" fmla="*/ 64987 h 1215002"/>
                <a:gd name="connsiteX9" fmla="*/ 756050 w 1483633"/>
                <a:gd name="connsiteY9" fmla="*/ 959583 h 1215002"/>
                <a:gd name="connsiteX10" fmla="*/ 641750 w 1483633"/>
                <a:gd name="connsiteY10" fmla="*/ 724572 h 1215002"/>
                <a:gd name="connsiteX11" fmla="*/ 766130 w 1483633"/>
                <a:gd name="connsiteY11" fmla="*/ 367121 h 1215002"/>
                <a:gd name="connsiteX12" fmla="*/ 860547 w 1483633"/>
                <a:gd name="connsiteY12" fmla="*/ 603480 h 1215002"/>
                <a:gd name="connsiteX13" fmla="*/ 756050 w 1483633"/>
                <a:gd name="connsiteY13" fmla="*/ 959583 h 1215002"/>
                <a:gd name="connsiteX14" fmla="*/ 526973 w 1483633"/>
                <a:gd name="connsiteY14" fmla="*/ 947894 h 1215002"/>
                <a:gd name="connsiteX15" fmla="*/ 411006 w 1483633"/>
                <a:gd name="connsiteY15" fmla="*/ 661252 h 1215002"/>
                <a:gd name="connsiteX16" fmla="*/ 491492 w 1483633"/>
                <a:gd name="connsiteY16" fmla="*/ 498278 h 1215002"/>
                <a:gd name="connsiteX17" fmla="*/ 597180 w 1483633"/>
                <a:gd name="connsiteY17" fmla="*/ 727583 h 1215002"/>
                <a:gd name="connsiteX18" fmla="*/ 526973 w 1483633"/>
                <a:gd name="connsiteY18" fmla="*/ 947894 h 1215002"/>
                <a:gd name="connsiteX19" fmla="*/ 960798 w 1483633"/>
                <a:gd name="connsiteY19" fmla="*/ 280463 h 1215002"/>
                <a:gd name="connsiteX20" fmla="*/ 879478 w 1483633"/>
                <a:gd name="connsiteY20" fmla="*/ 541825 h 1215002"/>
                <a:gd name="connsiteX21" fmla="*/ 785022 w 1483633"/>
                <a:gd name="connsiteY21" fmla="*/ 300038 h 1215002"/>
                <a:gd name="connsiteX22" fmla="*/ 765773 w 1483633"/>
                <a:gd name="connsiteY22" fmla="*/ 286605 h 1215002"/>
                <a:gd name="connsiteX23" fmla="*/ 765694 w 1483633"/>
                <a:gd name="connsiteY23" fmla="*/ 286605 h 1215002"/>
                <a:gd name="connsiteX24" fmla="*/ 746445 w 1483633"/>
                <a:gd name="connsiteY24" fmla="*/ 300236 h 1215002"/>
                <a:gd name="connsiteX25" fmla="*/ 616508 w 1483633"/>
                <a:gd name="connsiteY25" fmla="*/ 670722 h 1215002"/>
                <a:gd name="connsiteX26" fmla="*/ 510940 w 1483633"/>
                <a:gd name="connsiteY26" fmla="*/ 441972 h 1215002"/>
                <a:gd name="connsiteX27" fmla="*/ 492604 w 1483633"/>
                <a:gd name="connsiteY27" fmla="*/ 429966 h 1215002"/>
                <a:gd name="connsiteX28" fmla="*/ 473871 w 1483633"/>
                <a:gd name="connsiteY28" fmla="*/ 441417 h 1215002"/>
                <a:gd name="connsiteX29" fmla="*/ 390607 w 1483633"/>
                <a:gd name="connsiteY29" fmla="*/ 610018 h 1215002"/>
                <a:gd name="connsiteX30" fmla="*/ 354094 w 1483633"/>
                <a:gd name="connsiteY30" fmla="*/ 518011 h 1215002"/>
                <a:gd name="connsiteX31" fmla="*/ 336433 w 1483633"/>
                <a:gd name="connsiteY31" fmla="*/ 505093 h 1215002"/>
                <a:gd name="connsiteX32" fmla="*/ 317106 w 1483633"/>
                <a:gd name="connsiteY32" fmla="*/ 515515 h 1215002"/>
                <a:gd name="connsiteX33" fmla="*/ 2622 w 1483633"/>
                <a:gd name="connsiteY33" fmla="*/ 1075246 h 1215002"/>
                <a:gd name="connsiteX34" fmla="*/ 10519 w 1483633"/>
                <a:gd name="connsiteY34" fmla="*/ 1103142 h 1215002"/>
                <a:gd name="connsiteX35" fmla="*/ 20521 w 1483633"/>
                <a:gd name="connsiteY35" fmla="*/ 1105757 h 1215002"/>
                <a:gd name="connsiteX36" fmla="*/ 38420 w 1483633"/>
                <a:gd name="connsiteY36" fmla="*/ 1095296 h 1215002"/>
                <a:gd name="connsiteX37" fmla="*/ 331790 w 1483633"/>
                <a:gd name="connsiteY37" fmla="*/ 573128 h 1215002"/>
                <a:gd name="connsiteX38" fmla="*/ 366040 w 1483633"/>
                <a:gd name="connsiteY38" fmla="*/ 659707 h 1215002"/>
                <a:gd name="connsiteX39" fmla="*/ 106404 w 1483633"/>
                <a:gd name="connsiteY39" fmla="*/ 1185401 h 1215002"/>
                <a:gd name="connsiteX40" fmla="*/ 115771 w 1483633"/>
                <a:gd name="connsiteY40" fmla="*/ 1212822 h 1215002"/>
                <a:gd name="connsiteX41" fmla="*/ 124819 w 1483633"/>
                <a:gd name="connsiteY41" fmla="*/ 1214922 h 1215002"/>
                <a:gd name="connsiteX42" fmla="*/ 143195 w 1483633"/>
                <a:gd name="connsiteY42" fmla="*/ 1203510 h 1215002"/>
                <a:gd name="connsiteX43" fmla="*/ 386400 w 1483633"/>
                <a:gd name="connsiteY43" fmla="*/ 711060 h 1215002"/>
                <a:gd name="connsiteX44" fmla="*/ 513122 w 1483633"/>
                <a:gd name="connsiteY44" fmla="*/ 1013987 h 1215002"/>
                <a:gd name="connsiteX45" fmla="*/ 513202 w 1483633"/>
                <a:gd name="connsiteY45" fmla="*/ 1014185 h 1215002"/>
                <a:gd name="connsiteX46" fmla="*/ 513281 w 1483633"/>
                <a:gd name="connsiteY46" fmla="*/ 1014185 h 1215002"/>
                <a:gd name="connsiteX47" fmla="*/ 539157 w 1483633"/>
                <a:gd name="connsiteY47" fmla="*/ 1031422 h 1215002"/>
                <a:gd name="connsiteX48" fmla="*/ 553643 w 1483633"/>
                <a:gd name="connsiteY48" fmla="*/ 1008440 h 1215002"/>
                <a:gd name="connsiteX49" fmla="*/ 622541 w 1483633"/>
                <a:gd name="connsiteY49" fmla="*/ 781552 h 1215002"/>
                <a:gd name="connsiteX50" fmla="*/ 769345 w 1483633"/>
                <a:gd name="connsiteY50" fmla="*/ 1032175 h 1215002"/>
                <a:gd name="connsiteX51" fmla="*/ 786291 w 1483633"/>
                <a:gd name="connsiteY51" fmla="*/ 1010421 h 1215002"/>
                <a:gd name="connsiteX52" fmla="*/ 886265 w 1483633"/>
                <a:gd name="connsiteY52" fmla="*/ 660183 h 1215002"/>
                <a:gd name="connsiteX53" fmla="*/ 971910 w 1483633"/>
                <a:gd name="connsiteY53" fmla="*/ 786980 h 1215002"/>
                <a:gd name="connsiteX54" fmla="*/ 996636 w 1483633"/>
                <a:gd name="connsiteY54" fmla="*/ 776916 h 1215002"/>
                <a:gd name="connsiteX55" fmla="*/ 1047435 w 1483633"/>
                <a:gd name="connsiteY55" fmla="*/ 691842 h 1215002"/>
                <a:gd name="connsiteX56" fmla="*/ 1101252 w 1483633"/>
                <a:gd name="connsiteY56" fmla="*/ 939414 h 1215002"/>
                <a:gd name="connsiteX57" fmla="*/ 1117167 w 1483633"/>
                <a:gd name="connsiteY57" fmla="*/ 955145 h 1215002"/>
                <a:gd name="connsiteX58" fmla="*/ 1138042 w 1483633"/>
                <a:gd name="connsiteY58" fmla="*/ 946943 h 1215002"/>
                <a:gd name="connsiteX59" fmla="*/ 1401012 w 1483633"/>
                <a:gd name="connsiteY59" fmla="*/ 566907 h 1215002"/>
                <a:gd name="connsiteX60" fmla="*/ 1368032 w 1483633"/>
                <a:gd name="connsiteY60" fmla="*/ 662164 h 1215002"/>
                <a:gd name="connsiteX61" fmla="*/ 1380731 w 1483633"/>
                <a:gd name="connsiteY61" fmla="*/ 688236 h 1215002"/>
                <a:gd name="connsiteX62" fmla="*/ 1387439 w 1483633"/>
                <a:gd name="connsiteY62" fmla="*/ 689346 h 1215002"/>
                <a:gd name="connsiteX63" fmla="*/ 1406806 w 1483633"/>
                <a:gd name="connsiteY63" fmla="*/ 675557 h 1215002"/>
                <a:gd name="connsiteX64" fmla="*/ 1482530 w 1483633"/>
                <a:gd name="connsiteY64" fmla="*/ 457148 h 1215002"/>
                <a:gd name="connsiteX65" fmla="*/ 1474791 w 1483633"/>
                <a:gd name="connsiteY65" fmla="*/ 433571 h 1215002"/>
                <a:gd name="connsiteX66" fmla="*/ 1449986 w 1483633"/>
                <a:gd name="connsiteY66" fmla="*/ 434721 h 1215002"/>
                <a:gd name="connsiteX67" fmla="*/ 1298499 w 1483633"/>
                <a:gd name="connsiteY67" fmla="*/ 561003 h 1215002"/>
                <a:gd name="connsiteX68" fmla="*/ 1295919 w 1483633"/>
                <a:gd name="connsiteY68" fmla="*/ 589849 h 1215002"/>
                <a:gd name="connsiteX69" fmla="*/ 1324772 w 1483633"/>
                <a:gd name="connsiteY69" fmla="*/ 592425 h 1215002"/>
                <a:gd name="connsiteX70" fmla="*/ 1347989 w 1483633"/>
                <a:gd name="connsiteY70" fmla="*/ 573089 h 1215002"/>
                <a:gd name="connsiteX71" fmla="*/ 1131454 w 1483633"/>
                <a:gd name="connsiteY71" fmla="*/ 885327 h 1215002"/>
                <a:gd name="connsiteX72" fmla="*/ 1077757 w 1483633"/>
                <a:gd name="connsiteY72" fmla="*/ 638191 h 1215002"/>
                <a:gd name="connsiteX73" fmla="*/ 1265717 w 1483633"/>
                <a:gd name="connsiteY73" fmla="*/ 297740 h 1215002"/>
                <a:gd name="connsiteX74" fmla="*/ 1285362 w 1483633"/>
                <a:gd name="connsiteY74" fmla="*/ 313907 h 1215002"/>
                <a:gd name="connsiteX75" fmla="*/ 1456415 w 1483633"/>
                <a:gd name="connsiteY75" fmla="*/ 313907 h 1215002"/>
                <a:gd name="connsiteX76" fmla="*/ 1476934 w 1483633"/>
                <a:gd name="connsiteY76" fmla="*/ 293460 h 1215002"/>
                <a:gd name="connsiteX77" fmla="*/ 1456415 w 1483633"/>
                <a:gd name="connsiteY77" fmla="*/ 272974 h 1215002"/>
                <a:gd name="connsiteX78" fmla="*/ 1285362 w 1483633"/>
                <a:gd name="connsiteY78" fmla="*/ 272974 h 1215002"/>
                <a:gd name="connsiteX79" fmla="*/ 1278497 w 1483633"/>
                <a:gd name="connsiteY79" fmla="*/ 274361 h 1215002"/>
                <a:gd name="connsiteX80" fmla="*/ 1385454 w 1483633"/>
                <a:gd name="connsiteY80" fmla="*/ 77944 h 1215002"/>
                <a:gd name="connsiteX81" fmla="*/ 1385891 w 1483633"/>
                <a:gd name="connsiteY81" fmla="*/ 76517 h 1215002"/>
                <a:gd name="connsiteX82" fmla="*/ 1347592 w 1483633"/>
                <a:gd name="connsiteY82" fmla="*/ 219917 h 1215002"/>
                <a:gd name="connsiteX83" fmla="*/ 1362118 w 1483633"/>
                <a:gd name="connsiteY83" fmla="*/ 244960 h 1215002"/>
                <a:gd name="connsiteX84" fmla="*/ 1367436 w 1483633"/>
                <a:gd name="connsiteY84" fmla="*/ 245674 h 1215002"/>
                <a:gd name="connsiteX85" fmla="*/ 1387240 w 1483633"/>
                <a:gd name="connsiteY85" fmla="*/ 230458 h 1215002"/>
                <a:gd name="connsiteX86" fmla="*/ 1441930 w 1483633"/>
                <a:gd name="connsiteY86" fmla="*/ 25680 h 1215002"/>
                <a:gd name="connsiteX87" fmla="*/ 1434310 w 1483633"/>
                <a:gd name="connsiteY87" fmla="*/ 3965 h 1215002"/>
                <a:gd name="connsiteX88" fmla="*/ 1411331 w 1483633"/>
                <a:gd name="connsiteY88" fmla="*/ 3014 h 1215002"/>
                <a:gd name="connsiteX89" fmla="*/ 1190430 w 1483633"/>
                <a:gd name="connsiteY89" fmla="*/ 139480 h 1215002"/>
                <a:gd name="connsiteX90" fmla="*/ 1183802 w 1483633"/>
                <a:gd name="connsiteY90" fmla="*/ 167693 h 1215002"/>
                <a:gd name="connsiteX91" fmla="*/ 1211980 w 1483633"/>
                <a:gd name="connsiteY91" fmla="*/ 174350 h 1215002"/>
                <a:gd name="connsiteX92" fmla="*/ 1324018 w 1483633"/>
                <a:gd name="connsiteY92" fmla="*/ 105087 h 1215002"/>
                <a:gd name="connsiteX93" fmla="*/ 1064581 w 1483633"/>
                <a:gd name="connsiteY93" fmla="*/ 577645 h 1215002"/>
                <a:gd name="connsiteX94" fmla="*/ 1000406 w 1483633"/>
                <a:gd name="connsiteY94" fmla="*/ 282286 h 1215002"/>
                <a:gd name="connsiteX95" fmla="*/ 981237 w 1483633"/>
                <a:gd name="connsiteY95" fmla="*/ 266159 h 1215002"/>
                <a:gd name="connsiteX96" fmla="*/ 960798 w 1483633"/>
                <a:gd name="connsiteY96" fmla="*/ 280463 h 12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483633" h="1215002">
                  <a:moveTo>
                    <a:pt x="1034379" y="631692"/>
                  </a:moveTo>
                  <a:cubicBezTo>
                    <a:pt x="1007232" y="679955"/>
                    <a:pt x="985404" y="718113"/>
                    <a:pt x="973220" y="738004"/>
                  </a:cubicBezTo>
                  <a:cubicBezTo>
                    <a:pt x="957861" y="716647"/>
                    <a:pt x="933096" y="666126"/>
                    <a:pt x="904481" y="600469"/>
                  </a:cubicBezTo>
                  <a:cubicBezTo>
                    <a:pt x="928651" y="521260"/>
                    <a:pt x="953813" y="440189"/>
                    <a:pt x="976712" y="366686"/>
                  </a:cubicBezTo>
                  <a:lnTo>
                    <a:pt x="1034379" y="631692"/>
                  </a:lnTo>
                  <a:close/>
                  <a:moveTo>
                    <a:pt x="1388987" y="64987"/>
                  </a:moveTo>
                  <a:lnTo>
                    <a:pt x="1387756" y="69464"/>
                  </a:lnTo>
                  <a:cubicBezTo>
                    <a:pt x="1387835" y="68276"/>
                    <a:pt x="1387558" y="67087"/>
                    <a:pt x="1387439" y="65898"/>
                  </a:cubicBezTo>
                  <a:lnTo>
                    <a:pt x="1388987" y="64987"/>
                  </a:lnTo>
                  <a:close/>
                  <a:moveTo>
                    <a:pt x="756050" y="959583"/>
                  </a:moveTo>
                  <a:cubicBezTo>
                    <a:pt x="730531" y="911043"/>
                    <a:pt x="687708" y="822166"/>
                    <a:pt x="641750" y="724572"/>
                  </a:cubicBezTo>
                  <a:cubicBezTo>
                    <a:pt x="680881" y="609265"/>
                    <a:pt x="726840" y="477752"/>
                    <a:pt x="766130" y="367121"/>
                  </a:cubicBezTo>
                  <a:cubicBezTo>
                    <a:pt x="801651" y="462022"/>
                    <a:pt x="833083" y="540596"/>
                    <a:pt x="860547" y="603480"/>
                  </a:cubicBezTo>
                  <a:cubicBezTo>
                    <a:pt x="818478" y="741016"/>
                    <a:pt x="775576" y="884495"/>
                    <a:pt x="756050" y="959583"/>
                  </a:cubicBezTo>
                  <a:close/>
                  <a:moveTo>
                    <a:pt x="526973" y="947894"/>
                  </a:moveTo>
                  <a:cubicBezTo>
                    <a:pt x="500184" y="883782"/>
                    <a:pt x="454782" y="770972"/>
                    <a:pt x="411006" y="661252"/>
                  </a:cubicBezTo>
                  <a:lnTo>
                    <a:pt x="491492" y="498278"/>
                  </a:lnTo>
                  <a:cubicBezTo>
                    <a:pt x="533085" y="589334"/>
                    <a:pt x="567812" y="664700"/>
                    <a:pt x="597180" y="727583"/>
                  </a:cubicBezTo>
                  <a:cubicBezTo>
                    <a:pt x="567415" y="816025"/>
                    <a:pt x="541856" y="894996"/>
                    <a:pt x="526973" y="947894"/>
                  </a:cubicBezTo>
                  <a:close/>
                  <a:moveTo>
                    <a:pt x="960798" y="280463"/>
                  </a:moveTo>
                  <a:cubicBezTo>
                    <a:pt x="947621" y="322346"/>
                    <a:pt x="915237" y="425686"/>
                    <a:pt x="879478" y="541825"/>
                  </a:cubicBezTo>
                  <a:cubicBezTo>
                    <a:pt x="848641" y="467886"/>
                    <a:pt x="815343" y="382496"/>
                    <a:pt x="785022" y="300038"/>
                  </a:cubicBezTo>
                  <a:cubicBezTo>
                    <a:pt x="782085" y="291994"/>
                    <a:pt x="774385" y="286605"/>
                    <a:pt x="765773" y="286605"/>
                  </a:cubicBezTo>
                  <a:lnTo>
                    <a:pt x="765694" y="286605"/>
                  </a:lnTo>
                  <a:cubicBezTo>
                    <a:pt x="757042" y="286684"/>
                    <a:pt x="749342" y="292113"/>
                    <a:pt x="746445" y="300236"/>
                  </a:cubicBezTo>
                  <a:cubicBezTo>
                    <a:pt x="708385" y="406666"/>
                    <a:pt x="659609" y="544440"/>
                    <a:pt x="616508" y="670722"/>
                  </a:cubicBezTo>
                  <a:cubicBezTo>
                    <a:pt x="579202" y="590999"/>
                    <a:pt x="541618" y="509373"/>
                    <a:pt x="510940" y="441972"/>
                  </a:cubicBezTo>
                  <a:cubicBezTo>
                    <a:pt x="507645" y="434760"/>
                    <a:pt x="500502" y="430084"/>
                    <a:pt x="492604" y="429966"/>
                  </a:cubicBezTo>
                  <a:cubicBezTo>
                    <a:pt x="483277" y="429054"/>
                    <a:pt x="477404" y="434285"/>
                    <a:pt x="473871" y="441417"/>
                  </a:cubicBezTo>
                  <a:lnTo>
                    <a:pt x="390607" y="610018"/>
                  </a:lnTo>
                  <a:cubicBezTo>
                    <a:pt x="377827" y="577883"/>
                    <a:pt x="365485" y="546738"/>
                    <a:pt x="354094" y="518011"/>
                  </a:cubicBezTo>
                  <a:cubicBezTo>
                    <a:pt x="351237" y="510641"/>
                    <a:pt x="344331" y="505608"/>
                    <a:pt x="336433" y="505093"/>
                  </a:cubicBezTo>
                  <a:cubicBezTo>
                    <a:pt x="328020" y="504776"/>
                    <a:pt x="320995" y="508659"/>
                    <a:pt x="317106" y="515515"/>
                  </a:cubicBezTo>
                  <a:lnTo>
                    <a:pt x="2622" y="1075246"/>
                  </a:lnTo>
                  <a:cubicBezTo>
                    <a:pt x="-2895" y="1085113"/>
                    <a:pt x="597" y="1097595"/>
                    <a:pt x="10519" y="1103142"/>
                  </a:cubicBezTo>
                  <a:cubicBezTo>
                    <a:pt x="13655" y="1104925"/>
                    <a:pt x="17108" y="1105757"/>
                    <a:pt x="20521" y="1105757"/>
                  </a:cubicBezTo>
                  <a:cubicBezTo>
                    <a:pt x="27704" y="1105757"/>
                    <a:pt x="34649" y="1101993"/>
                    <a:pt x="38420" y="1095296"/>
                  </a:cubicBezTo>
                  <a:lnTo>
                    <a:pt x="331790" y="573128"/>
                  </a:lnTo>
                  <a:cubicBezTo>
                    <a:pt x="344093" y="604154"/>
                    <a:pt x="355364" y="632683"/>
                    <a:pt x="366040" y="659707"/>
                  </a:cubicBezTo>
                  <a:lnTo>
                    <a:pt x="106404" y="1185401"/>
                  </a:lnTo>
                  <a:cubicBezTo>
                    <a:pt x="101404" y="1195546"/>
                    <a:pt x="105571" y="1207829"/>
                    <a:pt x="115771" y="1212822"/>
                  </a:cubicBezTo>
                  <a:cubicBezTo>
                    <a:pt x="118628" y="1214288"/>
                    <a:pt x="121764" y="1214922"/>
                    <a:pt x="124819" y="1214922"/>
                  </a:cubicBezTo>
                  <a:cubicBezTo>
                    <a:pt x="132360" y="1214922"/>
                    <a:pt x="139623" y="1210761"/>
                    <a:pt x="143195" y="1203510"/>
                  </a:cubicBezTo>
                  <a:lnTo>
                    <a:pt x="386400" y="711060"/>
                  </a:lnTo>
                  <a:cubicBezTo>
                    <a:pt x="462957" y="903991"/>
                    <a:pt x="495342" y="983081"/>
                    <a:pt x="513122" y="1013987"/>
                  </a:cubicBezTo>
                  <a:cubicBezTo>
                    <a:pt x="513122" y="1014067"/>
                    <a:pt x="513202" y="1014146"/>
                    <a:pt x="513202" y="1014185"/>
                  </a:cubicBezTo>
                  <a:lnTo>
                    <a:pt x="513281" y="1014185"/>
                  </a:lnTo>
                  <a:cubicBezTo>
                    <a:pt x="525505" y="1035463"/>
                    <a:pt x="530942" y="1033879"/>
                    <a:pt x="539157" y="1031422"/>
                  </a:cubicBezTo>
                  <a:cubicBezTo>
                    <a:pt x="549317" y="1028411"/>
                    <a:pt x="555747" y="1018782"/>
                    <a:pt x="553643" y="1008440"/>
                  </a:cubicBezTo>
                  <a:cubicBezTo>
                    <a:pt x="554040" y="991758"/>
                    <a:pt x="582933" y="899909"/>
                    <a:pt x="622541" y="781552"/>
                  </a:cubicBezTo>
                  <a:cubicBezTo>
                    <a:pt x="743508" y="1037564"/>
                    <a:pt x="753906" y="1035741"/>
                    <a:pt x="769345" y="1032175"/>
                  </a:cubicBezTo>
                  <a:cubicBezTo>
                    <a:pt x="778394" y="1030233"/>
                    <a:pt x="785736" y="1019653"/>
                    <a:pt x="786291" y="1010421"/>
                  </a:cubicBezTo>
                  <a:cubicBezTo>
                    <a:pt x="787363" y="990728"/>
                    <a:pt x="832607" y="836550"/>
                    <a:pt x="886265" y="660183"/>
                  </a:cubicBezTo>
                  <a:cubicBezTo>
                    <a:pt x="924761" y="741452"/>
                    <a:pt x="953456" y="784167"/>
                    <a:pt x="971910" y="786980"/>
                  </a:cubicBezTo>
                  <a:cubicBezTo>
                    <a:pt x="981594" y="788644"/>
                    <a:pt x="990683" y="784721"/>
                    <a:pt x="996636" y="776916"/>
                  </a:cubicBezTo>
                  <a:cubicBezTo>
                    <a:pt x="1003065" y="768515"/>
                    <a:pt x="1021718" y="736975"/>
                    <a:pt x="1047435" y="691842"/>
                  </a:cubicBezTo>
                  <a:lnTo>
                    <a:pt x="1101252" y="939414"/>
                  </a:lnTo>
                  <a:cubicBezTo>
                    <a:pt x="1102998" y="947379"/>
                    <a:pt x="1109229" y="953521"/>
                    <a:pt x="1117167" y="955145"/>
                  </a:cubicBezTo>
                  <a:cubicBezTo>
                    <a:pt x="1125303" y="956730"/>
                    <a:pt x="1133319" y="953560"/>
                    <a:pt x="1138042" y="946943"/>
                  </a:cubicBezTo>
                  <a:cubicBezTo>
                    <a:pt x="1285918" y="738837"/>
                    <a:pt x="1361919" y="627493"/>
                    <a:pt x="1401012" y="566907"/>
                  </a:cubicBezTo>
                  <a:lnTo>
                    <a:pt x="1368032" y="662164"/>
                  </a:lnTo>
                  <a:cubicBezTo>
                    <a:pt x="1364340" y="672862"/>
                    <a:pt x="1369976" y="684512"/>
                    <a:pt x="1380731" y="688236"/>
                  </a:cubicBezTo>
                  <a:cubicBezTo>
                    <a:pt x="1382914" y="688989"/>
                    <a:pt x="1385176" y="689346"/>
                    <a:pt x="1387439" y="689346"/>
                  </a:cubicBezTo>
                  <a:cubicBezTo>
                    <a:pt x="1395892" y="689346"/>
                    <a:pt x="1403869" y="684036"/>
                    <a:pt x="1406806" y="675557"/>
                  </a:cubicBezTo>
                  <a:lnTo>
                    <a:pt x="1482530" y="457148"/>
                  </a:lnTo>
                  <a:cubicBezTo>
                    <a:pt x="1485506" y="448430"/>
                    <a:pt x="1482371" y="438842"/>
                    <a:pt x="1474791" y="433571"/>
                  </a:cubicBezTo>
                  <a:cubicBezTo>
                    <a:pt x="1467171" y="428341"/>
                    <a:pt x="1457011" y="428896"/>
                    <a:pt x="1449986" y="434721"/>
                  </a:cubicBezTo>
                  <a:lnTo>
                    <a:pt x="1298499" y="561003"/>
                  </a:lnTo>
                  <a:cubicBezTo>
                    <a:pt x="1289847" y="568254"/>
                    <a:pt x="1288656" y="581132"/>
                    <a:pt x="1295919" y="589849"/>
                  </a:cubicBezTo>
                  <a:cubicBezTo>
                    <a:pt x="1303182" y="598527"/>
                    <a:pt x="1316120" y="599676"/>
                    <a:pt x="1324772" y="592425"/>
                  </a:cubicBezTo>
                  <a:lnTo>
                    <a:pt x="1347989" y="573089"/>
                  </a:lnTo>
                  <a:cubicBezTo>
                    <a:pt x="1291792" y="656933"/>
                    <a:pt x="1202812" y="784444"/>
                    <a:pt x="1131454" y="885327"/>
                  </a:cubicBezTo>
                  <a:lnTo>
                    <a:pt x="1077757" y="638191"/>
                  </a:lnTo>
                  <a:cubicBezTo>
                    <a:pt x="1132367" y="540913"/>
                    <a:pt x="1204598" y="409520"/>
                    <a:pt x="1265717" y="297740"/>
                  </a:cubicBezTo>
                  <a:cubicBezTo>
                    <a:pt x="1267741" y="306893"/>
                    <a:pt x="1275560" y="313907"/>
                    <a:pt x="1285362" y="313907"/>
                  </a:cubicBezTo>
                  <a:lnTo>
                    <a:pt x="1456415" y="313907"/>
                  </a:lnTo>
                  <a:cubicBezTo>
                    <a:pt x="1467766" y="313907"/>
                    <a:pt x="1476934" y="304753"/>
                    <a:pt x="1476934" y="293460"/>
                  </a:cubicBezTo>
                  <a:cubicBezTo>
                    <a:pt x="1476934" y="282128"/>
                    <a:pt x="1467766" y="272974"/>
                    <a:pt x="1456415" y="272974"/>
                  </a:cubicBezTo>
                  <a:lnTo>
                    <a:pt x="1285362" y="272974"/>
                  </a:lnTo>
                  <a:cubicBezTo>
                    <a:pt x="1282942" y="272974"/>
                    <a:pt x="1280679" y="273569"/>
                    <a:pt x="1278497" y="274361"/>
                  </a:cubicBezTo>
                  <a:cubicBezTo>
                    <a:pt x="1331162" y="177995"/>
                    <a:pt x="1373508" y="99896"/>
                    <a:pt x="1385454" y="77944"/>
                  </a:cubicBezTo>
                  <a:cubicBezTo>
                    <a:pt x="1385692" y="77468"/>
                    <a:pt x="1385692" y="76953"/>
                    <a:pt x="1385891" y="76517"/>
                  </a:cubicBezTo>
                  <a:lnTo>
                    <a:pt x="1347592" y="219917"/>
                  </a:lnTo>
                  <a:cubicBezTo>
                    <a:pt x="1344655" y="230854"/>
                    <a:pt x="1351204" y="242068"/>
                    <a:pt x="1362118" y="244960"/>
                  </a:cubicBezTo>
                  <a:cubicBezTo>
                    <a:pt x="1363904" y="245435"/>
                    <a:pt x="1365690" y="245674"/>
                    <a:pt x="1367436" y="245674"/>
                  </a:cubicBezTo>
                  <a:cubicBezTo>
                    <a:pt x="1376525" y="245674"/>
                    <a:pt x="1384820" y="239611"/>
                    <a:pt x="1387240" y="230458"/>
                  </a:cubicBezTo>
                  <a:lnTo>
                    <a:pt x="1441930" y="25680"/>
                  </a:lnTo>
                  <a:cubicBezTo>
                    <a:pt x="1444112" y="17557"/>
                    <a:pt x="1441096" y="8958"/>
                    <a:pt x="1434310" y="3965"/>
                  </a:cubicBezTo>
                  <a:cubicBezTo>
                    <a:pt x="1427642" y="-1027"/>
                    <a:pt x="1418395" y="-1463"/>
                    <a:pt x="1411331" y="3014"/>
                  </a:cubicBezTo>
                  <a:lnTo>
                    <a:pt x="1190430" y="139480"/>
                  </a:lnTo>
                  <a:cubicBezTo>
                    <a:pt x="1180786" y="145464"/>
                    <a:pt x="1177809" y="158064"/>
                    <a:pt x="1183802" y="167693"/>
                  </a:cubicBezTo>
                  <a:cubicBezTo>
                    <a:pt x="1189755" y="177322"/>
                    <a:pt x="1202455" y="180293"/>
                    <a:pt x="1211980" y="174350"/>
                  </a:cubicBezTo>
                  <a:lnTo>
                    <a:pt x="1324018" y="105087"/>
                  </a:lnTo>
                  <a:cubicBezTo>
                    <a:pt x="1255755" y="230695"/>
                    <a:pt x="1145583" y="432303"/>
                    <a:pt x="1064581" y="577645"/>
                  </a:cubicBezTo>
                  <a:lnTo>
                    <a:pt x="1000406" y="282286"/>
                  </a:lnTo>
                  <a:cubicBezTo>
                    <a:pt x="998421" y="273212"/>
                    <a:pt x="990563" y="266595"/>
                    <a:pt x="981237" y="266159"/>
                  </a:cubicBezTo>
                  <a:cubicBezTo>
                    <a:pt x="971831" y="265327"/>
                    <a:pt x="963536" y="271627"/>
                    <a:pt x="960798" y="280463"/>
                  </a:cubicBezTo>
                  <a:close/>
                </a:path>
              </a:pathLst>
            </a:custGeom>
            <a:grpFill/>
            <a:ln w="39688" cap="flat">
              <a:noFill/>
              <a:prstDash val="solid"/>
              <a:round/>
            </a:ln>
          </p:spPr>
          <p:txBody>
            <a:bodyPr rtlCol="0" anchor="ctr"/>
            <a:lstStyle/>
            <a:p>
              <a:endParaRPr lang="en-LT"/>
            </a:p>
          </p:txBody>
        </p:sp>
        <p:sp>
          <p:nvSpPr>
            <p:cNvPr id="163" name="Freeform 162">
              <a:extLst>
                <a:ext uri="{FF2B5EF4-FFF2-40B4-BE49-F238E27FC236}">
                  <a16:creationId xmlns:a16="http://schemas.microsoft.com/office/drawing/2014/main" id="{87300AC5-FF72-7243-9FE7-CF766947CE25}"/>
                </a:ext>
              </a:extLst>
            </p:cNvPr>
            <p:cNvSpPr/>
            <p:nvPr/>
          </p:nvSpPr>
          <p:spPr>
            <a:xfrm>
              <a:off x="5314661" y="2323207"/>
              <a:ext cx="178118" cy="45966"/>
            </a:xfrm>
            <a:custGeom>
              <a:avLst/>
              <a:gdLst>
                <a:gd name="connsiteX0" fmla="*/ 20416 w 178118"/>
                <a:gd name="connsiteY0" fmla="*/ 45866 h 45966"/>
                <a:gd name="connsiteX1" fmla="*/ 22837 w 178118"/>
                <a:gd name="connsiteY1" fmla="*/ 45746 h 45966"/>
                <a:gd name="connsiteX2" fmla="*/ 156068 w 178118"/>
                <a:gd name="connsiteY2" fmla="*/ 42656 h 45966"/>
                <a:gd name="connsiteX3" fmla="*/ 178015 w 178118"/>
                <a:gd name="connsiteY3" fmla="*/ 23675 h 45966"/>
                <a:gd name="connsiteX4" fmla="*/ 159045 w 178118"/>
                <a:gd name="connsiteY4" fmla="*/ 1803 h 45966"/>
                <a:gd name="connsiteX5" fmla="*/ 18035 w 178118"/>
                <a:gd name="connsiteY5" fmla="*/ 5052 h 45966"/>
                <a:gd name="connsiteX6" fmla="*/ 96 w 178118"/>
                <a:gd name="connsiteY6" fmla="*/ 27836 h 45966"/>
                <a:gd name="connsiteX7" fmla="*/ 20416 w 178118"/>
                <a:gd name="connsiteY7" fmla="*/ 45866 h 4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118" h="45966">
                  <a:moveTo>
                    <a:pt x="20416" y="45866"/>
                  </a:moveTo>
                  <a:cubicBezTo>
                    <a:pt x="21250" y="45866"/>
                    <a:pt x="22043" y="45866"/>
                    <a:pt x="22837" y="45746"/>
                  </a:cubicBezTo>
                  <a:cubicBezTo>
                    <a:pt x="66930" y="40516"/>
                    <a:pt x="111777" y="39446"/>
                    <a:pt x="156068" y="42656"/>
                  </a:cubicBezTo>
                  <a:cubicBezTo>
                    <a:pt x="167379" y="43646"/>
                    <a:pt x="177182" y="35048"/>
                    <a:pt x="178015" y="23675"/>
                  </a:cubicBezTo>
                  <a:cubicBezTo>
                    <a:pt x="178809" y="12422"/>
                    <a:pt x="170316" y="2595"/>
                    <a:pt x="159045" y="1803"/>
                  </a:cubicBezTo>
                  <a:cubicBezTo>
                    <a:pt x="112134" y="-1565"/>
                    <a:pt x="64628" y="-455"/>
                    <a:pt x="18035" y="5052"/>
                  </a:cubicBezTo>
                  <a:cubicBezTo>
                    <a:pt x="6803" y="6400"/>
                    <a:pt x="-1253" y="16583"/>
                    <a:pt x="96" y="27836"/>
                  </a:cubicBezTo>
                  <a:cubicBezTo>
                    <a:pt x="1327" y="38218"/>
                    <a:pt x="10217" y="45866"/>
                    <a:pt x="20416" y="45866"/>
                  </a:cubicBezTo>
                  <a:close/>
                </a:path>
              </a:pathLst>
            </a:custGeom>
            <a:grpFill/>
            <a:ln w="39688" cap="flat">
              <a:noFill/>
              <a:prstDash val="solid"/>
              <a:round/>
            </a:ln>
          </p:spPr>
          <p:txBody>
            <a:bodyPr rtlCol="0" anchor="ctr"/>
            <a:lstStyle/>
            <a:p>
              <a:endParaRPr lang="en-LT"/>
            </a:p>
          </p:txBody>
        </p:sp>
        <p:sp>
          <p:nvSpPr>
            <p:cNvPr id="164" name="Freeform 163">
              <a:extLst>
                <a:ext uri="{FF2B5EF4-FFF2-40B4-BE49-F238E27FC236}">
                  <a16:creationId xmlns:a16="http://schemas.microsoft.com/office/drawing/2014/main" id="{083F95F6-C20E-DC49-8D38-49F6FACC90E6}"/>
                </a:ext>
              </a:extLst>
            </p:cNvPr>
            <p:cNvSpPr/>
            <p:nvPr/>
          </p:nvSpPr>
          <p:spPr>
            <a:xfrm>
              <a:off x="5581667" y="2324438"/>
              <a:ext cx="123031" cy="40932"/>
            </a:xfrm>
            <a:custGeom>
              <a:avLst/>
              <a:gdLst>
                <a:gd name="connsiteX0" fmla="*/ 102520 w 123031"/>
                <a:gd name="connsiteY0" fmla="*/ 40831 h 40932"/>
                <a:gd name="connsiteX1" fmla="*/ 122999 w 123031"/>
                <a:gd name="connsiteY1" fmla="*/ 20345 h 40932"/>
                <a:gd name="connsiteX2" fmla="*/ 102520 w 123031"/>
                <a:gd name="connsiteY2" fmla="*/ -101 h 40932"/>
                <a:gd name="connsiteX3" fmla="*/ 20447 w 123031"/>
                <a:gd name="connsiteY3" fmla="*/ -101 h 40932"/>
                <a:gd name="connsiteX4" fmla="*/ -32 w 123031"/>
                <a:gd name="connsiteY4" fmla="*/ 20345 h 40932"/>
                <a:gd name="connsiteX5" fmla="*/ 20447 w 123031"/>
                <a:gd name="connsiteY5" fmla="*/ 40831 h 40932"/>
                <a:gd name="connsiteX6" fmla="*/ 102520 w 123031"/>
                <a:gd name="connsiteY6" fmla="*/ 40831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031" h="40932">
                  <a:moveTo>
                    <a:pt x="102520" y="40831"/>
                  </a:moveTo>
                  <a:cubicBezTo>
                    <a:pt x="113831" y="40831"/>
                    <a:pt x="122999" y="31677"/>
                    <a:pt x="122999" y="20345"/>
                  </a:cubicBezTo>
                  <a:cubicBezTo>
                    <a:pt x="122999" y="9052"/>
                    <a:pt x="113831" y="-101"/>
                    <a:pt x="102520" y="-101"/>
                  </a:cubicBezTo>
                  <a:lnTo>
                    <a:pt x="20447" y="-101"/>
                  </a:lnTo>
                  <a:cubicBezTo>
                    <a:pt x="9136" y="-101"/>
                    <a:pt x="-32" y="9052"/>
                    <a:pt x="-32" y="20345"/>
                  </a:cubicBezTo>
                  <a:cubicBezTo>
                    <a:pt x="-32" y="31677"/>
                    <a:pt x="9136" y="40831"/>
                    <a:pt x="20447" y="40831"/>
                  </a:cubicBezTo>
                  <a:lnTo>
                    <a:pt x="102520" y="40831"/>
                  </a:lnTo>
                  <a:close/>
                </a:path>
              </a:pathLst>
            </a:custGeom>
            <a:grpFill/>
            <a:ln w="39688" cap="flat">
              <a:noFill/>
              <a:prstDash val="solid"/>
              <a:round/>
            </a:ln>
          </p:spPr>
          <p:txBody>
            <a:bodyPr rtlCol="0" anchor="ctr"/>
            <a:lstStyle/>
            <a:p>
              <a:endParaRPr lang="en-LT"/>
            </a:p>
          </p:txBody>
        </p:sp>
        <p:sp>
          <p:nvSpPr>
            <p:cNvPr id="165" name="Freeform 164">
              <a:extLst>
                <a:ext uri="{FF2B5EF4-FFF2-40B4-BE49-F238E27FC236}">
                  <a16:creationId xmlns:a16="http://schemas.microsoft.com/office/drawing/2014/main" id="{1CF8B608-3CBF-3745-80FA-2178083E77FD}"/>
                </a:ext>
              </a:extLst>
            </p:cNvPr>
            <p:cNvSpPr/>
            <p:nvPr/>
          </p:nvSpPr>
          <p:spPr>
            <a:xfrm>
              <a:off x="5807251" y="2310767"/>
              <a:ext cx="158115" cy="40971"/>
            </a:xfrm>
            <a:custGeom>
              <a:avLst/>
              <a:gdLst>
                <a:gd name="connsiteX0" fmla="*/ 20545 w 158115"/>
                <a:gd name="connsiteY0" fmla="*/ 40869 h 40971"/>
                <a:gd name="connsiteX1" fmla="*/ 137583 w 158115"/>
                <a:gd name="connsiteY1" fmla="*/ 40869 h 40971"/>
                <a:gd name="connsiteX2" fmla="*/ 158102 w 158115"/>
                <a:gd name="connsiteY2" fmla="*/ 20384 h 40971"/>
                <a:gd name="connsiteX3" fmla="*/ 137583 w 158115"/>
                <a:gd name="connsiteY3" fmla="*/ -103 h 40971"/>
                <a:gd name="connsiteX4" fmla="*/ 20545 w 158115"/>
                <a:gd name="connsiteY4" fmla="*/ -103 h 40971"/>
                <a:gd name="connsiteX5" fmla="*/ -13 w 158115"/>
                <a:gd name="connsiteY5" fmla="*/ 20384 h 40971"/>
                <a:gd name="connsiteX6" fmla="*/ 20545 w 158115"/>
                <a:gd name="connsiteY6" fmla="*/ 40869 h 40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115" h="40971">
                  <a:moveTo>
                    <a:pt x="20545" y="40869"/>
                  </a:moveTo>
                  <a:lnTo>
                    <a:pt x="137583" y="40869"/>
                  </a:lnTo>
                  <a:cubicBezTo>
                    <a:pt x="148895" y="40869"/>
                    <a:pt x="158102" y="31716"/>
                    <a:pt x="158102" y="20384"/>
                  </a:cubicBezTo>
                  <a:cubicBezTo>
                    <a:pt x="158102" y="9051"/>
                    <a:pt x="148895" y="-103"/>
                    <a:pt x="137583" y="-103"/>
                  </a:cubicBezTo>
                  <a:lnTo>
                    <a:pt x="20545" y="-103"/>
                  </a:lnTo>
                  <a:cubicBezTo>
                    <a:pt x="9194" y="-103"/>
                    <a:pt x="-13" y="9051"/>
                    <a:pt x="-13" y="20384"/>
                  </a:cubicBezTo>
                  <a:cubicBezTo>
                    <a:pt x="-13" y="31716"/>
                    <a:pt x="9194" y="40869"/>
                    <a:pt x="20545" y="40869"/>
                  </a:cubicBezTo>
                  <a:close/>
                </a:path>
              </a:pathLst>
            </a:custGeom>
            <a:grpFill/>
            <a:ln w="39688" cap="flat">
              <a:noFill/>
              <a:prstDash val="solid"/>
              <a:round/>
            </a:ln>
          </p:spPr>
          <p:txBody>
            <a:bodyPr rtlCol="0" anchor="ctr"/>
            <a:lstStyle/>
            <a:p>
              <a:endParaRPr lang="en-LT"/>
            </a:p>
          </p:txBody>
        </p:sp>
        <p:sp>
          <p:nvSpPr>
            <p:cNvPr id="166" name="Freeform 165">
              <a:extLst>
                <a:ext uri="{FF2B5EF4-FFF2-40B4-BE49-F238E27FC236}">
                  <a16:creationId xmlns:a16="http://schemas.microsoft.com/office/drawing/2014/main" id="{487077A0-B473-5746-95E3-3DC2E2924456}"/>
                </a:ext>
              </a:extLst>
            </p:cNvPr>
            <p:cNvSpPr/>
            <p:nvPr/>
          </p:nvSpPr>
          <p:spPr>
            <a:xfrm>
              <a:off x="6470470" y="2269836"/>
              <a:ext cx="116522" cy="40931"/>
            </a:xfrm>
            <a:custGeom>
              <a:avLst/>
              <a:gdLst>
                <a:gd name="connsiteX0" fmla="*/ 20557 w 116522"/>
                <a:gd name="connsiteY0" fmla="*/ -106 h 40931"/>
                <a:gd name="connsiteX1" fmla="*/ 38 w 116522"/>
                <a:gd name="connsiteY1" fmla="*/ 20340 h 40931"/>
                <a:gd name="connsiteX2" fmla="*/ 20557 w 116522"/>
                <a:gd name="connsiteY2" fmla="*/ 40826 h 40931"/>
                <a:gd name="connsiteX3" fmla="*/ 96043 w 116522"/>
                <a:gd name="connsiteY3" fmla="*/ 40826 h 40931"/>
                <a:gd name="connsiteX4" fmla="*/ 116561 w 116522"/>
                <a:gd name="connsiteY4" fmla="*/ 20340 h 40931"/>
                <a:gd name="connsiteX5" fmla="*/ 96043 w 116522"/>
                <a:gd name="connsiteY5" fmla="*/ -106 h 40931"/>
                <a:gd name="connsiteX6" fmla="*/ 20557 w 116522"/>
                <a:gd name="connsiteY6" fmla="*/ -106 h 40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522" h="40931">
                  <a:moveTo>
                    <a:pt x="20557" y="-106"/>
                  </a:moveTo>
                  <a:cubicBezTo>
                    <a:pt x="9206" y="-106"/>
                    <a:pt x="38" y="9048"/>
                    <a:pt x="38" y="20340"/>
                  </a:cubicBezTo>
                  <a:cubicBezTo>
                    <a:pt x="38" y="31673"/>
                    <a:pt x="9206" y="40826"/>
                    <a:pt x="20557" y="40826"/>
                  </a:cubicBezTo>
                  <a:lnTo>
                    <a:pt x="96043" y="40826"/>
                  </a:lnTo>
                  <a:cubicBezTo>
                    <a:pt x="107393" y="40826"/>
                    <a:pt x="116561" y="31673"/>
                    <a:pt x="116561" y="20340"/>
                  </a:cubicBezTo>
                  <a:cubicBezTo>
                    <a:pt x="116561" y="9048"/>
                    <a:pt x="107393" y="-106"/>
                    <a:pt x="96043" y="-106"/>
                  </a:cubicBezTo>
                  <a:lnTo>
                    <a:pt x="20557" y="-106"/>
                  </a:lnTo>
                  <a:close/>
                </a:path>
              </a:pathLst>
            </a:custGeom>
            <a:grpFill/>
            <a:ln w="39688" cap="flat">
              <a:noFill/>
              <a:prstDash val="solid"/>
              <a:round/>
            </a:ln>
          </p:spPr>
          <p:txBody>
            <a:bodyPr rtlCol="0" anchor="ctr"/>
            <a:lstStyle/>
            <a:p>
              <a:endParaRPr lang="en-LT"/>
            </a:p>
          </p:txBody>
        </p:sp>
        <p:sp>
          <p:nvSpPr>
            <p:cNvPr id="167" name="Freeform 166">
              <a:extLst>
                <a:ext uri="{FF2B5EF4-FFF2-40B4-BE49-F238E27FC236}">
                  <a16:creationId xmlns:a16="http://schemas.microsoft.com/office/drawing/2014/main" id="{EE57D9CE-8406-4945-9A84-7B56D3617EFE}"/>
                </a:ext>
              </a:extLst>
            </p:cNvPr>
            <p:cNvSpPr/>
            <p:nvPr/>
          </p:nvSpPr>
          <p:spPr>
            <a:xfrm>
              <a:off x="5697912" y="3013860"/>
              <a:ext cx="213161" cy="40932"/>
            </a:xfrm>
            <a:custGeom>
              <a:avLst/>
              <a:gdLst>
                <a:gd name="connsiteX0" fmla="*/ 192624 w 213161"/>
                <a:gd name="connsiteY0" fmla="*/ 40886 h 40932"/>
                <a:gd name="connsiteX1" fmla="*/ 213142 w 213161"/>
                <a:gd name="connsiteY1" fmla="*/ 20439 h 40932"/>
                <a:gd name="connsiteX2" fmla="*/ 192624 w 213161"/>
                <a:gd name="connsiteY2" fmla="*/ -46 h 40932"/>
                <a:gd name="connsiteX3" fmla="*/ 20499 w 213161"/>
                <a:gd name="connsiteY3" fmla="*/ -46 h 40932"/>
                <a:gd name="connsiteX4" fmla="*/ -20 w 213161"/>
                <a:gd name="connsiteY4" fmla="*/ 20439 h 40932"/>
                <a:gd name="connsiteX5" fmla="*/ 20499 w 213161"/>
                <a:gd name="connsiteY5" fmla="*/ 40886 h 40932"/>
                <a:gd name="connsiteX6" fmla="*/ 192624 w 213161"/>
                <a:gd name="connsiteY6" fmla="*/ 4088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161" h="40932">
                  <a:moveTo>
                    <a:pt x="192624" y="40886"/>
                  </a:moveTo>
                  <a:cubicBezTo>
                    <a:pt x="203974" y="40886"/>
                    <a:pt x="213142" y="31732"/>
                    <a:pt x="213142" y="20439"/>
                  </a:cubicBezTo>
                  <a:cubicBezTo>
                    <a:pt x="213142" y="9107"/>
                    <a:pt x="203974" y="-46"/>
                    <a:pt x="192624" y="-46"/>
                  </a:cubicBezTo>
                  <a:lnTo>
                    <a:pt x="20499" y="-46"/>
                  </a:lnTo>
                  <a:cubicBezTo>
                    <a:pt x="9148" y="-46"/>
                    <a:pt x="-20" y="9107"/>
                    <a:pt x="-20" y="20439"/>
                  </a:cubicBezTo>
                  <a:cubicBezTo>
                    <a:pt x="-20" y="31732"/>
                    <a:pt x="9148" y="40886"/>
                    <a:pt x="20499" y="40886"/>
                  </a:cubicBezTo>
                  <a:lnTo>
                    <a:pt x="192624" y="40886"/>
                  </a:lnTo>
                  <a:close/>
                </a:path>
              </a:pathLst>
            </a:custGeom>
            <a:grpFill/>
            <a:ln w="39688" cap="flat">
              <a:noFill/>
              <a:prstDash val="solid"/>
              <a:round/>
            </a:ln>
          </p:spPr>
          <p:txBody>
            <a:bodyPr rtlCol="0" anchor="ctr"/>
            <a:lstStyle/>
            <a:p>
              <a:endParaRPr lang="en-LT"/>
            </a:p>
          </p:txBody>
        </p:sp>
        <p:sp>
          <p:nvSpPr>
            <p:cNvPr id="168" name="Freeform 167">
              <a:extLst>
                <a:ext uri="{FF2B5EF4-FFF2-40B4-BE49-F238E27FC236}">
                  <a16:creationId xmlns:a16="http://schemas.microsoft.com/office/drawing/2014/main" id="{5ACEA678-BF72-1E47-AE4B-3959CA8A1544}"/>
                </a:ext>
              </a:extLst>
            </p:cNvPr>
            <p:cNvSpPr/>
            <p:nvPr/>
          </p:nvSpPr>
          <p:spPr>
            <a:xfrm>
              <a:off x="6244846" y="3007045"/>
              <a:ext cx="172521" cy="40932"/>
            </a:xfrm>
            <a:custGeom>
              <a:avLst/>
              <a:gdLst>
                <a:gd name="connsiteX0" fmla="*/ 152065 w 172521"/>
                <a:gd name="connsiteY0" fmla="*/ 40885 h 40932"/>
                <a:gd name="connsiteX1" fmla="*/ 172544 w 172521"/>
                <a:gd name="connsiteY1" fmla="*/ 20399 h 40932"/>
                <a:gd name="connsiteX2" fmla="*/ 152065 w 172521"/>
                <a:gd name="connsiteY2" fmla="*/ -47 h 40932"/>
                <a:gd name="connsiteX3" fmla="*/ 20541 w 172521"/>
                <a:gd name="connsiteY3" fmla="*/ -47 h 40932"/>
                <a:gd name="connsiteX4" fmla="*/ 22 w 172521"/>
                <a:gd name="connsiteY4" fmla="*/ 20399 h 40932"/>
                <a:gd name="connsiteX5" fmla="*/ 20541 w 172521"/>
                <a:gd name="connsiteY5" fmla="*/ 40885 h 40932"/>
                <a:gd name="connsiteX6" fmla="*/ 152065 w 172521"/>
                <a:gd name="connsiteY6" fmla="*/ 40885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21" h="40932">
                  <a:moveTo>
                    <a:pt x="152065" y="40885"/>
                  </a:moveTo>
                  <a:cubicBezTo>
                    <a:pt x="163416" y="40885"/>
                    <a:pt x="172544" y="31732"/>
                    <a:pt x="172544" y="20399"/>
                  </a:cubicBezTo>
                  <a:cubicBezTo>
                    <a:pt x="172544" y="9106"/>
                    <a:pt x="163416" y="-47"/>
                    <a:pt x="152065" y="-47"/>
                  </a:cubicBezTo>
                  <a:lnTo>
                    <a:pt x="20541" y="-47"/>
                  </a:lnTo>
                  <a:cubicBezTo>
                    <a:pt x="9190" y="-47"/>
                    <a:pt x="22" y="9106"/>
                    <a:pt x="22" y="20399"/>
                  </a:cubicBezTo>
                  <a:cubicBezTo>
                    <a:pt x="22" y="31732"/>
                    <a:pt x="9190" y="40885"/>
                    <a:pt x="20541" y="40885"/>
                  </a:cubicBezTo>
                  <a:lnTo>
                    <a:pt x="152065" y="40885"/>
                  </a:lnTo>
                  <a:close/>
                </a:path>
              </a:pathLst>
            </a:custGeom>
            <a:grpFill/>
            <a:ln w="39688" cap="flat">
              <a:noFill/>
              <a:prstDash val="solid"/>
              <a:round/>
            </a:ln>
          </p:spPr>
          <p:txBody>
            <a:bodyPr rtlCol="0" anchor="ctr"/>
            <a:lstStyle/>
            <a:p>
              <a:endParaRPr lang="en-LT"/>
            </a:p>
          </p:txBody>
        </p:sp>
        <p:sp>
          <p:nvSpPr>
            <p:cNvPr id="169" name="Freeform 168">
              <a:extLst>
                <a:ext uri="{FF2B5EF4-FFF2-40B4-BE49-F238E27FC236}">
                  <a16:creationId xmlns:a16="http://schemas.microsoft.com/office/drawing/2014/main" id="{AE1DC44A-D926-9646-8E76-BC4E106B13E6}"/>
                </a:ext>
              </a:extLst>
            </p:cNvPr>
            <p:cNvSpPr/>
            <p:nvPr/>
          </p:nvSpPr>
          <p:spPr>
            <a:xfrm>
              <a:off x="6490988" y="3013860"/>
              <a:ext cx="422275" cy="40932"/>
            </a:xfrm>
            <a:custGeom>
              <a:avLst/>
              <a:gdLst>
                <a:gd name="connsiteX0" fmla="*/ 20570 w 422275"/>
                <a:gd name="connsiteY0" fmla="*/ -46 h 40932"/>
                <a:gd name="connsiteX1" fmla="*/ 52 w 422275"/>
                <a:gd name="connsiteY1" fmla="*/ 20439 h 40932"/>
                <a:gd name="connsiteX2" fmla="*/ 20570 w 422275"/>
                <a:gd name="connsiteY2" fmla="*/ 40886 h 40932"/>
                <a:gd name="connsiteX3" fmla="*/ 401809 w 422275"/>
                <a:gd name="connsiteY3" fmla="*/ 40886 h 40932"/>
                <a:gd name="connsiteX4" fmla="*/ 422327 w 422275"/>
                <a:gd name="connsiteY4" fmla="*/ 20439 h 40932"/>
                <a:gd name="connsiteX5" fmla="*/ 401809 w 422275"/>
                <a:gd name="connsiteY5" fmla="*/ -46 h 40932"/>
                <a:gd name="connsiteX6" fmla="*/ 20570 w 422275"/>
                <a:gd name="connsiteY6" fmla="*/ -46 h 4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275" h="40932">
                  <a:moveTo>
                    <a:pt x="20570" y="-46"/>
                  </a:moveTo>
                  <a:cubicBezTo>
                    <a:pt x="9220" y="-46"/>
                    <a:pt x="52" y="9107"/>
                    <a:pt x="52" y="20439"/>
                  </a:cubicBezTo>
                  <a:cubicBezTo>
                    <a:pt x="52" y="31732"/>
                    <a:pt x="9220" y="40886"/>
                    <a:pt x="20570" y="40886"/>
                  </a:cubicBezTo>
                  <a:lnTo>
                    <a:pt x="401809" y="40886"/>
                  </a:lnTo>
                  <a:cubicBezTo>
                    <a:pt x="413159" y="40886"/>
                    <a:pt x="422327" y="31732"/>
                    <a:pt x="422327" y="20439"/>
                  </a:cubicBezTo>
                  <a:cubicBezTo>
                    <a:pt x="422327" y="9107"/>
                    <a:pt x="413159" y="-46"/>
                    <a:pt x="401809" y="-46"/>
                  </a:cubicBezTo>
                  <a:lnTo>
                    <a:pt x="20570" y="-46"/>
                  </a:lnTo>
                  <a:close/>
                </a:path>
              </a:pathLst>
            </a:custGeom>
            <a:grpFill/>
            <a:ln w="39688" cap="flat">
              <a:noFill/>
              <a:prstDash val="solid"/>
              <a:round/>
            </a:ln>
          </p:spPr>
          <p:txBody>
            <a:bodyPr rtlCol="0" anchor="ctr"/>
            <a:lstStyle/>
            <a:p>
              <a:endParaRPr lang="en-LT"/>
            </a:p>
          </p:txBody>
        </p:sp>
        <p:sp>
          <p:nvSpPr>
            <p:cNvPr id="170" name="Freeform 169">
              <a:extLst>
                <a:ext uri="{FF2B5EF4-FFF2-40B4-BE49-F238E27FC236}">
                  <a16:creationId xmlns:a16="http://schemas.microsoft.com/office/drawing/2014/main" id="{D60900B5-73CC-9B4D-B198-DF9CF29DA1F5}"/>
                </a:ext>
              </a:extLst>
            </p:cNvPr>
            <p:cNvSpPr/>
            <p:nvPr/>
          </p:nvSpPr>
          <p:spPr>
            <a:xfrm>
              <a:off x="5361802" y="1907238"/>
              <a:ext cx="350719" cy="376030"/>
            </a:xfrm>
            <a:custGeom>
              <a:avLst/>
              <a:gdLst>
                <a:gd name="connsiteX0" fmla="*/ 100801 w 350719"/>
                <a:gd name="connsiteY0" fmla="*/ 100085 h 376030"/>
                <a:gd name="connsiteX1" fmla="*/ 205219 w 350719"/>
                <a:gd name="connsiteY1" fmla="*/ 46434 h 376030"/>
                <a:gd name="connsiteX2" fmla="*/ 145450 w 350719"/>
                <a:gd name="connsiteY2" fmla="*/ 189557 h 376030"/>
                <a:gd name="connsiteX3" fmla="*/ 135805 w 350719"/>
                <a:gd name="connsiteY3" fmla="*/ 209963 h 376030"/>
                <a:gd name="connsiteX4" fmla="*/ 137195 w 350719"/>
                <a:gd name="connsiteY4" fmla="*/ 229815 h 376030"/>
                <a:gd name="connsiteX5" fmla="*/ 154856 w 350719"/>
                <a:gd name="connsiteY5" fmla="*/ 239126 h 376030"/>
                <a:gd name="connsiteX6" fmla="*/ 305708 w 350719"/>
                <a:gd name="connsiteY6" fmla="*/ 246536 h 376030"/>
                <a:gd name="connsiteX7" fmla="*/ 309399 w 350719"/>
                <a:gd name="connsiteY7" fmla="*/ 246180 h 376030"/>
                <a:gd name="connsiteX8" fmla="*/ 309676 w 350719"/>
                <a:gd name="connsiteY8" fmla="*/ 251846 h 376030"/>
                <a:gd name="connsiteX9" fmla="*/ 298167 w 350719"/>
                <a:gd name="connsiteY9" fmla="*/ 298682 h 376030"/>
                <a:gd name="connsiteX10" fmla="*/ 133702 w 350719"/>
                <a:gd name="connsiteY10" fmla="*/ 327568 h 376030"/>
                <a:gd name="connsiteX11" fmla="*/ 41111 w 350719"/>
                <a:gd name="connsiteY11" fmla="*/ 206357 h 376030"/>
                <a:gd name="connsiteX12" fmla="*/ 100801 w 350719"/>
                <a:gd name="connsiteY12" fmla="*/ 100085 h 376030"/>
                <a:gd name="connsiteX13" fmla="*/ 121201 w 350719"/>
                <a:gd name="connsiteY13" fmla="*/ 366637 h 376030"/>
                <a:gd name="connsiteX14" fmla="*/ 182438 w 350719"/>
                <a:gd name="connsiteY14" fmla="*/ 375909 h 376030"/>
                <a:gd name="connsiteX15" fmla="*/ 320630 w 350719"/>
                <a:gd name="connsiteY15" fmla="*/ 332956 h 376030"/>
                <a:gd name="connsiteX16" fmla="*/ 350674 w 350719"/>
                <a:gd name="connsiteY16" fmla="*/ 251172 h 376030"/>
                <a:gd name="connsiteX17" fmla="*/ 338252 w 350719"/>
                <a:gd name="connsiteY17" fmla="*/ 216779 h 376030"/>
                <a:gd name="connsiteX18" fmla="*/ 310629 w 350719"/>
                <a:gd name="connsiteY18" fmla="*/ 205882 h 376030"/>
                <a:gd name="connsiteX19" fmla="*/ 186844 w 350719"/>
                <a:gd name="connsiteY19" fmla="*/ 197917 h 376030"/>
                <a:gd name="connsiteX20" fmla="*/ 253519 w 350719"/>
                <a:gd name="connsiteY20" fmla="*/ 24997 h 376030"/>
                <a:gd name="connsiteX21" fmla="*/ 248756 w 350719"/>
                <a:gd name="connsiteY21" fmla="*/ 6691 h 376030"/>
                <a:gd name="connsiteX22" fmla="*/ 231056 w 350719"/>
                <a:gd name="connsiteY22" fmla="*/ 74 h 376030"/>
                <a:gd name="connsiteX23" fmla="*/ 74091 w 350719"/>
                <a:gd name="connsiteY23" fmla="*/ 68980 h 376030"/>
                <a:gd name="connsiteX24" fmla="*/ 74 w 350719"/>
                <a:gd name="connsiteY24" fmla="*/ 204654 h 376030"/>
                <a:gd name="connsiteX25" fmla="*/ 121201 w 350719"/>
                <a:gd name="connsiteY25" fmla="*/ 366637 h 37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0719" h="376030">
                  <a:moveTo>
                    <a:pt x="100801" y="100085"/>
                  </a:moveTo>
                  <a:cubicBezTo>
                    <a:pt x="130646" y="74567"/>
                    <a:pt x="166921" y="56023"/>
                    <a:pt x="205219" y="46434"/>
                  </a:cubicBezTo>
                  <a:cubicBezTo>
                    <a:pt x="190376" y="94617"/>
                    <a:pt x="167556" y="142721"/>
                    <a:pt x="145450" y="189557"/>
                  </a:cubicBezTo>
                  <a:lnTo>
                    <a:pt x="135805" y="209963"/>
                  </a:lnTo>
                  <a:cubicBezTo>
                    <a:pt x="132789" y="216383"/>
                    <a:pt x="133345" y="223871"/>
                    <a:pt x="137195" y="229815"/>
                  </a:cubicBezTo>
                  <a:cubicBezTo>
                    <a:pt x="141084" y="235759"/>
                    <a:pt x="147196" y="238611"/>
                    <a:pt x="154856" y="239126"/>
                  </a:cubicBezTo>
                  <a:cubicBezTo>
                    <a:pt x="205060" y="237859"/>
                    <a:pt x="255781" y="240513"/>
                    <a:pt x="305708" y="246536"/>
                  </a:cubicBezTo>
                  <a:cubicBezTo>
                    <a:pt x="306660" y="246655"/>
                    <a:pt x="308962" y="246933"/>
                    <a:pt x="309399" y="246180"/>
                  </a:cubicBezTo>
                  <a:cubicBezTo>
                    <a:pt x="309518" y="247091"/>
                    <a:pt x="309676" y="248795"/>
                    <a:pt x="309676" y="251846"/>
                  </a:cubicBezTo>
                  <a:cubicBezTo>
                    <a:pt x="309597" y="276333"/>
                    <a:pt x="308804" y="291748"/>
                    <a:pt x="298167" y="298682"/>
                  </a:cubicBezTo>
                  <a:cubicBezTo>
                    <a:pt x="246692" y="332283"/>
                    <a:pt x="184026" y="343655"/>
                    <a:pt x="133702" y="327568"/>
                  </a:cubicBezTo>
                  <a:cubicBezTo>
                    <a:pt x="78775" y="310093"/>
                    <a:pt x="38928" y="257948"/>
                    <a:pt x="41111" y="206357"/>
                  </a:cubicBezTo>
                  <a:cubicBezTo>
                    <a:pt x="42580" y="169903"/>
                    <a:pt x="64328" y="131190"/>
                    <a:pt x="100801" y="100085"/>
                  </a:cubicBezTo>
                  <a:close/>
                  <a:moveTo>
                    <a:pt x="121201" y="366637"/>
                  </a:moveTo>
                  <a:cubicBezTo>
                    <a:pt x="140608" y="372779"/>
                    <a:pt x="161205" y="375909"/>
                    <a:pt x="182438" y="375909"/>
                  </a:cubicBezTo>
                  <a:cubicBezTo>
                    <a:pt x="229150" y="375909"/>
                    <a:pt x="278244" y="360654"/>
                    <a:pt x="320630" y="332956"/>
                  </a:cubicBezTo>
                  <a:cubicBezTo>
                    <a:pt x="350476" y="313422"/>
                    <a:pt x="350595" y="279345"/>
                    <a:pt x="350674" y="251172"/>
                  </a:cubicBezTo>
                  <a:cubicBezTo>
                    <a:pt x="350714" y="245546"/>
                    <a:pt x="350793" y="228468"/>
                    <a:pt x="338252" y="216779"/>
                  </a:cubicBezTo>
                  <a:cubicBezTo>
                    <a:pt x="328925" y="208140"/>
                    <a:pt x="317059" y="206674"/>
                    <a:pt x="310629" y="205882"/>
                  </a:cubicBezTo>
                  <a:cubicBezTo>
                    <a:pt x="269751" y="200928"/>
                    <a:pt x="228119" y="198274"/>
                    <a:pt x="186844" y="197917"/>
                  </a:cubicBezTo>
                  <a:cubicBezTo>
                    <a:pt x="213236" y="142087"/>
                    <a:pt x="239747" y="84434"/>
                    <a:pt x="253519" y="24997"/>
                  </a:cubicBezTo>
                  <a:cubicBezTo>
                    <a:pt x="254987" y="18499"/>
                    <a:pt x="253241" y="11644"/>
                    <a:pt x="248756" y="6691"/>
                  </a:cubicBezTo>
                  <a:cubicBezTo>
                    <a:pt x="244311" y="1698"/>
                    <a:pt x="237644" y="-877"/>
                    <a:pt x="231056" y="74"/>
                  </a:cubicBezTo>
                  <a:cubicBezTo>
                    <a:pt x="173707" y="7047"/>
                    <a:pt x="117986" y="31535"/>
                    <a:pt x="74091" y="68980"/>
                  </a:cubicBezTo>
                  <a:cubicBezTo>
                    <a:pt x="28411" y="107970"/>
                    <a:pt x="2098" y="156193"/>
                    <a:pt x="74" y="204654"/>
                  </a:cubicBezTo>
                  <a:cubicBezTo>
                    <a:pt x="-2823" y="274114"/>
                    <a:pt x="49287" y="343695"/>
                    <a:pt x="121201" y="366637"/>
                  </a:cubicBezTo>
                  <a:close/>
                </a:path>
              </a:pathLst>
            </a:custGeom>
            <a:grpFill/>
            <a:ln w="39688" cap="flat">
              <a:noFill/>
              <a:prstDash val="solid"/>
              <a:round/>
            </a:ln>
          </p:spPr>
          <p:txBody>
            <a:bodyPr rtlCol="0" anchor="ctr"/>
            <a:lstStyle/>
            <a:p>
              <a:endParaRPr lang="en-LT"/>
            </a:p>
          </p:txBody>
        </p:sp>
        <p:sp>
          <p:nvSpPr>
            <p:cNvPr id="171" name="Freeform 170">
              <a:extLst>
                <a:ext uri="{FF2B5EF4-FFF2-40B4-BE49-F238E27FC236}">
                  <a16:creationId xmlns:a16="http://schemas.microsoft.com/office/drawing/2014/main" id="{5296824F-9820-964E-8850-EAC6255F2FBB}"/>
                </a:ext>
              </a:extLst>
            </p:cNvPr>
            <p:cNvSpPr/>
            <p:nvPr/>
          </p:nvSpPr>
          <p:spPr>
            <a:xfrm>
              <a:off x="5568014" y="1916018"/>
              <a:ext cx="717856" cy="183393"/>
            </a:xfrm>
            <a:custGeom>
              <a:avLst/>
              <a:gdLst>
                <a:gd name="connsiteX0" fmla="*/ 86906 w 717856"/>
                <a:gd name="connsiteY0" fmla="*/ 52822 h 183393"/>
                <a:gd name="connsiteX1" fmla="*/ 124093 w 717856"/>
                <a:gd name="connsiteY1" fmla="*/ 141581 h 183393"/>
                <a:gd name="connsiteX2" fmla="*/ 53291 w 717856"/>
                <a:gd name="connsiteY2" fmla="*/ 142056 h 183393"/>
                <a:gd name="connsiteX3" fmla="*/ 86906 w 717856"/>
                <a:gd name="connsiteY3" fmla="*/ 52822 h 183393"/>
                <a:gd name="connsiteX4" fmla="*/ -9 w 717856"/>
                <a:gd name="connsiteY4" fmla="*/ 162978 h 183393"/>
                <a:gd name="connsiteX5" fmla="*/ 20469 w 717856"/>
                <a:gd name="connsiteY5" fmla="*/ 183265 h 183393"/>
                <a:gd name="connsiteX6" fmla="*/ 20668 w 717856"/>
                <a:gd name="connsiteY6" fmla="*/ 183265 h 183393"/>
                <a:gd name="connsiteX7" fmla="*/ 142548 w 717856"/>
                <a:gd name="connsiteY7" fmla="*/ 182394 h 183393"/>
                <a:gd name="connsiteX8" fmla="*/ 162511 w 717856"/>
                <a:gd name="connsiteY8" fmla="*/ 165870 h 183393"/>
                <a:gd name="connsiteX9" fmla="*/ 159733 w 717856"/>
                <a:gd name="connsiteY9" fmla="*/ 98786 h 183393"/>
                <a:gd name="connsiteX10" fmla="*/ 170964 w 717856"/>
                <a:gd name="connsiteY10" fmla="*/ 102551 h 183393"/>
                <a:gd name="connsiteX11" fmla="*/ 172393 w 717856"/>
                <a:gd name="connsiteY11" fmla="*/ 102511 h 183393"/>
                <a:gd name="connsiteX12" fmla="*/ 410638 w 717856"/>
                <a:gd name="connsiteY12" fmla="*/ 97043 h 183393"/>
                <a:gd name="connsiteX13" fmla="*/ 699404 w 717856"/>
                <a:gd name="connsiteY13" fmla="*/ 87454 h 183393"/>
                <a:gd name="connsiteX14" fmla="*/ 717740 w 717856"/>
                <a:gd name="connsiteY14" fmla="*/ 65026 h 183393"/>
                <a:gd name="connsiteX15" fmla="*/ 695316 w 717856"/>
                <a:gd name="connsiteY15" fmla="*/ 46720 h 183393"/>
                <a:gd name="connsiteX16" fmla="*/ 410677 w 717856"/>
                <a:gd name="connsiteY16" fmla="*/ 56071 h 183393"/>
                <a:gd name="connsiteX17" fmla="*/ 169615 w 717856"/>
                <a:gd name="connsiteY17" fmla="*/ 61619 h 183393"/>
                <a:gd name="connsiteX18" fmla="*/ 151597 w 717856"/>
                <a:gd name="connsiteY18" fmla="*/ 75368 h 183393"/>
                <a:gd name="connsiteX19" fmla="*/ 87343 w 717856"/>
                <a:gd name="connsiteY19" fmla="*/ 2539 h 183393"/>
                <a:gd name="connsiteX20" fmla="*/ 70237 w 717856"/>
                <a:gd name="connsiteY20" fmla="*/ 1073 h 183393"/>
                <a:gd name="connsiteX21" fmla="*/ 58014 w 717856"/>
                <a:gd name="connsiteY21" fmla="*/ 13158 h 183393"/>
                <a:gd name="connsiteX22" fmla="*/ 7690 w 717856"/>
                <a:gd name="connsiteY22" fmla="*/ 146771 h 183393"/>
                <a:gd name="connsiteX23" fmla="*/ -9 w 717856"/>
                <a:gd name="connsiteY23" fmla="*/ 162978 h 18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7856" h="183393">
                  <a:moveTo>
                    <a:pt x="86906" y="52822"/>
                  </a:moveTo>
                  <a:cubicBezTo>
                    <a:pt x="110838" y="75289"/>
                    <a:pt x="125086" y="108930"/>
                    <a:pt x="124093" y="141581"/>
                  </a:cubicBezTo>
                  <a:lnTo>
                    <a:pt x="53291" y="142056"/>
                  </a:lnTo>
                  <a:lnTo>
                    <a:pt x="86906" y="52822"/>
                  </a:lnTo>
                  <a:close/>
                  <a:moveTo>
                    <a:pt x="-9" y="162978"/>
                  </a:moveTo>
                  <a:cubicBezTo>
                    <a:pt x="70" y="174191"/>
                    <a:pt x="9238" y="183265"/>
                    <a:pt x="20469" y="183265"/>
                  </a:cubicBezTo>
                  <a:lnTo>
                    <a:pt x="20668" y="183265"/>
                  </a:lnTo>
                  <a:lnTo>
                    <a:pt x="142548" y="182394"/>
                  </a:lnTo>
                  <a:cubicBezTo>
                    <a:pt x="152272" y="182354"/>
                    <a:pt x="160646" y="175419"/>
                    <a:pt x="162511" y="165870"/>
                  </a:cubicBezTo>
                  <a:cubicBezTo>
                    <a:pt x="166876" y="143561"/>
                    <a:pt x="165527" y="120619"/>
                    <a:pt x="159733" y="98786"/>
                  </a:cubicBezTo>
                  <a:cubicBezTo>
                    <a:pt x="163027" y="101005"/>
                    <a:pt x="166757" y="102551"/>
                    <a:pt x="170964" y="102551"/>
                  </a:cubicBezTo>
                  <a:cubicBezTo>
                    <a:pt x="171441" y="102551"/>
                    <a:pt x="171917" y="102511"/>
                    <a:pt x="172393" y="102511"/>
                  </a:cubicBezTo>
                  <a:cubicBezTo>
                    <a:pt x="251689" y="96964"/>
                    <a:pt x="332731" y="97241"/>
                    <a:pt x="410638" y="97043"/>
                  </a:cubicBezTo>
                  <a:cubicBezTo>
                    <a:pt x="505491" y="97122"/>
                    <a:pt x="602804" y="97122"/>
                    <a:pt x="699404" y="87454"/>
                  </a:cubicBezTo>
                  <a:cubicBezTo>
                    <a:pt x="710636" y="86344"/>
                    <a:pt x="718891" y="76319"/>
                    <a:pt x="717740" y="65026"/>
                  </a:cubicBezTo>
                  <a:cubicBezTo>
                    <a:pt x="716589" y="53773"/>
                    <a:pt x="706151" y="45492"/>
                    <a:pt x="695316" y="46720"/>
                  </a:cubicBezTo>
                  <a:cubicBezTo>
                    <a:pt x="600781" y="56151"/>
                    <a:pt x="503863" y="56507"/>
                    <a:pt x="410677" y="56071"/>
                  </a:cubicBezTo>
                  <a:cubicBezTo>
                    <a:pt x="331381" y="55992"/>
                    <a:pt x="250260" y="56032"/>
                    <a:pt x="169615" y="61619"/>
                  </a:cubicBezTo>
                  <a:cubicBezTo>
                    <a:pt x="161122" y="62213"/>
                    <a:pt x="154216" y="67840"/>
                    <a:pt x="151597" y="75368"/>
                  </a:cubicBezTo>
                  <a:cubicBezTo>
                    <a:pt x="138421" y="45174"/>
                    <a:pt x="116196" y="18864"/>
                    <a:pt x="87343" y="2539"/>
                  </a:cubicBezTo>
                  <a:cubicBezTo>
                    <a:pt x="82144" y="-393"/>
                    <a:pt x="75833" y="-948"/>
                    <a:pt x="70237" y="1073"/>
                  </a:cubicBezTo>
                  <a:cubicBezTo>
                    <a:pt x="64602" y="3134"/>
                    <a:pt x="60117" y="7532"/>
                    <a:pt x="58014" y="13158"/>
                  </a:cubicBezTo>
                  <a:lnTo>
                    <a:pt x="7690" y="146771"/>
                  </a:lnTo>
                  <a:cubicBezTo>
                    <a:pt x="2967" y="150536"/>
                    <a:pt x="-49" y="156400"/>
                    <a:pt x="-9" y="162978"/>
                  </a:cubicBezTo>
                  <a:close/>
                </a:path>
              </a:pathLst>
            </a:custGeom>
            <a:grpFill/>
            <a:ln w="39688" cap="flat">
              <a:noFill/>
              <a:prstDash val="solid"/>
              <a:round/>
            </a:ln>
          </p:spPr>
          <p:txBody>
            <a:bodyPr rtlCol="0" anchor="ctr"/>
            <a:lstStyle/>
            <a:p>
              <a:endParaRPr lang="en-LT"/>
            </a:p>
          </p:txBody>
        </p:sp>
        <p:sp>
          <p:nvSpPr>
            <p:cNvPr id="172" name="Freeform 171">
              <a:extLst>
                <a:ext uri="{FF2B5EF4-FFF2-40B4-BE49-F238E27FC236}">
                  <a16:creationId xmlns:a16="http://schemas.microsoft.com/office/drawing/2014/main" id="{E35926A5-2305-1741-80C1-7765DA624831}"/>
                </a:ext>
              </a:extLst>
            </p:cNvPr>
            <p:cNvSpPr/>
            <p:nvPr/>
          </p:nvSpPr>
          <p:spPr>
            <a:xfrm>
              <a:off x="5711960" y="1988760"/>
              <a:ext cx="695728" cy="246562"/>
            </a:xfrm>
            <a:custGeom>
              <a:avLst/>
              <a:gdLst>
                <a:gd name="connsiteX0" fmla="*/ 516893 w 695728"/>
                <a:gd name="connsiteY0" fmla="*/ 153286 h 246562"/>
                <a:gd name="connsiteX1" fmla="*/ 462958 w 695728"/>
                <a:gd name="connsiteY1" fmla="*/ 170840 h 246562"/>
                <a:gd name="connsiteX2" fmla="*/ 263805 w 695728"/>
                <a:gd name="connsiteY2" fmla="*/ 190216 h 246562"/>
                <a:gd name="connsiteX3" fmla="*/ 19251 w 695728"/>
                <a:gd name="connsiteY3" fmla="*/ 205511 h 246562"/>
                <a:gd name="connsiteX4" fmla="*/ 42 w 695728"/>
                <a:gd name="connsiteY4" fmla="*/ 227264 h 246562"/>
                <a:gd name="connsiteX5" fmla="*/ 20521 w 695728"/>
                <a:gd name="connsiteY5" fmla="*/ 246443 h 246562"/>
                <a:gd name="connsiteX6" fmla="*/ 21791 w 695728"/>
                <a:gd name="connsiteY6" fmla="*/ 246403 h 246562"/>
                <a:gd name="connsiteX7" fmla="*/ 266346 w 695728"/>
                <a:gd name="connsiteY7" fmla="*/ 231069 h 246562"/>
                <a:gd name="connsiteX8" fmla="*/ 469704 w 695728"/>
                <a:gd name="connsiteY8" fmla="*/ 211256 h 246562"/>
                <a:gd name="connsiteX9" fmla="*/ 540507 w 695728"/>
                <a:gd name="connsiteY9" fmla="*/ 186808 h 246562"/>
                <a:gd name="connsiteX10" fmla="*/ 566661 w 695728"/>
                <a:gd name="connsiteY10" fmla="*/ 163034 h 246562"/>
                <a:gd name="connsiteX11" fmla="*/ 690010 w 695728"/>
                <a:gd name="connsiteY11" fmla="*/ 34493 h 246562"/>
                <a:gd name="connsiteX12" fmla="*/ 689415 w 695728"/>
                <a:gd name="connsiteY12" fmla="*/ 5527 h 246562"/>
                <a:gd name="connsiteX13" fmla="*/ 660403 w 695728"/>
                <a:gd name="connsiteY13" fmla="*/ 6162 h 246562"/>
                <a:gd name="connsiteX14" fmla="*/ 537015 w 695728"/>
                <a:gd name="connsiteY14" fmla="*/ 134702 h 246562"/>
                <a:gd name="connsiteX15" fmla="*/ 516893 w 695728"/>
                <a:gd name="connsiteY15" fmla="*/ 153286 h 24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5728" h="246562">
                  <a:moveTo>
                    <a:pt x="516893" y="153286"/>
                  </a:moveTo>
                  <a:cubicBezTo>
                    <a:pt x="502090" y="163668"/>
                    <a:pt x="482127" y="167670"/>
                    <a:pt x="462958" y="170840"/>
                  </a:cubicBezTo>
                  <a:cubicBezTo>
                    <a:pt x="397394" y="181816"/>
                    <a:pt x="329489" y="186095"/>
                    <a:pt x="263805" y="190216"/>
                  </a:cubicBezTo>
                  <a:lnTo>
                    <a:pt x="19251" y="205511"/>
                  </a:lnTo>
                  <a:cubicBezTo>
                    <a:pt x="7940" y="206224"/>
                    <a:pt x="-672" y="215972"/>
                    <a:pt x="42" y="227264"/>
                  </a:cubicBezTo>
                  <a:cubicBezTo>
                    <a:pt x="757" y="238121"/>
                    <a:pt x="9766" y="246443"/>
                    <a:pt x="20521" y="246443"/>
                  </a:cubicBezTo>
                  <a:cubicBezTo>
                    <a:pt x="20918" y="246443"/>
                    <a:pt x="21355" y="246443"/>
                    <a:pt x="21791" y="246403"/>
                  </a:cubicBezTo>
                  <a:lnTo>
                    <a:pt x="266346" y="231069"/>
                  </a:lnTo>
                  <a:cubicBezTo>
                    <a:pt x="333100" y="226908"/>
                    <a:pt x="402077" y="222589"/>
                    <a:pt x="469704" y="211256"/>
                  </a:cubicBezTo>
                  <a:cubicBezTo>
                    <a:pt x="492485" y="207452"/>
                    <a:pt x="518600" y="202143"/>
                    <a:pt x="540507" y="186808"/>
                  </a:cubicBezTo>
                  <a:cubicBezTo>
                    <a:pt x="550746" y="179597"/>
                    <a:pt x="559200" y="170800"/>
                    <a:pt x="566661" y="163034"/>
                  </a:cubicBezTo>
                  <a:lnTo>
                    <a:pt x="690010" y="34493"/>
                  </a:lnTo>
                  <a:cubicBezTo>
                    <a:pt x="697868" y="26330"/>
                    <a:pt x="697590" y="13373"/>
                    <a:pt x="689415" y="5527"/>
                  </a:cubicBezTo>
                  <a:cubicBezTo>
                    <a:pt x="681199" y="-2279"/>
                    <a:pt x="668261" y="-1922"/>
                    <a:pt x="660403" y="6162"/>
                  </a:cubicBezTo>
                  <a:lnTo>
                    <a:pt x="537015" y="134702"/>
                  </a:lnTo>
                  <a:cubicBezTo>
                    <a:pt x="530585" y="141439"/>
                    <a:pt x="523878" y="148373"/>
                    <a:pt x="516893" y="153286"/>
                  </a:cubicBezTo>
                  <a:close/>
                </a:path>
              </a:pathLst>
            </a:custGeom>
            <a:grpFill/>
            <a:ln w="39688" cap="flat">
              <a:noFill/>
              <a:prstDash val="solid"/>
              <a:round/>
            </a:ln>
          </p:spPr>
          <p:txBody>
            <a:bodyPr rtlCol="0" anchor="ctr"/>
            <a:lstStyle/>
            <a:p>
              <a:endParaRPr lang="en-LT"/>
            </a:p>
          </p:txBody>
        </p:sp>
        <p:sp>
          <p:nvSpPr>
            <p:cNvPr id="173" name="Freeform 172">
              <a:extLst>
                <a:ext uri="{FF2B5EF4-FFF2-40B4-BE49-F238E27FC236}">
                  <a16:creationId xmlns:a16="http://schemas.microsoft.com/office/drawing/2014/main" id="{D5204314-6817-1147-9025-448A95DF89DF}"/>
                </a:ext>
              </a:extLst>
            </p:cNvPr>
            <p:cNvSpPr/>
            <p:nvPr/>
          </p:nvSpPr>
          <p:spPr>
            <a:xfrm>
              <a:off x="6452962" y="1844330"/>
              <a:ext cx="208950" cy="278657"/>
            </a:xfrm>
            <a:custGeom>
              <a:avLst/>
              <a:gdLst>
                <a:gd name="connsiteX0" fmla="*/ 562 w 208950"/>
                <a:gd name="connsiteY0" fmla="*/ 253525 h 278657"/>
                <a:gd name="connsiteX1" fmla="*/ 16041 w 208950"/>
                <a:gd name="connsiteY1" fmla="*/ 278012 h 278657"/>
                <a:gd name="connsiteX2" fmla="*/ 20565 w 208950"/>
                <a:gd name="connsiteY2" fmla="*/ 278528 h 278657"/>
                <a:gd name="connsiteX3" fmla="*/ 40527 w 208950"/>
                <a:gd name="connsiteY3" fmla="*/ 262559 h 278657"/>
                <a:gd name="connsiteX4" fmla="*/ 53267 w 208950"/>
                <a:gd name="connsiteY4" fmla="*/ 239894 h 278657"/>
                <a:gd name="connsiteX5" fmla="*/ 204953 w 208950"/>
                <a:gd name="connsiteY5" fmla="*/ 32541 h 278657"/>
                <a:gd name="connsiteX6" fmla="*/ 200707 w 208950"/>
                <a:gd name="connsiteY6" fmla="*/ 3853 h 278657"/>
                <a:gd name="connsiteX7" fmla="*/ 172012 w 208950"/>
                <a:gd name="connsiteY7" fmla="*/ 8132 h 278657"/>
                <a:gd name="connsiteX8" fmla="*/ 19930 w 208950"/>
                <a:gd name="connsiteY8" fmla="*/ 215961 h 278657"/>
                <a:gd name="connsiteX9" fmla="*/ 562 w 208950"/>
                <a:gd name="connsiteY9" fmla="*/ 253525 h 278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950" h="278657">
                  <a:moveTo>
                    <a:pt x="562" y="253525"/>
                  </a:moveTo>
                  <a:cubicBezTo>
                    <a:pt x="-1978" y="264580"/>
                    <a:pt x="5007" y="275517"/>
                    <a:pt x="16041" y="278012"/>
                  </a:cubicBezTo>
                  <a:cubicBezTo>
                    <a:pt x="17548" y="278369"/>
                    <a:pt x="19056" y="278528"/>
                    <a:pt x="20565" y="278528"/>
                  </a:cubicBezTo>
                  <a:cubicBezTo>
                    <a:pt x="29971" y="278528"/>
                    <a:pt x="38424" y="272069"/>
                    <a:pt x="40527" y="262559"/>
                  </a:cubicBezTo>
                  <a:cubicBezTo>
                    <a:pt x="42234" y="255268"/>
                    <a:pt x="47830" y="247423"/>
                    <a:pt x="53267" y="239894"/>
                  </a:cubicBezTo>
                  <a:cubicBezTo>
                    <a:pt x="103353" y="170433"/>
                    <a:pt x="153915" y="101249"/>
                    <a:pt x="204953" y="32541"/>
                  </a:cubicBezTo>
                  <a:cubicBezTo>
                    <a:pt x="211700" y="23466"/>
                    <a:pt x="209795" y="10589"/>
                    <a:pt x="200707" y="3853"/>
                  </a:cubicBezTo>
                  <a:cubicBezTo>
                    <a:pt x="191618" y="-2804"/>
                    <a:pt x="178799" y="-942"/>
                    <a:pt x="172012" y="8132"/>
                  </a:cubicBezTo>
                  <a:cubicBezTo>
                    <a:pt x="120816" y="77039"/>
                    <a:pt x="70214" y="146341"/>
                    <a:pt x="19930" y="215961"/>
                  </a:cubicBezTo>
                  <a:cubicBezTo>
                    <a:pt x="12865" y="225867"/>
                    <a:pt x="4015" y="238111"/>
                    <a:pt x="562" y="253525"/>
                  </a:cubicBezTo>
                  <a:close/>
                </a:path>
              </a:pathLst>
            </a:custGeom>
            <a:grpFill/>
            <a:ln w="39688" cap="flat">
              <a:noFill/>
              <a:prstDash val="solid"/>
              <a:round/>
            </a:ln>
          </p:spPr>
          <p:txBody>
            <a:bodyPr rtlCol="0" anchor="ctr"/>
            <a:lstStyle/>
            <a:p>
              <a:endParaRPr lang="en-LT"/>
            </a:p>
          </p:txBody>
        </p:sp>
        <p:sp>
          <p:nvSpPr>
            <p:cNvPr id="174" name="Freeform 173">
              <a:extLst>
                <a:ext uri="{FF2B5EF4-FFF2-40B4-BE49-F238E27FC236}">
                  <a16:creationId xmlns:a16="http://schemas.microsoft.com/office/drawing/2014/main" id="{8C77FDE2-4224-C94C-9A78-675D85AB95F5}"/>
                </a:ext>
              </a:extLst>
            </p:cNvPr>
            <p:cNvSpPr/>
            <p:nvPr/>
          </p:nvSpPr>
          <p:spPr>
            <a:xfrm>
              <a:off x="6420009" y="1826062"/>
              <a:ext cx="126162" cy="138072"/>
            </a:xfrm>
            <a:custGeom>
              <a:avLst/>
              <a:gdLst>
                <a:gd name="connsiteX0" fmla="*/ 42002 w 126162"/>
                <a:gd name="connsiteY0" fmla="*/ 45650 h 138072"/>
                <a:gd name="connsiteX1" fmla="*/ 48114 w 126162"/>
                <a:gd name="connsiteY1" fmla="*/ 40143 h 138072"/>
                <a:gd name="connsiteX2" fmla="*/ 68553 w 126162"/>
                <a:gd name="connsiteY2" fmla="*/ 48503 h 138072"/>
                <a:gd name="connsiteX3" fmla="*/ 83952 w 126162"/>
                <a:gd name="connsiteY3" fmla="*/ 85314 h 138072"/>
                <a:gd name="connsiteX4" fmla="*/ 56964 w 126162"/>
                <a:gd name="connsiteY4" fmla="*/ 87731 h 138072"/>
                <a:gd name="connsiteX5" fmla="*/ 42002 w 126162"/>
                <a:gd name="connsiteY5" fmla="*/ 45650 h 138072"/>
                <a:gd name="connsiteX6" fmla="*/ 72879 w 126162"/>
                <a:gd name="connsiteY6" fmla="*/ 137935 h 138072"/>
                <a:gd name="connsiteX7" fmla="*/ 123242 w 126162"/>
                <a:gd name="connsiteY7" fmla="*/ 97162 h 138072"/>
                <a:gd name="connsiteX8" fmla="*/ 91334 w 126162"/>
                <a:gd name="connsiteY8" fmla="*/ 14387 h 138072"/>
                <a:gd name="connsiteX9" fmla="*/ 2751 w 126162"/>
                <a:gd name="connsiteY9" fmla="*/ 33803 h 138072"/>
                <a:gd name="connsiteX10" fmla="*/ 27913 w 126162"/>
                <a:gd name="connsiteY10" fmla="*/ 116617 h 138072"/>
                <a:gd name="connsiteX11" fmla="*/ 72879 w 126162"/>
                <a:gd name="connsiteY11" fmla="*/ 137935 h 13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162" h="138072">
                  <a:moveTo>
                    <a:pt x="42002" y="45650"/>
                  </a:moveTo>
                  <a:cubicBezTo>
                    <a:pt x="43669" y="40143"/>
                    <a:pt x="46130" y="40143"/>
                    <a:pt x="48114" y="40143"/>
                  </a:cubicBezTo>
                  <a:cubicBezTo>
                    <a:pt x="51091" y="40143"/>
                    <a:pt x="57679" y="41212"/>
                    <a:pt x="68553" y="48503"/>
                  </a:cubicBezTo>
                  <a:cubicBezTo>
                    <a:pt x="84865" y="59281"/>
                    <a:pt x="87206" y="74576"/>
                    <a:pt x="83952" y="85314"/>
                  </a:cubicBezTo>
                  <a:cubicBezTo>
                    <a:pt x="80737" y="95854"/>
                    <a:pt x="70022" y="100847"/>
                    <a:pt x="56964" y="87731"/>
                  </a:cubicBezTo>
                  <a:cubicBezTo>
                    <a:pt x="42995" y="73784"/>
                    <a:pt x="38867" y="55992"/>
                    <a:pt x="42002" y="45650"/>
                  </a:cubicBezTo>
                  <a:close/>
                  <a:moveTo>
                    <a:pt x="72879" y="137935"/>
                  </a:moveTo>
                  <a:cubicBezTo>
                    <a:pt x="95977" y="137935"/>
                    <a:pt x="115702" y="121927"/>
                    <a:pt x="123242" y="97162"/>
                  </a:cubicBezTo>
                  <a:cubicBezTo>
                    <a:pt x="130386" y="73506"/>
                    <a:pt x="126338" y="37646"/>
                    <a:pt x="91334" y="14387"/>
                  </a:cubicBezTo>
                  <a:cubicBezTo>
                    <a:pt x="51924" y="-11765"/>
                    <a:pt x="13308" y="-988"/>
                    <a:pt x="2751" y="33803"/>
                  </a:cubicBezTo>
                  <a:cubicBezTo>
                    <a:pt x="-5266" y="60232"/>
                    <a:pt x="4855" y="93556"/>
                    <a:pt x="27913" y="116617"/>
                  </a:cubicBezTo>
                  <a:cubicBezTo>
                    <a:pt x="45455" y="134250"/>
                    <a:pt x="62084" y="137935"/>
                    <a:pt x="72879" y="137935"/>
                  </a:cubicBezTo>
                  <a:close/>
                </a:path>
              </a:pathLst>
            </a:custGeom>
            <a:grpFill/>
            <a:ln w="39688" cap="flat">
              <a:noFill/>
              <a:prstDash val="solid"/>
              <a:round/>
            </a:ln>
          </p:spPr>
          <p:txBody>
            <a:bodyPr rtlCol="0" anchor="ctr"/>
            <a:lstStyle/>
            <a:p>
              <a:endParaRPr lang="en-LT"/>
            </a:p>
          </p:txBody>
        </p:sp>
        <p:sp>
          <p:nvSpPr>
            <p:cNvPr id="175" name="Freeform 174">
              <a:extLst>
                <a:ext uri="{FF2B5EF4-FFF2-40B4-BE49-F238E27FC236}">
                  <a16:creationId xmlns:a16="http://schemas.microsoft.com/office/drawing/2014/main" id="{86B13B5A-D4B2-634C-8DEE-ED49161AFD13}"/>
                </a:ext>
              </a:extLst>
            </p:cNvPr>
            <p:cNvSpPr/>
            <p:nvPr/>
          </p:nvSpPr>
          <p:spPr>
            <a:xfrm>
              <a:off x="6558403" y="1979945"/>
              <a:ext cx="134428" cy="133573"/>
            </a:xfrm>
            <a:custGeom>
              <a:avLst/>
              <a:gdLst>
                <a:gd name="connsiteX0" fmla="*/ 92889 w 134428"/>
                <a:gd name="connsiteY0" fmla="*/ 62402 h 133573"/>
                <a:gd name="connsiteX1" fmla="*/ 52329 w 134428"/>
                <a:gd name="connsiteY1" fmla="*/ 90892 h 133573"/>
                <a:gd name="connsiteX2" fmla="*/ 41652 w 134428"/>
                <a:gd name="connsiteY2" fmla="*/ 70406 h 133573"/>
                <a:gd name="connsiteX3" fmla="*/ 73799 w 134428"/>
                <a:gd name="connsiteY3" fmla="*/ 40847 h 133573"/>
                <a:gd name="connsiteX4" fmla="*/ 82411 w 134428"/>
                <a:gd name="connsiteY4" fmla="*/ 42867 h 133573"/>
                <a:gd name="connsiteX5" fmla="*/ 92889 w 134428"/>
                <a:gd name="connsiteY5" fmla="*/ 62402 h 133573"/>
                <a:gd name="connsiteX6" fmla="*/ 73601 w 134428"/>
                <a:gd name="connsiteY6" fmla="*/ -125 h 133573"/>
                <a:gd name="connsiteX7" fmla="*/ 1568 w 134428"/>
                <a:gd name="connsiteY7" fmla="*/ 61768 h 133573"/>
                <a:gd name="connsiteX8" fmla="*/ 35421 w 134428"/>
                <a:gd name="connsiteY8" fmla="*/ 128178 h 133573"/>
                <a:gd name="connsiteX9" fmla="*/ 59869 w 134428"/>
                <a:gd name="connsiteY9" fmla="*/ 133448 h 133573"/>
                <a:gd name="connsiteX10" fmla="*/ 132934 w 134428"/>
                <a:gd name="connsiteY10" fmla="*/ 71278 h 133573"/>
                <a:gd name="connsiteX11" fmla="*/ 99715 w 134428"/>
                <a:gd name="connsiteY11" fmla="*/ 5740 h 133573"/>
                <a:gd name="connsiteX12" fmla="*/ 73601 w 134428"/>
                <a:gd name="connsiteY12" fmla="*/ -125 h 1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428" h="133573">
                  <a:moveTo>
                    <a:pt x="92889" y="62402"/>
                  </a:moveTo>
                  <a:cubicBezTo>
                    <a:pt x="88762" y="80867"/>
                    <a:pt x="67251" y="97588"/>
                    <a:pt x="52329" y="90892"/>
                  </a:cubicBezTo>
                  <a:cubicBezTo>
                    <a:pt x="45899" y="87960"/>
                    <a:pt x="38914" y="83046"/>
                    <a:pt x="41652" y="70406"/>
                  </a:cubicBezTo>
                  <a:cubicBezTo>
                    <a:pt x="44668" y="56419"/>
                    <a:pt x="58996" y="40847"/>
                    <a:pt x="73799" y="40847"/>
                  </a:cubicBezTo>
                  <a:cubicBezTo>
                    <a:pt x="76657" y="40886"/>
                    <a:pt x="79594" y="41560"/>
                    <a:pt x="82411" y="42867"/>
                  </a:cubicBezTo>
                  <a:cubicBezTo>
                    <a:pt x="91817" y="47265"/>
                    <a:pt x="94953" y="53090"/>
                    <a:pt x="92889" y="62402"/>
                  </a:cubicBezTo>
                  <a:close/>
                  <a:moveTo>
                    <a:pt x="73601" y="-125"/>
                  </a:moveTo>
                  <a:cubicBezTo>
                    <a:pt x="36850" y="-125"/>
                    <a:pt x="8077" y="31337"/>
                    <a:pt x="1568" y="61768"/>
                  </a:cubicBezTo>
                  <a:cubicBezTo>
                    <a:pt x="-4624" y="90495"/>
                    <a:pt x="8355" y="115974"/>
                    <a:pt x="35421" y="128178"/>
                  </a:cubicBezTo>
                  <a:cubicBezTo>
                    <a:pt x="43200" y="131665"/>
                    <a:pt x="51415" y="133448"/>
                    <a:pt x="59869" y="133448"/>
                  </a:cubicBezTo>
                  <a:cubicBezTo>
                    <a:pt x="92532" y="133448"/>
                    <a:pt x="125313" y="105553"/>
                    <a:pt x="132934" y="71278"/>
                  </a:cubicBezTo>
                  <a:cubicBezTo>
                    <a:pt x="139125" y="43224"/>
                    <a:pt x="126385" y="18141"/>
                    <a:pt x="99715" y="5740"/>
                  </a:cubicBezTo>
                  <a:cubicBezTo>
                    <a:pt x="91619" y="1975"/>
                    <a:pt x="83086" y="-6"/>
                    <a:pt x="73601" y="-125"/>
                  </a:cubicBezTo>
                  <a:close/>
                </a:path>
              </a:pathLst>
            </a:custGeom>
            <a:grpFill/>
            <a:ln w="39688" cap="flat">
              <a:noFill/>
              <a:prstDash val="solid"/>
              <a:round/>
            </a:ln>
          </p:spPr>
          <p:txBody>
            <a:bodyPr rtlCol="0" anchor="ctr"/>
            <a:lstStyle/>
            <a:p>
              <a:endParaRPr lang="en-LT"/>
            </a:p>
          </p:txBody>
        </p:sp>
        <p:sp>
          <p:nvSpPr>
            <p:cNvPr id="176" name="Freeform 175">
              <a:extLst>
                <a:ext uri="{FF2B5EF4-FFF2-40B4-BE49-F238E27FC236}">
                  <a16:creationId xmlns:a16="http://schemas.microsoft.com/office/drawing/2014/main" id="{088026FE-8DA4-CB4F-BAB8-9D972AC1CE57}"/>
                </a:ext>
              </a:extLst>
            </p:cNvPr>
            <p:cNvSpPr/>
            <p:nvPr/>
          </p:nvSpPr>
          <p:spPr>
            <a:xfrm>
              <a:off x="5844833" y="3179486"/>
              <a:ext cx="973887" cy="91178"/>
            </a:xfrm>
            <a:custGeom>
              <a:avLst/>
              <a:gdLst>
                <a:gd name="connsiteX0" fmla="*/ 957367 w 973887"/>
                <a:gd name="connsiteY0" fmla="*/ 5480 h 91178"/>
                <a:gd name="connsiteX1" fmla="*/ 755437 w 973887"/>
                <a:gd name="connsiteY1" fmla="*/ 18912 h 91178"/>
                <a:gd name="connsiteX2" fmla="*/ 687929 w 973887"/>
                <a:gd name="connsiteY2" fmla="*/ 31394 h 91178"/>
                <a:gd name="connsiteX3" fmla="*/ 502429 w 973887"/>
                <a:gd name="connsiteY3" fmla="*/ 42568 h 91178"/>
                <a:gd name="connsiteX4" fmla="*/ 20226 w 973887"/>
                <a:gd name="connsiteY4" fmla="*/ 50215 h 91178"/>
                <a:gd name="connsiteX5" fmla="*/ 25 w 973887"/>
                <a:gd name="connsiteY5" fmla="*/ 71018 h 91178"/>
                <a:gd name="connsiteX6" fmla="*/ 20543 w 973887"/>
                <a:gd name="connsiteY6" fmla="*/ 91147 h 91178"/>
                <a:gd name="connsiteX7" fmla="*/ 20861 w 973887"/>
                <a:gd name="connsiteY7" fmla="*/ 91147 h 91178"/>
                <a:gd name="connsiteX8" fmla="*/ 503064 w 973887"/>
                <a:gd name="connsiteY8" fmla="*/ 83539 h 91178"/>
                <a:gd name="connsiteX9" fmla="*/ 694080 w 973887"/>
                <a:gd name="connsiteY9" fmla="*/ 71850 h 91178"/>
                <a:gd name="connsiteX10" fmla="*/ 763533 w 973887"/>
                <a:gd name="connsiteY10" fmla="*/ 59052 h 91178"/>
                <a:gd name="connsiteX11" fmla="*/ 949430 w 973887"/>
                <a:gd name="connsiteY11" fmla="*/ 45698 h 91178"/>
                <a:gd name="connsiteX12" fmla="*/ 973520 w 973887"/>
                <a:gd name="connsiteY12" fmla="*/ 29571 h 91178"/>
                <a:gd name="connsiteX13" fmla="*/ 957367 w 973887"/>
                <a:gd name="connsiteY13" fmla="*/ 5480 h 9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3887" h="91178">
                  <a:moveTo>
                    <a:pt x="957367" y="5480"/>
                  </a:moveTo>
                  <a:cubicBezTo>
                    <a:pt x="889184" y="-7913"/>
                    <a:pt x="821159" y="5678"/>
                    <a:pt x="755437" y="18912"/>
                  </a:cubicBezTo>
                  <a:cubicBezTo>
                    <a:pt x="732894" y="23429"/>
                    <a:pt x="710392" y="27947"/>
                    <a:pt x="687929" y="31394"/>
                  </a:cubicBezTo>
                  <a:cubicBezTo>
                    <a:pt x="626929" y="40587"/>
                    <a:pt x="563627" y="41578"/>
                    <a:pt x="502429" y="42568"/>
                  </a:cubicBezTo>
                  <a:lnTo>
                    <a:pt x="20226" y="50215"/>
                  </a:lnTo>
                  <a:cubicBezTo>
                    <a:pt x="8875" y="50374"/>
                    <a:pt x="-134" y="59725"/>
                    <a:pt x="25" y="71018"/>
                  </a:cubicBezTo>
                  <a:cubicBezTo>
                    <a:pt x="223" y="82192"/>
                    <a:pt x="9391" y="91147"/>
                    <a:pt x="20543" y="91147"/>
                  </a:cubicBezTo>
                  <a:lnTo>
                    <a:pt x="20861" y="91147"/>
                  </a:lnTo>
                  <a:lnTo>
                    <a:pt x="503064" y="83539"/>
                  </a:lnTo>
                  <a:cubicBezTo>
                    <a:pt x="565652" y="82509"/>
                    <a:pt x="630342" y="81519"/>
                    <a:pt x="694080" y="71850"/>
                  </a:cubicBezTo>
                  <a:cubicBezTo>
                    <a:pt x="717218" y="68363"/>
                    <a:pt x="740356" y="63727"/>
                    <a:pt x="763533" y="59052"/>
                  </a:cubicBezTo>
                  <a:cubicBezTo>
                    <a:pt x="828184" y="46095"/>
                    <a:pt x="889224" y="33851"/>
                    <a:pt x="949430" y="45698"/>
                  </a:cubicBezTo>
                  <a:cubicBezTo>
                    <a:pt x="960224" y="47838"/>
                    <a:pt x="971298" y="40666"/>
                    <a:pt x="973520" y="29571"/>
                  </a:cubicBezTo>
                  <a:cubicBezTo>
                    <a:pt x="975703" y="18436"/>
                    <a:pt x="968519" y="7698"/>
                    <a:pt x="957367" y="5480"/>
                  </a:cubicBezTo>
                  <a:close/>
                </a:path>
              </a:pathLst>
            </a:custGeom>
            <a:grpFill/>
            <a:ln w="39688" cap="flat">
              <a:noFill/>
              <a:prstDash val="solid"/>
              <a:round/>
            </a:ln>
          </p:spPr>
          <p:txBody>
            <a:bodyPr rtlCol="0" anchor="ctr"/>
            <a:lstStyle/>
            <a:p>
              <a:endParaRPr lang="en-LT"/>
            </a:p>
          </p:txBody>
        </p:sp>
        <p:sp>
          <p:nvSpPr>
            <p:cNvPr id="177" name="Freeform 176">
              <a:extLst>
                <a:ext uri="{FF2B5EF4-FFF2-40B4-BE49-F238E27FC236}">
                  <a16:creationId xmlns:a16="http://schemas.microsoft.com/office/drawing/2014/main" id="{391ED59A-A991-0443-9AEC-997854A5EF1E}"/>
                </a:ext>
              </a:extLst>
            </p:cNvPr>
            <p:cNvSpPr/>
            <p:nvPr/>
          </p:nvSpPr>
          <p:spPr>
            <a:xfrm>
              <a:off x="5614402" y="3277551"/>
              <a:ext cx="1163049" cy="116781"/>
            </a:xfrm>
            <a:custGeom>
              <a:avLst/>
              <a:gdLst>
                <a:gd name="connsiteX0" fmla="*/ 1139965 w 1163049"/>
                <a:gd name="connsiteY0" fmla="*/ 105 h 116781"/>
                <a:gd name="connsiteX1" fmla="*/ 659547 w 1163049"/>
                <a:gd name="connsiteY1" fmla="*/ 60374 h 116781"/>
                <a:gd name="connsiteX2" fmla="*/ 461109 w 1163049"/>
                <a:gd name="connsiteY2" fmla="*/ 75669 h 116781"/>
                <a:gd name="connsiteX3" fmla="*/ 302597 w 1163049"/>
                <a:gd name="connsiteY3" fmla="*/ 60453 h 116781"/>
                <a:gd name="connsiteX4" fmla="*/ 15974 w 1163049"/>
                <a:gd name="connsiteY4" fmla="*/ 56451 h 116781"/>
                <a:gd name="connsiteX5" fmla="*/ 536 w 1163049"/>
                <a:gd name="connsiteY5" fmla="*/ 80939 h 116781"/>
                <a:gd name="connsiteX6" fmla="*/ 25023 w 1163049"/>
                <a:gd name="connsiteY6" fmla="*/ 96392 h 116781"/>
                <a:gd name="connsiteX7" fmla="*/ 297121 w 1163049"/>
                <a:gd name="connsiteY7" fmla="*/ 101068 h 116781"/>
                <a:gd name="connsiteX8" fmla="*/ 460316 w 1163049"/>
                <a:gd name="connsiteY8" fmla="*/ 116601 h 116781"/>
                <a:gd name="connsiteX9" fmla="*/ 475000 w 1163049"/>
                <a:gd name="connsiteY9" fmla="*/ 116759 h 116781"/>
                <a:gd name="connsiteX10" fmla="*/ 664746 w 1163049"/>
                <a:gd name="connsiteY10" fmla="*/ 100989 h 116781"/>
                <a:gd name="connsiteX11" fmla="*/ 1145124 w 1163049"/>
                <a:gd name="connsiteY11" fmla="*/ 40720 h 116781"/>
                <a:gd name="connsiteX12" fmla="*/ 1162904 w 1163049"/>
                <a:gd name="connsiteY12" fmla="*/ 17857 h 116781"/>
                <a:gd name="connsiteX13" fmla="*/ 1139965 w 1163049"/>
                <a:gd name="connsiteY13" fmla="*/ 105 h 11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3049" h="116781">
                  <a:moveTo>
                    <a:pt x="1139965" y="105"/>
                  </a:moveTo>
                  <a:lnTo>
                    <a:pt x="659547" y="60374"/>
                  </a:lnTo>
                  <a:cubicBezTo>
                    <a:pt x="594340" y="68537"/>
                    <a:pt x="527110" y="77056"/>
                    <a:pt x="461109" y="75669"/>
                  </a:cubicBezTo>
                  <a:cubicBezTo>
                    <a:pt x="408722" y="74639"/>
                    <a:pt x="354786" y="67427"/>
                    <a:pt x="302597" y="60453"/>
                  </a:cubicBezTo>
                  <a:cubicBezTo>
                    <a:pt x="208498" y="47932"/>
                    <a:pt x="111304" y="34935"/>
                    <a:pt x="15974" y="56451"/>
                  </a:cubicBezTo>
                  <a:cubicBezTo>
                    <a:pt x="4941" y="58947"/>
                    <a:pt x="-2005" y="69884"/>
                    <a:pt x="536" y="80939"/>
                  </a:cubicBezTo>
                  <a:cubicBezTo>
                    <a:pt x="2956" y="91954"/>
                    <a:pt x="13910" y="98928"/>
                    <a:pt x="25023" y="96392"/>
                  </a:cubicBezTo>
                  <a:cubicBezTo>
                    <a:pt x="113129" y="76541"/>
                    <a:pt x="202545" y="88467"/>
                    <a:pt x="297121" y="101068"/>
                  </a:cubicBezTo>
                  <a:cubicBezTo>
                    <a:pt x="350500" y="108200"/>
                    <a:pt x="405587" y="115531"/>
                    <a:pt x="460316" y="116601"/>
                  </a:cubicBezTo>
                  <a:cubicBezTo>
                    <a:pt x="465197" y="116719"/>
                    <a:pt x="470119" y="116759"/>
                    <a:pt x="475000" y="116759"/>
                  </a:cubicBezTo>
                  <a:cubicBezTo>
                    <a:pt x="538937" y="116759"/>
                    <a:pt x="602794" y="108755"/>
                    <a:pt x="664746" y="100989"/>
                  </a:cubicBezTo>
                  <a:lnTo>
                    <a:pt x="1145124" y="40720"/>
                  </a:lnTo>
                  <a:cubicBezTo>
                    <a:pt x="1156316" y="39294"/>
                    <a:pt x="1164293" y="29071"/>
                    <a:pt x="1162904" y="17857"/>
                  </a:cubicBezTo>
                  <a:cubicBezTo>
                    <a:pt x="1161436" y="6643"/>
                    <a:pt x="1151038" y="-1123"/>
                    <a:pt x="1139965" y="105"/>
                  </a:cubicBezTo>
                  <a:close/>
                </a:path>
              </a:pathLst>
            </a:custGeom>
            <a:grpFill/>
            <a:ln w="39688" cap="flat">
              <a:noFill/>
              <a:prstDash val="solid"/>
              <a:round/>
            </a:ln>
          </p:spPr>
          <p:txBody>
            <a:bodyPr rtlCol="0" anchor="ctr"/>
            <a:lstStyle/>
            <a:p>
              <a:endParaRPr lang="en-LT"/>
            </a:p>
          </p:txBody>
        </p:sp>
        <p:sp>
          <p:nvSpPr>
            <p:cNvPr id="178" name="Freeform 177">
              <a:extLst>
                <a:ext uri="{FF2B5EF4-FFF2-40B4-BE49-F238E27FC236}">
                  <a16:creationId xmlns:a16="http://schemas.microsoft.com/office/drawing/2014/main" id="{523AFB87-6B81-784A-BB9D-05A75CE2275D}"/>
                </a:ext>
              </a:extLst>
            </p:cNvPr>
            <p:cNvSpPr/>
            <p:nvPr/>
          </p:nvSpPr>
          <p:spPr>
            <a:xfrm>
              <a:off x="5009734" y="1528902"/>
              <a:ext cx="2224912" cy="3839904"/>
            </a:xfrm>
            <a:custGeom>
              <a:avLst/>
              <a:gdLst>
                <a:gd name="connsiteX0" fmla="*/ 1842376 w 2224912"/>
                <a:gd name="connsiteY0" fmla="*/ 3722803 h 3839904"/>
                <a:gd name="connsiteX1" fmla="*/ 1821421 w 2224912"/>
                <a:gd name="connsiteY1" fmla="*/ 3725180 h 3839904"/>
                <a:gd name="connsiteX2" fmla="*/ 1829954 w 2224912"/>
                <a:gd name="connsiteY2" fmla="*/ 3727241 h 3839904"/>
                <a:gd name="connsiteX3" fmla="*/ 1833883 w 2224912"/>
                <a:gd name="connsiteY3" fmla="*/ 3726924 h 3839904"/>
                <a:gd name="connsiteX4" fmla="*/ 1842376 w 2224912"/>
                <a:gd name="connsiteY4" fmla="*/ 3722803 h 3839904"/>
                <a:gd name="connsiteX5" fmla="*/ 1773797 w 2224912"/>
                <a:gd name="connsiteY5" fmla="*/ 3439490 h 3839904"/>
                <a:gd name="connsiteX6" fmla="*/ 1773876 w 2224912"/>
                <a:gd name="connsiteY6" fmla="*/ 3439370 h 3839904"/>
                <a:gd name="connsiteX7" fmla="*/ 1773916 w 2224912"/>
                <a:gd name="connsiteY7" fmla="*/ 3439925 h 3839904"/>
                <a:gd name="connsiteX8" fmla="*/ 1773797 w 2224912"/>
                <a:gd name="connsiteY8" fmla="*/ 3439490 h 3839904"/>
                <a:gd name="connsiteX9" fmla="*/ 1507652 w 2224912"/>
                <a:gd name="connsiteY9" fmla="*/ 2053671 h 3839904"/>
                <a:gd name="connsiteX10" fmla="*/ 1590043 w 2224912"/>
                <a:gd name="connsiteY10" fmla="*/ 2050541 h 3839904"/>
                <a:gd name="connsiteX11" fmla="*/ 1749309 w 2224912"/>
                <a:gd name="connsiteY11" fmla="*/ 3253929 h 3839904"/>
                <a:gd name="connsiteX12" fmla="*/ 1507652 w 2224912"/>
                <a:gd name="connsiteY12" fmla="*/ 2053671 h 3839904"/>
                <a:gd name="connsiteX13" fmla="*/ 1620127 w 2224912"/>
                <a:gd name="connsiteY13" fmla="*/ 2899807 h 3839904"/>
                <a:gd name="connsiteX14" fmla="*/ 1414466 w 2224912"/>
                <a:gd name="connsiteY14" fmla="*/ 2057198 h 3839904"/>
                <a:gd name="connsiteX15" fmla="*/ 1465901 w 2224912"/>
                <a:gd name="connsiteY15" fmla="*/ 2055216 h 3839904"/>
                <a:gd name="connsiteX16" fmla="*/ 1698073 w 2224912"/>
                <a:gd name="connsiteY16" fmla="*/ 3191125 h 3839904"/>
                <a:gd name="connsiteX17" fmla="*/ 1620127 w 2224912"/>
                <a:gd name="connsiteY17" fmla="*/ 2899807 h 3839904"/>
                <a:gd name="connsiteX18" fmla="*/ 1029616 w 2224912"/>
                <a:gd name="connsiteY18" fmla="*/ 2030887 h 3839904"/>
                <a:gd name="connsiteX19" fmla="*/ 1028187 w 2224912"/>
                <a:gd name="connsiteY19" fmla="*/ 2030729 h 3839904"/>
                <a:gd name="connsiteX20" fmla="*/ 1027314 w 2224912"/>
                <a:gd name="connsiteY20" fmla="*/ 2030966 h 3839904"/>
                <a:gd name="connsiteX21" fmla="*/ 133630 w 2224912"/>
                <a:gd name="connsiteY21" fmla="*/ 2064568 h 3839904"/>
                <a:gd name="connsiteX22" fmla="*/ 107952 w 2224912"/>
                <a:gd name="connsiteY22" fmla="*/ 2066747 h 3839904"/>
                <a:gd name="connsiteX23" fmla="*/ 82076 w 2224912"/>
                <a:gd name="connsiteY23" fmla="*/ 2068689 h 3839904"/>
                <a:gd name="connsiteX24" fmla="*/ 47032 w 2224912"/>
                <a:gd name="connsiteY24" fmla="*/ 2052800 h 3839904"/>
                <a:gd name="connsiteX25" fmla="*/ 40920 w 2224912"/>
                <a:gd name="connsiteY25" fmla="*/ 2029342 h 3839904"/>
                <a:gd name="connsiteX26" fmla="*/ 2178213 w 2224912"/>
                <a:gd name="connsiteY26" fmla="*/ 1974343 h 3839904"/>
                <a:gd name="connsiteX27" fmla="*/ 2178649 w 2224912"/>
                <a:gd name="connsiteY27" fmla="*/ 1988291 h 3839904"/>
                <a:gd name="connsiteX28" fmla="*/ 1718948 w 2224912"/>
                <a:gd name="connsiteY28" fmla="*/ 2004973 h 3839904"/>
                <a:gd name="connsiteX29" fmla="*/ 1029616 w 2224912"/>
                <a:gd name="connsiteY29" fmla="*/ 2030887 h 3839904"/>
                <a:gd name="connsiteX30" fmla="*/ 1126969 w 2224912"/>
                <a:gd name="connsiteY30" fmla="*/ 2505705 h 3839904"/>
                <a:gd name="connsiteX31" fmla="*/ 1110697 w 2224912"/>
                <a:gd name="connsiteY31" fmla="*/ 2068649 h 3839904"/>
                <a:gd name="connsiteX32" fmla="*/ 1152131 w 2224912"/>
                <a:gd name="connsiteY32" fmla="*/ 2067104 h 3839904"/>
                <a:gd name="connsiteX33" fmla="*/ 1126969 w 2224912"/>
                <a:gd name="connsiteY33" fmla="*/ 2505705 h 3839904"/>
                <a:gd name="connsiteX34" fmla="*/ 1051801 w 2224912"/>
                <a:gd name="connsiteY34" fmla="*/ 2070908 h 3839904"/>
                <a:gd name="connsiteX35" fmla="*/ 1069740 w 2224912"/>
                <a:gd name="connsiteY35" fmla="*/ 2070195 h 3839904"/>
                <a:gd name="connsiteX36" fmla="*/ 1087797 w 2224912"/>
                <a:gd name="connsiteY36" fmla="*/ 2555948 h 3839904"/>
                <a:gd name="connsiteX37" fmla="*/ 1051801 w 2224912"/>
                <a:gd name="connsiteY37" fmla="*/ 2070908 h 3839904"/>
                <a:gd name="connsiteX38" fmla="*/ 764185 w 2224912"/>
                <a:gd name="connsiteY38" fmla="*/ 2083310 h 3839904"/>
                <a:gd name="connsiteX39" fmla="*/ 668657 w 2224912"/>
                <a:gd name="connsiteY39" fmla="*/ 2447299 h 3839904"/>
                <a:gd name="connsiteX40" fmla="*/ 623771 w 2224912"/>
                <a:gd name="connsiteY40" fmla="*/ 2625568 h 3839904"/>
                <a:gd name="connsiteX41" fmla="*/ 539991 w 2224912"/>
                <a:gd name="connsiteY41" fmla="*/ 2886256 h 3839904"/>
                <a:gd name="connsiteX42" fmla="*/ 468751 w 2224912"/>
                <a:gd name="connsiteY42" fmla="*/ 3100662 h 3839904"/>
                <a:gd name="connsiteX43" fmla="*/ 464783 w 2224912"/>
                <a:gd name="connsiteY43" fmla="*/ 3114214 h 3839904"/>
                <a:gd name="connsiteX44" fmla="*/ 689850 w 2224912"/>
                <a:gd name="connsiteY44" fmla="*/ 2084539 h 3839904"/>
                <a:gd name="connsiteX45" fmla="*/ 765019 w 2224912"/>
                <a:gd name="connsiteY45" fmla="*/ 2081685 h 3839904"/>
                <a:gd name="connsiteX46" fmla="*/ 764185 w 2224912"/>
                <a:gd name="connsiteY46" fmla="*/ 2083310 h 3839904"/>
                <a:gd name="connsiteX47" fmla="*/ 578527 w 2224912"/>
                <a:gd name="connsiteY47" fmla="*/ 2092305 h 3839904"/>
                <a:gd name="connsiteX48" fmla="*/ 578368 w 2224912"/>
                <a:gd name="connsiteY48" fmla="*/ 2088778 h 3839904"/>
                <a:gd name="connsiteX49" fmla="*/ 647583 w 2224912"/>
                <a:gd name="connsiteY49" fmla="*/ 2086123 h 3839904"/>
                <a:gd name="connsiteX50" fmla="*/ 393464 w 2224912"/>
                <a:gd name="connsiteY50" fmla="*/ 3248699 h 3839904"/>
                <a:gd name="connsiteX51" fmla="*/ 578527 w 2224912"/>
                <a:gd name="connsiteY51" fmla="*/ 2092305 h 3839904"/>
                <a:gd name="connsiteX52" fmla="*/ 353856 w 2224912"/>
                <a:gd name="connsiteY52" fmla="*/ 3496271 h 3839904"/>
                <a:gd name="connsiteX53" fmla="*/ 354491 w 2224912"/>
                <a:gd name="connsiteY53" fmla="*/ 3492189 h 3839904"/>
                <a:gd name="connsiteX54" fmla="*/ 354967 w 2224912"/>
                <a:gd name="connsiteY54" fmla="*/ 3492428 h 3839904"/>
                <a:gd name="connsiteX55" fmla="*/ 353856 w 2224912"/>
                <a:gd name="connsiteY55" fmla="*/ 3496271 h 3839904"/>
                <a:gd name="connsiteX56" fmla="*/ 49175 w 2224912"/>
                <a:gd name="connsiteY56" fmla="*/ 1968123 h 3839904"/>
                <a:gd name="connsiteX57" fmla="*/ 92236 w 2224912"/>
                <a:gd name="connsiteY57" fmla="*/ 1956473 h 3839904"/>
                <a:gd name="connsiteX58" fmla="*/ 211298 w 2224912"/>
                <a:gd name="connsiteY58" fmla="*/ 1944744 h 3839904"/>
                <a:gd name="connsiteX59" fmla="*/ 230110 w 2224912"/>
                <a:gd name="connsiteY59" fmla="*/ 1957107 h 3839904"/>
                <a:gd name="connsiteX60" fmla="*/ 248882 w 2224912"/>
                <a:gd name="connsiteY60" fmla="*/ 1944744 h 3839904"/>
                <a:gd name="connsiteX61" fmla="*/ 312263 w 2224912"/>
                <a:gd name="connsiteY61" fmla="*/ 1946052 h 3839904"/>
                <a:gd name="connsiteX62" fmla="*/ 422039 w 2224912"/>
                <a:gd name="connsiteY62" fmla="*/ 1947439 h 3839904"/>
                <a:gd name="connsiteX63" fmla="*/ 1117166 w 2224912"/>
                <a:gd name="connsiteY63" fmla="*/ 1930599 h 3839904"/>
                <a:gd name="connsiteX64" fmla="*/ 1840829 w 2224912"/>
                <a:gd name="connsiteY64" fmla="*/ 1913362 h 3839904"/>
                <a:gd name="connsiteX65" fmla="*/ 1944572 w 2224912"/>
                <a:gd name="connsiteY65" fmla="*/ 1904248 h 3839904"/>
                <a:gd name="connsiteX66" fmla="*/ 2092170 w 2224912"/>
                <a:gd name="connsiteY66" fmla="*/ 1896878 h 3839904"/>
                <a:gd name="connsiteX67" fmla="*/ 2172061 w 2224912"/>
                <a:gd name="connsiteY67" fmla="*/ 1933531 h 3839904"/>
                <a:gd name="connsiteX68" fmla="*/ 41912 w 2224912"/>
                <a:gd name="connsiteY68" fmla="*/ 1988371 h 3839904"/>
                <a:gd name="connsiteX69" fmla="*/ 49175 w 2224912"/>
                <a:gd name="connsiteY69" fmla="*/ 1968123 h 3839904"/>
                <a:gd name="connsiteX70" fmla="*/ 244557 w 2224912"/>
                <a:gd name="connsiteY70" fmla="*/ 317694 h 3839904"/>
                <a:gd name="connsiteX71" fmla="*/ 1029695 w 2224912"/>
                <a:gd name="connsiteY71" fmla="*/ 278427 h 3839904"/>
                <a:gd name="connsiteX72" fmla="*/ 1029854 w 2224912"/>
                <a:gd name="connsiteY72" fmla="*/ 278427 h 3839904"/>
                <a:gd name="connsiteX73" fmla="*/ 1095021 w 2224912"/>
                <a:gd name="connsiteY73" fmla="*/ 273513 h 3839904"/>
                <a:gd name="connsiteX74" fmla="*/ 1581312 w 2224912"/>
                <a:gd name="connsiteY74" fmla="*/ 239991 h 3839904"/>
                <a:gd name="connsiteX75" fmla="*/ 1961042 w 2224912"/>
                <a:gd name="connsiteY75" fmla="*/ 275098 h 3839904"/>
                <a:gd name="connsiteX76" fmla="*/ 1974536 w 2224912"/>
                <a:gd name="connsiteY76" fmla="*/ 881943 h 3839904"/>
                <a:gd name="connsiteX77" fmla="*/ 1983387 w 2224912"/>
                <a:gd name="connsiteY77" fmla="*/ 1032515 h 3839904"/>
                <a:gd name="connsiteX78" fmla="*/ 1982632 w 2224912"/>
                <a:gd name="connsiteY78" fmla="*/ 1471433 h 3839904"/>
                <a:gd name="connsiteX79" fmla="*/ 1963265 w 2224912"/>
                <a:gd name="connsiteY79" fmla="*/ 1860900 h 3839904"/>
                <a:gd name="connsiteX80" fmla="*/ 1939690 w 2224912"/>
                <a:gd name="connsiteY80" fmla="*/ 1863594 h 3839904"/>
                <a:gd name="connsiteX81" fmla="*/ 1839876 w 2224912"/>
                <a:gd name="connsiteY81" fmla="*/ 1872390 h 3839904"/>
                <a:gd name="connsiteX82" fmla="*/ 1116174 w 2224912"/>
                <a:gd name="connsiteY82" fmla="*/ 1889667 h 3839904"/>
                <a:gd name="connsiteX83" fmla="*/ 420968 w 2224912"/>
                <a:gd name="connsiteY83" fmla="*/ 1906467 h 3839904"/>
                <a:gd name="connsiteX84" fmla="*/ 313534 w 2224912"/>
                <a:gd name="connsiteY84" fmla="*/ 1905160 h 3839904"/>
                <a:gd name="connsiteX85" fmla="*/ 250589 w 2224912"/>
                <a:gd name="connsiteY85" fmla="*/ 1903852 h 3839904"/>
                <a:gd name="connsiteX86" fmla="*/ 250391 w 2224912"/>
                <a:gd name="connsiteY86" fmla="*/ 1308181 h 3839904"/>
                <a:gd name="connsiteX87" fmla="*/ 247374 w 2224912"/>
                <a:gd name="connsiteY87" fmla="*/ 1139540 h 3839904"/>
                <a:gd name="connsiteX88" fmla="*/ 244557 w 2224912"/>
                <a:gd name="connsiteY88" fmla="*/ 317694 h 3839904"/>
                <a:gd name="connsiteX89" fmla="*/ 1059342 w 2224912"/>
                <a:gd name="connsiteY89" fmla="*/ 61444 h 3839904"/>
                <a:gd name="connsiteX90" fmla="*/ 1067517 w 2224912"/>
                <a:gd name="connsiteY90" fmla="*/ 53321 h 3839904"/>
                <a:gd name="connsiteX91" fmla="*/ 1064541 w 2224912"/>
                <a:gd name="connsiteY91" fmla="*/ 234721 h 3839904"/>
                <a:gd name="connsiteX92" fmla="*/ 1049737 w 2224912"/>
                <a:gd name="connsiteY92" fmla="*/ 235830 h 3839904"/>
                <a:gd name="connsiteX93" fmla="*/ 1049181 w 2224912"/>
                <a:gd name="connsiteY93" fmla="*/ 219069 h 3839904"/>
                <a:gd name="connsiteX94" fmla="*/ 1059342 w 2224912"/>
                <a:gd name="connsiteY94" fmla="*/ 61444 h 3839904"/>
                <a:gd name="connsiteX95" fmla="*/ 1108752 w 2224912"/>
                <a:gd name="connsiteY95" fmla="*/ 41355 h 3839904"/>
                <a:gd name="connsiteX96" fmla="*/ 1157886 w 2224912"/>
                <a:gd name="connsiteY96" fmla="*/ 64891 h 3839904"/>
                <a:gd name="connsiteX97" fmla="*/ 1158838 w 2224912"/>
                <a:gd name="connsiteY97" fmla="*/ 162208 h 3839904"/>
                <a:gd name="connsiteX98" fmla="*/ 1153084 w 2224912"/>
                <a:gd name="connsiteY98" fmla="*/ 214988 h 3839904"/>
                <a:gd name="connsiteX99" fmla="*/ 1157886 w 2224912"/>
                <a:gd name="connsiteY99" fmla="*/ 227707 h 3839904"/>
                <a:gd name="connsiteX100" fmla="*/ 1105617 w 2224912"/>
                <a:gd name="connsiteY100" fmla="*/ 231630 h 3839904"/>
                <a:gd name="connsiteX101" fmla="*/ 1108752 w 2224912"/>
                <a:gd name="connsiteY101" fmla="*/ 41355 h 3839904"/>
                <a:gd name="connsiteX102" fmla="*/ 1808126 w 2224912"/>
                <a:gd name="connsiteY102" fmla="*/ 3705011 h 3839904"/>
                <a:gd name="connsiteX103" fmla="*/ 1849798 w 2224912"/>
                <a:gd name="connsiteY103" fmla="*/ 3700533 h 3839904"/>
                <a:gd name="connsiteX104" fmla="*/ 1631239 w 2224912"/>
                <a:gd name="connsiteY104" fmla="*/ 2048996 h 3839904"/>
                <a:gd name="connsiteX105" fmla="*/ 1662830 w 2224912"/>
                <a:gd name="connsiteY105" fmla="*/ 2047807 h 3839904"/>
                <a:gd name="connsiteX106" fmla="*/ 1720297 w 2224912"/>
                <a:gd name="connsiteY106" fmla="*/ 2045905 h 3839904"/>
                <a:gd name="connsiteX107" fmla="*/ 2040060 w 2224912"/>
                <a:gd name="connsiteY107" fmla="*/ 2034850 h 3839904"/>
                <a:gd name="connsiteX108" fmla="*/ 2217424 w 2224912"/>
                <a:gd name="connsiteY108" fmla="*/ 1969034 h 3839904"/>
                <a:gd name="connsiteX109" fmla="*/ 2216074 w 2224912"/>
                <a:gd name="connsiteY109" fmla="*/ 1935670 h 3839904"/>
                <a:gd name="connsiteX110" fmla="*/ 2095940 w 2224912"/>
                <a:gd name="connsiteY110" fmla="*/ 1856065 h 3839904"/>
                <a:gd name="connsiteX111" fmla="*/ 2004302 w 2224912"/>
                <a:gd name="connsiteY111" fmla="*/ 1856898 h 3839904"/>
                <a:gd name="connsiteX112" fmla="*/ 2023272 w 2224912"/>
                <a:gd name="connsiteY112" fmla="*/ 1477337 h 3839904"/>
                <a:gd name="connsiteX113" fmla="*/ 2024344 w 2224912"/>
                <a:gd name="connsiteY113" fmla="*/ 1029781 h 3839904"/>
                <a:gd name="connsiteX114" fmla="*/ 2015573 w 2224912"/>
                <a:gd name="connsiteY114" fmla="*/ 880200 h 3839904"/>
                <a:gd name="connsiteX115" fmla="*/ 2001960 w 2224912"/>
                <a:gd name="connsiteY115" fmla="*/ 261388 h 3839904"/>
                <a:gd name="connsiteX116" fmla="*/ 1989816 w 2224912"/>
                <a:gd name="connsiteY116" fmla="*/ 242844 h 3839904"/>
                <a:gd name="connsiteX117" fmla="*/ 1579169 w 2224912"/>
                <a:gd name="connsiteY117" fmla="*/ 199059 h 3839904"/>
                <a:gd name="connsiteX118" fmla="*/ 1190985 w 2224912"/>
                <a:gd name="connsiteY118" fmla="*/ 225211 h 3839904"/>
                <a:gd name="connsiteX119" fmla="*/ 1194120 w 2224912"/>
                <a:gd name="connsiteY119" fmla="*/ 214988 h 3839904"/>
                <a:gd name="connsiteX120" fmla="*/ 1199399 w 2224912"/>
                <a:gd name="connsiteY120" fmla="*/ 168390 h 3839904"/>
                <a:gd name="connsiteX121" fmla="*/ 1192572 w 2224912"/>
                <a:gd name="connsiteY121" fmla="*/ 43019 h 3839904"/>
                <a:gd name="connsiteX122" fmla="*/ 1104427 w 2224912"/>
                <a:gd name="connsiteY122" fmla="*/ -13 h 3839904"/>
                <a:gd name="connsiteX123" fmla="*/ 1025052 w 2224912"/>
                <a:gd name="connsiteY123" fmla="*/ 38977 h 3839904"/>
                <a:gd name="connsiteX124" fmla="*/ 1008184 w 2224912"/>
                <a:gd name="connsiteY124" fmla="*/ 220575 h 3839904"/>
                <a:gd name="connsiteX125" fmla="*/ 1008819 w 2224912"/>
                <a:gd name="connsiteY125" fmla="*/ 238921 h 3839904"/>
                <a:gd name="connsiteX126" fmla="*/ 229793 w 2224912"/>
                <a:gd name="connsiteY126" fmla="*/ 276723 h 3839904"/>
                <a:gd name="connsiteX127" fmla="*/ 214195 w 2224912"/>
                <a:gd name="connsiteY127" fmla="*/ 283577 h 3839904"/>
                <a:gd name="connsiteX128" fmla="*/ 206337 w 2224912"/>
                <a:gd name="connsiteY128" fmla="*/ 1140372 h 3839904"/>
                <a:gd name="connsiteX129" fmla="*/ 209393 w 2224912"/>
                <a:gd name="connsiteY129" fmla="*/ 1308181 h 3839904"/>
                <a:gd name="connsiteX130" fmla="*/ 209552 w 2224912"/>
                <a:gd name="connsiteY130" fmla="*/ 1903812 h 3839904"/>
                <a:gd name="connsiteX131" fmla="*/ 22306 w 2224912"/>
                <a:gd name="connsiteY131" fmla="*/ 1932303 h 3839904"/>
                <a:gd name="connsiteX132" fmla="*/ 13893 w 2224912"/>
                <a:gd name="connsiteY132" fmla="*/ 2076931 h 3839904"/>
                <a:gd name="connsiteX133" fmla="*/ 537292 w 2224912"/>
                <a:gd name="connsiteY133" fmla="*/ 2090324 h 3839904"/>
                <a:gd name="connsiteX134" fmla="*/ 261106 w 2224912"/>
                <a:gd name="connsiteY134" fmla="*/ 3816197 h 3839904"/>
                <a:gd name="connsiteX135" fmla="*/ 276902 w 2224912"/>
                <a:gd name="connsiteY135" fmla="*/ 3839377 h 3839904"/>
                <a:gd name="connsiteX136" fmla="*/ 281386 w 2224912"/>
                <a:gd name="connsiteY136" fmla="*/ 3839892 h 3839904"/>
                <a:gd name="connsiteX137" fmla="*/ 301072 w 2224912"/>
                <a:gd name="connsiteY137" fmla="*/ 3825113 h 3839904"/>
                <a:gd name="connsiteX138" fmla="*/ 508161 w 2224912"/>
                <a:gd name="connsiteY138" fmla="*/ 3112035 h 3839904"/>
                <a:gd name="connsiteX139" fmla="*/ 578646 w 2224912"/>
                <a:gd name="connsiteY139" fmla="*/ 2899886 h 3839904"/>
                <a:gd name="connsiteX140" fmla="*/ 663498 w 2224912"/>
                <a:gd name="connsiteY140" fmla="*/ 2635791 h 3839904"/>
                <a:gd name="connsiteX141" fmla="*/ 708504 w 2224912"/>
                <a:gd name="connsiteY141" fmla="*/ 2457165 h 3839904"/>
                <a:gd name="connsiteX142" fmla="*/ 803595 w 2224912"/>
                <a:gd name="connsiteY142" fmla="*/ 2094722 h 3839904"/>
                <a:gd name="connsiteX143" fmla="*/ 802246 w 2224912"/>
                <a:gd name="connsiteY143" fmla="*/ 2080299 h 3839904"/>
                <a:gd name="connsiteX144" fmla="*/ 1010724 w 2224912"/>
                <a:gd name="connsiteY144" fmla="*/ 2072454 h 3839904"/>
                <a:gd name="connsiteX145" fmla="*/ 1090377 w 2224912"/>
                <a:gd name="connsiteY145" fmla="*/ 3145161 h 3839904"/>
                <a:gd name="connsiteX146" fmla="*/ 1111015 w 2224912"/>
                <a:gd name="connsiteY146" fmla="*/ 3164101 h 3839904"/>
                <a:gd name="connsiteX147" fmla="*/ 1131335 w 2224912"/>
                <a:gd name="connsiteY147" fmla="*/ 3144844 h 3839904"/>
                <a:gd name="connsiteX148" fmla="*/ 1193327 w 2224912"/>
                <a:gd name="connsiteY148" fmla="*/ 2065519 h 3839904"/>
                <a:gd name="connsiteX149" fmla="*/ 1372476 w 2224912"/>
                <a:gd name="connsiteY149" fmla="*/ 2058783 h 3839904"/>
                <a:gd name="connsiteX150" fmla="*/ 1580082 w 2224912"/>
                <a:gd name="connsiteY150" fmla="*/ 2908762 h 3839904"/>
                <a:gd name="connsiteX151" fmla="*/ 1711090 w 2224912"/>
                <a:gd name="connsiteY151" fmla="*/ 3375337 h 3839904"/>
                <a:gd name="connsiteX152" fmla="*/ 1808126 w 2224912"/>
                <a:gd name="connsiteY152" fmla="*/ 3705011 h 383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2224912" h="3839904">
                  <a:moveTo>
                    <a:pt x="1842376" y="3722803"/>
                  </a:moveTo>
                  <a:cubicBezTo>
                    <a:pt x="1874285" y="3719554"/>
                    <a:pt x="1676522" y="3744517"/>
                    <a:pt x="1821421" y="3725180"/>
                  </a:cubicBezTo>
                  <a:cubicBezTo>
                    <a:pt x="1824081" y="3726409"/>
                    <a:pt x="1826898" y="3727241"/>
                    <a:pt x="1829954" y="3727241"/>
                  </a:cubicBezTo>
                  <a:cubicBezTo>
                    <a:pt x="1831225" y="3727241"/>
                    <a:pt x="1832574" y="3727122"/>
                    <a:pt x="1833883" y="3726924"/>
                  </a:cubicBezTo>
                  <a:cubicBezTo>
                    <a:pt x="1837138" y="3726250"/>
                    <a:pt x="1839916" y="3724705"/>
                    <a:pt x="1842376" y="3722803"/>
                  </a:cubicBezTo>
                  <a:close/>
                  <a:moveTo>
                    <a:pt x="1773797" y="3439490"/>
                  </a:moveTo>
                  <a:cubicBezTo>
                    <a:pt x="1773836" y="3439450"/>
                    <a:pt x="1773836" y="3439410"/>
                    <a:pt x="1773876" y="3439370"/>
                  </a:cubicBezTo>
                  <a:lnTo>
                    <a:pt x="1773916" y="3439925"/>
                  </a:lnTo>
                  <a:cubicBezTo>
                    <a:pt x="1773876" y="3439767"/>
                    <a:pt x="1773836" y="3439648"/>
                    <a:pt x="1773797" y="3439490"/>
                  </a:cubicBezTo>
                  <a:close/>
                  <a:moveTo>
                    <a:pt x="1507652" y="2053671"/>
                  </a:moveTo>
                  <a:lnTo>
                    <a:pt x="1590043" y="2050541"/>
                  </a:lnTo>
                  <a:lnTo>
                    <a:pt x="1749309" y="3253929"/>
                  </a:lnTo>
                  <a:cubicBezTo>
                    <a:pt x="1685532" y="2850634"/>
                    <a:pt x="1605521" y="2450191"/>
                    <a:pt x="1507652" y="2053671"/>
                  </a:cubicBezTo>
                  <a:close/>
                  <a:moveTo>
                    <a:pt x="1620127" y="2899807"/>
                  </a:moveTo>
                  <a:cubicBezTo>
                    <a:pt x="1555554" y="2613284"/>
                    <a:pt x="1486340" y="2330130"/>
                    <a:pt x="1414466" y="2057198"/>
                  </a:cubicBezTo>
                  <a:lnTo>
                    <a:pt x="1465901" y="2055216"/>
                  </a:lnTo>
                  <a:cubicBezTo>
                    <a:pt x="1558849" y="2430696"/>
                    <a:pt x="1635723" y="2809583"/>
                    <a:pt x="1698073" y="3191125"/>
                  </a:cubicBezTo>
                  <a:cubicBezTo>
                    <a:pt x="1669299" y="3094164"/>
                    <a:pt x="1641915" y="2996451"/>
                    <a:pt x="1620127" y="2899807"/>
                  </a:cubicBezTo>
                  <a:close/>
                  <a:moveTo>
                    <a:pt x="1029616" y="2030887"/>
                  </a:moveTo>
                  <a:cubicBezTo>
                    <a:pt x="1029100" y="2030887"/>
                    <a:pt x="1028703" y="2030690"/>
                    <a:pt x="1028187" y="2030729"/>
                  </a:cubicBezTo>
                  <a:cubicBezTo>
                    <a:pt x="1027909" y="2030769"/>
                    <a:pt x="1027631" y="2030927"/>
                    <a:pt x="1027314" y="2030966"/>
                  </a:cubicBezTo>
                  <a:lnTo>
                    <a:pt x="133630" y="2064568"/>
                  </a:lnTo>
                  <a:cubicBezTo>
                    <a:pt x="125057" y="2064925"/>
                    <a:pt x="116485" y="2065836"/>
                    <a:pt x="107952" y="2066747"/>
                  </a:cubicBezTo>
                  <a:cubicBezTo>
                    <a:pt x="99141" y="2067698"/>
                    <a:pt x="90450" y="2068689"/>
                    <a:pt x="82076" y="2068689"/>
                  </a:cubicBezTo>
                  <a:cubicBezTo>
                    <a:pt x="64931" y="2068689"/>
                    <a:pt x="55445" y="2064410"/>
                    <a:pt x="47032" y="2052800"/>
                  </a:cubicBezTo>
                  <a:cubicBezTo>
                    <a:pt x="43856" y="2048401"/>
                    <a:pt x="41952" y="2039565"/>
                    <a:pt x="40920" y="2029342"/>
                  </a:cubicBezTo>
                  <a:cubicBezTo>
                    <a:pt x="753351" y="2010996"/>
                    <a:pt x="1465782" y="1992690"/>
                    <a:pt x="2178213" y="1974343"/>
                  </a:cubicBezTo>
                  <a:cubicBezTo>
                    <a:pt x="2178371" y="1978900"/>
                    <a:pt x="2178609" y="1983140"/>
                    <a:pt x="2178649" y="1988291"/>
                  </a:cubicBezTo>
                  <a:cubicBezTo>
                    <a:pt x="2105148" y="1992254"/>
                    <a:pt x="1819834" y="2001645"/>
                    <a:pt x="1718948" y="2004973"/>
                  </a:cubicBezTo>
                  <a:lnTo>
                    <a:pt x="1029616" y="2030887"/>
                  </a:lnTo>
                  <a:close/>
                  <a:moveTo>
                    <a:pt x="1126969" y="2505705"/>
                  </a:moveTo>
                  <a:cubicBezTo>
                    <a:pt x="1121532" y="2360006"/>
                    <a:pt x="1116135" y="2214348"/>
                    <a:pt x="1110697" y="2068649"/>
                  </a:cubicBezTo>
                  <a:lnTo>
                    <a:pt x="1152131" y="2067104"/>
                  </a:lnTo>
                  <a:lnTo>
                    <a:pt x="1126969" y="2505705"/>
                  </a:lnTo>
                  <a:close/>
                  <a:moveTo>
                    <a:pt x="1051801" y="2070908"/>
                  </a:moveTo>
                  <a:lnTo>
                    <a:pt x="1069740" y="2070195"/>
                  </a:lnTo>
                  <a:cubicBezTo>
                    <a:pt x="1075772" y="2232099"/>
                    <a:pt x="1081805" y="2394044"/>
                    <a:pt x="1087797" y="2555948"/>
                  </a:cubicBezTo>
                  <a:lnTo>
                    <a:pt x="1051801" y="2070908"/>
                  </a:lnTo>
                  <a:close/>
                  <a:moveTo>
                    <a:pt x="764185" y="2083310"/>
                  </a:moveTo>
                  <a:cubicBezTo>
                    <a:pt x="729181" y="2203887"/>
                    <a:pt x="698423" y="2327633"/>
                    <a:pt x="668657" y="2447299"/>
                  </a:cubicBezTo>
                  <a:cubicBezTo>
                    <a:pt x="653894" y="2506775"/>
                    <a:pt x="639090" y="2566250"/>
                    <a:pt x="623771" y="2625568"/>
                  </a:cubicBezTo>
                  <a:cubicBezTo>
                    <a:pt x="600832" y="2714247"/>
                    <a:pt x="569875" y="2801698"/>
                    <a:pt x="539991" y="2886256"/>
                  </a:cubicBezTo>
                  <a:cubicBezTo>
                    <a:pt x="515424" y="2955757"/>
                    <a:pt x="489945" y="3027635"/>
                    <a:pt x="468751" y="3100662"/>
                  </a:cubicBezTo>
                  <a:lnTo>
                    <a:pt x="464783" y="3114214"/>
                  </a:lnTo>
                  <a:cubicBezTo>
                    <a:pt x="539832" y="2770989"/>
                    <a:pt x="614841" y="2427764"/>
                    <a:pt x="689850" y="2084539"/>
                  </a:cubicBezTo>
                  <a:lnTo>
                    <a:pt x="765019" y="2081685"/>
                  </a:lnTo>
                  <a:cubicBezTo>
                    <a:pt x="764781" y="2082320"/>
                    <a:pt x="764344" y="2082716"/>
                    <a:pt x="764185" y="2083310"/>
                  </a:cubicBezTo>
                  <a:close/>
                  <a:moveTo>
                    <a:pt x="578527" y="2092305"/>
                  </a:moveTo>
                  <a:cubicBezTo>
                    <a:pt x="578726" y="2091037"/>
                    <a:pt x="578408" y="2089928"/>
                    <a:pt x="578368" y="2088778"/>
                  </a:cubicBezTo>
                  <a:lnTo>
                    <a:pt x="647583" y="2086123"/>
                  </a:lnTo>
                  <a:cubicBezTo>
                    <a:pt x="562851" y="2473688"/>
                    <a:pt x="478157" y="2861174"/>
                    <a:pt x="393464" y="3248699"/>
                  </a:cubicBezTo>
                  <a:lnTo>
                    <a:pt x="578527" y="2092305"/>
                  </a:lnTo>
                  <a:close/>
                  <a:moveTo>
                    <a:pt x="353856" y="3496271"/>
                  </a:moveTo>
                  <a:lnTo>
                    <a:pt x="354491" y="3492189"/>
                  </a:lnTo>
                  <a:cubicBezTo>
                    <a:pt x="354650" y="3492308"/>
                    <a:pt x="354809" y="3492348"/>
                    <a:pt x="354967" y="3492428"/>
                  </a:cubicBezTo>
                  <a:lnTo>
                    <a:pt x="353856" y="3496271"/>
                  </a:lnTo>
                  <a:close/>
                  <a:moveTo>
                    <a:pt x="49175" y="1968123"/>
                  </a:moveTo>
                  <a:cubicBezTo>
                    <a:pt x="52945" y="1964952"/>
                    <a:pt x="69892" y="1961307"/>
                    <a:pt x="92236" y="1956473"/>
                  </a:cubicBezTo>
                  <a:cubicBezTo>
                    <a:pt x="125970" y="1949222"/>
                    <a:pt x="164546" y="1945537"/>
                    <a:pt x="211298" y="1944744"/>
                  </a:cubicBezTo>
                  <a:cubicBezTo>
                    <a:pt x="214434" y="1951996"/>
                    <a:pt x="221657" y="1957107"/>
                    <a:pt x="230110" y="1957107"/>
                  </a:cubicBezTo>
                  <a:cubicBezTo>
                    <a:pt x="238524" y="1957107"/>
                    <a:pt x="245747" y="1951996"/>
                    <a:pt x="248882" y="1944744"/>
                  </a:cubicBezTo>
                  <a:cubicBezTo>
                    <a:pt x="269996" y="1945022"/>
                    <a:pt x="291189" y="1945418"/>
                    <a:pt x="312263" y="1946052"/>
                  </a:cubicBezTo>
                  <a:cubicBezTo>
                    <a:pt x="349292" y="1947241"/>
                    <a:pt x="386201" y="1948350"/>
                    <a:pt x="422039" y="1947439"/>
                  </a:cubicBezTo>
                  <a:cubicBezTo>
                    <a:pt x="653695" y="1941455"/>
                    <a:pt x="885470" y="1935988"/>
                    <a:pt x="1117166" y="1930599"/>
                  </a:cubicBezTo>
                  <a:lnTo>
                    <a:pt x="1840829" y="1913362"/>
                  </a:lnTo>
                  <a:cubicBezTo>
                    <a:pt x="1875714" y="1912530"/>
                    <a:pt x="1910718" y="1908329"/>
                    <a:pt x="1944572" y="1904248"/>
                  </a:cubicBezTo>
                  <a:cubicBezTo>
                    <a:pt x="1993348" y="1898384"/>
                    <a:pt x="2043354" y="1892242"/>
                    <a:pt x="2092170" y="1896878"/>
                  </a:cubicBezTo>
                  <a:cubicBezTo>
                    <a:pt x="2141581" y="1901396"/>
                    <a:pt x="2162893" y="1908964"/>
                    <a:pt x="2172061" y="1933531"/>
                  </a:cubicBezTo>
                  <a:cubicBezTo>
                    <a:pt x="1462011" y="1951837"/>
                    <a:pt x="751962" y="1970104"/>
                    <a:pt x="41912" y="1988371"/>
                  </a:cubicBezTo>
                  <a:cubicBezTo>
                    <a:pt x="43460" y="1978742"/>
                    <a:pt x="45841" y="1970936"/>
                    <a:pt x="49175" y="1968123"/>
                  </a:cubicBezTo>
                  <a:close/>
                  <a:moveTo>
                    <a:pt x="244557" y="317694"/>
                  </a:moveTo>
                  <a:cubicBezTo>
                    <a:pt x="508915" y="317021"/>
                    <a:pt x="772798" y="298080"/>
                    <a:pt x="1029695" y="278427"/>
                  </a:cubicBezTo>
                  <a:lnTo>
                    <a:pt x="1029854" y="278427"/>
                  </a:lnTo>
                  <a:cubicBezTo>
                    <a:pt x="1051483" y="276762"/>
                    <a:pt x="1073470" y="275138"/>
                    <a:pt x="1095021" y="273513"/>
                  </a:cubicBezTo>
                  <a:cubicBezTo>
                    <a:pt x="1253850" y="261229"/>
                    <a:pt x="1418157" y="248589"/>
                    <a:pt x="1581312" y="239991"/>
                  </a:cubicBezTo>
                  <a:cubicBezTo>
                    <a:pt x="1703510" y="233532"/>
                    <a:pt x="1841543" y="226281"/>
                    <a:pt x="1961042" y="275098"/>
                  </a:cubicBezTo>
                  <a:cubicBezTo>
                    <a:pt x="1962987" y="519421"/>
                    <a:pt x="1967194" y="707041"/>
                    <a:pt x="1974536" y="881943"/>
                  </a:cubicBezTo>
                  <a:cubicBezTo>
                    <a:pt x="1976679" y="931434"/>
                    <a:pt x="1980013" y="981796"/>
                    <a:pt x="1983387" y="1032515"/>
                  </a:cubicBezTo>
                  <a:cubicBezTo>
                    <a:pt x="1993149" y="1178689"/>
                    <a:pt x="2003230" y="1329855"/>
                    <a:pt x="1982632" y="1471433"/>
                  </a:cubicBezTo>
                  <a:cubicBezTo>
                    <a:pt x="1963900" y="1600846"/>
                    <a:pt x="1963304" y="1726454"/>
                    <a:pt x="1963265" y="1860900"/>
                  </a:cubicBezTo>
                  <a:cubicBezTo>
                    <a:pt x="1955407" y="1861771"/>
                    <a:pt x="1947509" y="1862643"/>
                    <a:pt x="1939690" y="1863594"/>
                  </a:cubicBezTo>
                  <a:cubicBezTo>
                    <a:pt x="1906829" y="1867556"/>
                    <a:pt x="1872817" y="1871598"/>
                    <a:pt x="1839876" y="1872390"/>
                  </a:cubicBezTo>
                  <a:lnTo>
                    <a:pt x="1116174" y="1889667"/>
                  </a:lnTo>
                  <a:cubicBezTo>
                    <a:pt x="884478" y="1895095"/>
                    <a:pt x="652703" y="1900484"/>
                    <a:pt x="420968" y="1906467"/>
                  </a:cubicBezTo>
                  <a:cubicBezTo>
                    <a:pt x="385725" y="1907418"/>
                    <a:pt x="349768" y="1906230"/>
                    <a:pt x="313534" y="1905160"/>
                  </a:cubicBezTo>
                  <a:cubicBezTo>
                    <a:pt x="292618" y="1904486"/>
                    <a:pt x="271584" y="1904130"/>
                    <a:pt x="250589" y="1903852"/>
                  </a:cubicBezTo>
                  <a:lnTo>
                    <a:pt x="250391" y="1308181"/>
                  </a:lnTo>
                  <a:cubicBezTo>
                    <a:pt x="250391" y="1284961"/>
                    <a:pt x="249081" y="1222632"/>
                    <a:pt x="247374" y="1139540"/>
                  </a:cubicBezTo>
                  <a:cubicBezTo>
                    <a:pt x="242651" y="915228"/>
                    <a:pt x="231976" y="404709"/>
                    <a:pt x="244557" y="317694"/>
                  </a:cubicBezTo>
                  <a:close/>
                  <a:moveTo>
                    <a:pt x="1059342" y="61444"/>
                  </a:moveTo>
                  <a:cubicBezTo>
                    <a:pt x="1061604" y="57997"/>
                    <a:pt x="1064580" y="55699"/>
                    <a:pt x="1067517" y="53321"/>
                  </a:cubicBezTo>
                  <a:cubicBezTo>
                    <a:pt x="1066525" y="113787"/>
                    <a:pt x="1065533" y="174254"/>
                    <a:pt x="1064541" y="234721"/>
                  </a:cubicBezTo>
                  <a:cubicBezTo>
                    <a:pt x="1059580" y="235077"/>
                    <a:pt x="1054658" y="235434"/>
                    <a:pt x="1049737" y="235830"/>
                  </a:cubicBezTo>
                  <a:cubicBezTo>
                    <a:pt x="1049578" y="230481"/>
                    <a:pt x="1049420" y="225092"/>
                    <a:pt x="1049181" y="219069"/>
                  </a:cubicBezTo>
                  <a:cubicBezTo>
                    <a:pt x="1047396" y="172075"/>
                    <a:pt x="1044141" y="84584"/>
                    <a:pt x="1059342" y="61444"/>
                  </a:cubicBezTo>
                  <a:close/>
                  <a:moveTo>
                    <a:pt x="1108752" y="41355"/>
                  </a:moveTo>
                  <a:cubicBezTo>
                    <a:pt x="1129985" y="42504"/>
                    <a:pt x="1149472" y="51538"/>
                    <a:pt x="1157886" y="64891"/>
                  </a:cubicBezTo>
                  <a:cubicBezTo>
                    <a:pt x="1170665" y="85060"/>
                    <a:pt x="1164117" y="127854"/>
                    <a:pt x="1158838" y="162208"/>
                  </a:cubicBezTo>
                  <a:cubicBezTo>
                    <a:pt x="1155901" y="181426"/>
                    <a:pt x="1153084" y="199613"/>
                    <a:pt x="1153084" y="214988"/>
                  </a:cubicBezTo>
                  <a:cubicBezTo>
                    <a:pt x="1153084" y="219862"/>
                    <a:pt x="1155028" y="224181"/>
                    <a:pt x="1157886" y="227707"/>
                  </a:cubicBezTo>
                  <a:cubicBezTo>
                    <a:pt x="1140542" y="229015"/>
                    <a:pt x="1123000" y="230323"/>
                    <a:pt x="1105617" y="231630"/>
                  </a:cubicBezTo>
                  <a:cubicBezTo>
                    <a:pt x="1106649" y="168191"/>
                    <a:pt x="1107721" y="104793"/>
                    <a:pt x="1108752" y="41355"/>
                  </a:cubicBezTo>
                  <a:close/>
                  <a:moveTo>
                    <a:pt x="1808126" y="3705011"/>
                  </a:moveTo>
                  <a:cubicBezTo>
                    <a:pt x="1666918" y="3726012"/>
                    <a:pt x="1880437" y="3697799"/>
                    <a:pt x="1849798" y="3700533"/>
                  </a:cubicBezTo>
                  <a:lnTo>
                    <a:pt x="1631239" y="2048996"/>
                  </a:lnTo>
                  <a:lnTo>
                    <a:pt x="1662830" y="2047807"/>
                  </a:lnTo>
                  <a:lnTo>
                    <a:pt x="1720297" y="2045905"/>
                  </a:lnTo>
                  <a:cubicBezTo>
                    <a:pt x="1826859" y="2042418"/>
                    <a:pt x="1933499" y="2039209"/>
                    <a:pt x="2040060" y="2034850"/>
                  </a:cubicBezTo>
                  <a:cubicBezTo>
                    <a:pt x="2103917" y="2032234"/>
                    <a:pt x="2208296" y="2047450"/>
                    <a:pt x="2217424" y="1969034"/>
                  </a:cubicBezTo>
                  <a:cubicBezTo>
                    <a:pt x="2227822" y="1960594"/>
                    <a:pt x="2227425" y="1942605"/>
                    <a:pt x="2216074" y="1935670"/>
                  </a:cubicBezTo>
                  <a:cubicBezTo>
                    <a:pt x="2204763" y="1881227"/>
                    <a:pt x="2151027" y="1861137"/>
                    <a:pt x="2095940" y="1856065"/>
                  </a:cubicBezTo>
                  <a:cubicBezTo>
                    <a:pt x="2065381" y="1853252"/>
                    <a:pt x="2034703" y="1854401"/>
                    <a:pt x="2004302" y="1856898"/>
                  </a:cubicBezTo>
                  <a:cubicBezTo>
                    <a:pt x="2004342" y="1726851"/>
                    <a:pt x="2004976" y="1603302"/>
                    <a:pt x="2023272" y="1477337"/>
                  </a:cubicBezTo>
                  <a:cubicBezTo>
                    <a:pt x="2044465" y="1331441"/>
                    <a:pt x="2034226" y="1178094"/>
                    <a:pt x="2024344" y="1029781"/>
                  </a:cubicBezTo>
                  <a:cubicBezTo>
                    <a:pt x="2020970" y="979419"/>
                    <a:pt x="2017597" y="929413"/>
                    <a:pt x="2015573" y="880200"/>
                  </a:cubicBezTo>
                  <a:cubicBezTo>
                    <a:pt x="2008032" y="702643"/>
                    <a:pt x="2003826" y="511773"/>
                    <a:pt x="2001960" y="261388"/>
                  </a:cubicBezTo>
                  <a:cubicBezTo>
                    <a:pt x="2001881" y="253384"/>
                    <a:pt x="1997118" y="246133"/>
                    <a:pt x="1989816" y="242844"/>
                  </a:cubicBezTo>
                  <a:cubicBezTo>
                    <a:pt x="1858569" y="184398"/>
                    <a:pt x="1710217" y="192244"/>
                    <a:pt x="1579169" y="199059"/>
                  </a:cubicBezTo>
                  <a:cubicBezTo>
                    <a:pt x="1449034" y="205953"/>
                    <a:pt x="1319017" y="215464"/>
                    <a:pt x="1190985" y="225211"/>
                  </a:cubicBezTo>
                  <a:cubicBezTo>
                    <a:pt x="1192771" y="222160"/>
                    <a:pt x="1194120" y="218792"/>
                    <a:pt x="1194120" y="214988"/>
                  </a:cubicBezTo>
                  <a:cubicBezTo>
                    <a:pt x="1194120" y="202704"/>
                    <a:pt x="1196660" y="186062"/>
                    <a:pt x="1199399" y="168390"/>
                  </a:cubicBezTo>
                  <a:cubicBezTo>
                    <a:pt x="1206027" y="125160"/>
                    <a:pt x="1213567" y="76144"/>
                    <a:pt x="1192572" y="43019"/>
                  </a:cubicBezTo>
                  <a:cubicBezTo>
                    <a:pt x="1176261" y="17223"/>
                    <a:pt x="1142130" y="344"/>
                    <a:pt x="1104427" y="-13"/>
                  </a:cubicBezTo>
                  <a:cubicBezTo>
                    <a:pt x="1070256" y="-13"/>
                    <a:pt x="1041323" y="14172"/>
                    <a:pt x="1025052" y="38977"/>
                  </a:cubicBezTo>
                  <a:cubicBezTo>
                    <a:pt x="1004335" y="70479"/>
                    <a:pt x="1005168" y="139860"/>
                    <a:pt x="1008184" y="220575"/>
                  </a:cubicBezTo>
                  <a:cubicBezTo>
                    <a:pt x="1008422" y="227153"/>
                    <a:pt x="1008661" y="233215"/>
                    <a:pt x="1008819" y="238921"/>
                  </a:cubicBezTo>
                  <a:cubicBezTo>
                    <a:pt x="753589" y="258376"/>
                    <a:pt x="491691" y="276723"/>
                    <a:pt x="229793" y="276723"/>
                  </a:cubicBezTo>
                  <a:cubicBezTo>
                    <a:pt x="224356" y="276802"/>
                    <a:pt x="218005" y="279655"/>
                    <a:pt x="214195" y="283577"/>
                  </a:cubicBezTo>
                  <a:cubicBezTo>
                    <a:pt x="198956" y="299388"/>
                    <a:pt x="190145" y="367541"/>
                    <a:pt x="206337" y="1140372"/>
                  </a:cubicBezTo>
                  <a:cubicBezTo>
                    <a:pt x="208044" y="1223068"/>
                    <a:pt x="209393" y="1285120"/>
                    <a:pt x="209393" y="1308181"/>
                  </a:cubicBezTo>
                  <a:lnTo>
                    <a:pt x="209552" y="1903812"/>
                  </a:lnTo>
                  <a:cubicBezTo>
                    <a:pt x="153275" y="1904843"/>
                    <a:pt x="55803" y="1885982"/>
                    <a:pt x="22306" y="1932303"/>
                  </a:cubicBezTo>
                  <a:cubicBezTo>
                    <a:pt x="-633" y="1964041"/>
                    <a:pt x="-9801" y="2044598"/>
                    <a:pt x="13893" y="2076931"/>
                  </a:cubicBezTo>
                  <a:cubicBezTo>
                    <a:pt x="47032" y="2122142"/>
                    <a:pt x="534910" y="2105143"/>
                    <a:pt x="537292" y="2090324"/>
                  </a:cubicBezTo>
                  <a:cubicBezTo>
                    <a:pt x="537252" y="2090522"/>
                    <a:pt x="261106" y="3816197"/>
                    <a:pt x="261106" y="3816197"/>
                  </a:cubicBezTo>
                  <a:cubicBezTo>
                    <a:pt x="259399" y="3826895"/>
                    <a:pt x="266305" y="3837039"/>
                    <a:pt x="276902" y="3839377"/>
                  </a:cubicBezTo>
                  <a:cubicBezTo>
                    <a:pt x="278410" y="3839733"/>
                    <a:pt x="279879" y="3839892"/>
                    <a:pt x="281386" y="3839892"/>
                  </a:cubicBezTo>
                  <a:cubicBezTo>
                    <a:pt x="290356" y="3839892"/>
                    <a:pt x="298492" y="3834067"/>
                    <a:pt x="301072" y="3825113"/>
                  </a:cubicBezTo>
                  <a:lnTo>
                    <a:pt x="508161" y="3112035"/>
                  </a:lnTo>
                  <a:cubicBezTo>
                    <a:pt x="529037" y="3040196"/>
                    <a:pt x="554278" y="2968872"/>
                    <a:pt x="578646" y="2899886"/>
                  </a:cubicBezTo>
                  <a:cubicBezTo>
                    <a:pt x="608888" y="2814496"/>
                    <a:pt x="640122" y="2726214"/>
                    <a:pt x="663498" y="2635791"/>
                  </a:cubicBezTo>
                  <a:cubicBezTo>
                    <a:pt x="678857" y="2576355"/>
                    <a:pt x="693661" y="2516799"/>
                    <a:pt x="708504" y="2457165"/>
                  </a:cubicBezTo>
                  <a:cubicBezTo>
                    <a:pt x="738150" y="2337896"/>
                    <a:pt x="768789" y="2214546"/>
                    <a:pt x="803595" y="2094722"/>
                  </a:cubicBezTo>
                  <a:cubicBezTo>
                    <a:pt x="805024" y="2089729"/>
                    <a:pt x="804309" y="2084658"/>
                    <a:pt x="802246" y="2080299"/>
                  </a:cubicBezTo>
                  <a:lnTo>
                    <a:pt x="1010724" y="2072454"/>
                  </a:lnTo>
                  <a:lnTo>
                    <a:pt x="1090377" y="3145161"/>
                  </a:lnTo>
                  <a:cubicBezTo>
                    <a:pt x="1091171" y="3155859"/>
                    <a:pt x="1100101" y="3164101"/>
                    <a:pt x="1111015" y="3164101"/>
                  </a:cubicBezTo>
                  <a:cubicBezTo>
                    <a:pt x="1121810" y="3164061"/>
                    <a:pt x="1130700" y="3155622"/>
                    <a:pt x="1131335" y="3144844"/>
                  </a:cubicBezTo>
                  <a:lnTo>
                    <a:pt x="1193327" y="2065519"/>
                  </a:lnTo>
                  <a:lnTo>
                    <a:pt x="1372476" y="2058783"/>
                  </a:lnTo>
                  <a:cubicBezTo>
                    <a:pt x="1445065" y="2333894"/>
                    <a:pt x="1514954" y="2619664"/>
                    <a:pt x="1580082" y="2908762"/>
                  </a:cubicBezTo>
                  <a:cubicBezTo>
                    <a:pt x="1615205" y="3064525"/>
                    <a:pt x="1663941" y="3222507"/>
                    <a:pt x="1711090" y="3375337"/>
                  </a:cubicBezTo>
                  <a:cubicBezTo>
                    <a:pt x="1744507" y="3483432"/>
                    <a:pt x="1778837" y="3595173"/>
                    <a:pt x="1808126" y="3705011"/>
                  </a:cubicBezTo>
                  <a:close/>
                </a:path>
              </a:pathLst>
            </a:custGeom>
            <a:grpFill/>
            <a:ln w="39688" cap="flat">
              <a:noFill/>
              <a:prstDash val="solid"/>
              <a:round/>
            </a:ln>
          </p:spPr>
          <p:txBody>
            <a:bodyPr rtlCol="0" anchor="ctr"/>
            <a:lstStyle/>
            <a:p>
              <a:endParaRPr lang="en-LT"/>
            </a:p>
          </p:txBody>
        </p:sp>
      </p:grpSp>
    </p:spTree>
    <p:extLst>
      <p:ext uri="{BB962C8B-B14F-4D97-AF65-F5344CB8AC3E}">
        <p14:creationId xmlns:p14="http://schemas.microsoft.com/office/powerpoint/2010/main" val="3858516915"/>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0456F"/>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CC7C2DB-A7A4-4698-A5CD-32B659FC8A8A}"/>
              </a:ext>
            </a:extLst>
          </p:cNvPr>
          <p:cNvGrpSpPr/>
          <p:nvPr/>
        </p:nvGrpSpPr>
        <p:grpSpPr>
          <a:xfrm>
            <a:off x="3158490" y="491490"/>
            <a:ext cx="5875020" cy="5875020"/>
            <a:chOff x="3329940" y="586740"/>
            <a:chExt cx="5875020" cy="5875020"/>
          </a:xfrm>
        </p:grpSpPr>
        <p:sp>
          <p:nvSpPr>
            <p:cNvPr id="4" name="Oval 3">
              <a:extLst>
                <a:ext uri="{FF2B5EF4-FFF2-40B4-BE49-F238E27FC236}">
                  <a16:creationId xmlns:a16="http://schemas.microsoft.com/office/drawing/2014/main" id="{92503E22-6F27-4A2F-AAFD-8AB0EA48E38B}"/>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7DBA7094-CB32-43CC-8294-D0D458181C2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sp>
        <p:nvSpPr>
          <p:cNvPr id="11" name="TextBox 10">
            <a:extLst>
              <a:ext uri="{FF2B5EF4-FFF2-40B4-BE49-F238E27FC236}">
                <a16:creationId xmlns:a16="http://schemas.microsoft.com/office/drawing/2014/main" id="{FD678769-02EE-4ADB-AD86-A09BE7D81912}"/>
              </a:ext>
            </a:extLst>
          </p:cNvPr>
          <p:cNvSpPr txBox="1"/>
          <p:nvPr/>
        </p:nvSpPr>
        <p:spPr>
          <a:xfrm>
            <a:off x="6606540" y="1935480"/>
            <a:ext cx="1537600" cy="3939540"/>
          </a:xfrm>
          <a:prstGeom prst="rect">
            <a:avLst/>
          </a:prstGeom>
          <a:noFill/>
        </p:spPr>
        <p:txBody>
          <a:bodyPr wrap="none" rtlCol="0">
            <a:spAutoFit/>
          </a:bodyPr>
          <a:lstStyle/>
          <a:p>
            <a:r>
              <a:rPr lang="en-US" sz="25000" dirty="0">
                <a:ln w="25400">
                  <a:solidFill>
                    <a:schemeClr val="bg1"/>
                  </a:solidFill>
                </a:ln>
                <a:noFill/>
                <a:latin typeface="Gotham Black" pitchFamily="50" charset="0"/>
              </a:rPr>
              <a:t>1</a:t>
            </a:r>
          </a:p>
        </p:txBody>
      </p:sp>
      <p:sp>
        <p:nvSpPr>
          <p:cNvPr id="12" name="TextBox 11">
            <a:extLst>
              <a:ext uri="{FF2B5EF4-FFF2-40B4-BE49-F238E27FC236}">
                <a16:creationId xmlns:a16="http://schemas.microsoft.com/office/drawing/2014/main" id="{C641ADE9-1FF3-4B4E-9AE3-10C4EFC5C2C3}"/>
              </a:ext>
            </a:extLst>
          </p:cNvPr>
          <p:cNvSpPr txBox="1"/>
          <p:nvPr/>
        </p:nvSpPr>
        <p:spPr>
          <a:xfrm>
            <a:off x="3466254" y="-2415541"/>
            <a:ext cx="7596951" cy="1569660"/>
          </a:xfrm>
          <a:prstGeom prst="rect">
            <a:avLst/>
          </a:prstGeom>
          <a:noFill/>
        </p:spPr>
        <p:txBody>
          <a:bodyPr wrap="none" rtlCol="0">
            <a:spAutoFit/>
          </a:bodyPr>
          <a:lstStyle/>
          <a:p>
            <a:r>
              <a:rPr lang="en-US" sz="9600" dirty="0">
                <a:solidFill>
                  <a:schemeClr val="bg1"/>
                </a:solidFill>
                <a:effectLst>
                  <a:outerShdw blurRad="38100" dist="38100" dir="2700000" algn="tl">
                    <a:srgbClr val="000000">
                      <a:alpha val="43137"/>
                    </a:srgbClr>
                  </a:outerShdw>
                </a:effectLst>
                <a:latin typeface="Chewy" panose="02000000000000000000" pitchFamily="2" charset="0"/>
              </a:rPr>
              <a:t>INTRODUCRION</a:t>
            </a:r>
          </a:p>
        </p:txBody>
      </p:sp>
      <p:sp>
        <p:nvSpPr>
          <p:cNvPr id="13" name="TextBox 12">
            <a:extLst>
              <a:ext uri="{FF2B5EF4-FFF2-40B4-BE49-F238E27FC236}">
                <a16:creationId xmlns:a16="http://schemas.microsoft.com/office/drawing/2014/main" id="{343CDFD8-216D-46CB-9E94-DECEE2205632}"/>
              </a:ext>
            </a:extLst>
          </p:cNvPr>
          <p:cNvSpPr txBox="1"/>
          <p:nvPr/>
        </p:nvSpPr>
        <p:spPr>
          <a:xfrm>
            <a:off x="12997405" y="1873568"/>
            <a:ext cx="7772400" cy="1292662"/>
          </a:xfrm>
          <a:prstGeom prst="rect">
            <a:avLst/>
          </a:prstGeom>
          <a:solidFill>
            <a:schemeClr val="accent1">
              <a:lumMod val="75000"/>
              <a:alpha val="50000"/>
            </a:schemeClr>
          </a:solidFill>
        </p:spPr>
        <p:txBody>
          <a:bodyPr wrap="square" lIns="182880" tIns="182880" rIns="182880" bIns="182880" rtlCol="0">
            <a:spAutoFit/>
          </a:bodyPr>
          <a:lstStyle/>
          <a:p>
            <a:pPr fontAlgn="base">
              <a:spcBef>
                <a:spcPts val="600"/>
              </a:spcBef>
              <a:spcAft>
                <a:spcPts val="600"/>
              </a:spcAft>
            </a:pPr>
            <a:r>
              <a:rPr lang="fr-FR" sz="1200" dirty="0">
                <a:solidFill>
                  <a:schemeClr val="bg1"/>
                </a:solidFill>
                <a:effectLst>
                  <a:outerShdw blurRad="38100" dist="38100" dir="2700000" algn="tl">
                    <a:srgbClr val="000000">
                      <a:alpha val="43137"/>
                    </a:srgbClr>
                  </a:outerShdw>
                </a:effectLst>
                <a:latin typeface="Open Sans" panose="020B0606030504020204" pitchFamily="34" charset="0"/>
              </a:rPr>
              <a:t>Un oscilloscope, ou oscillographe1, est un instrument de mesure destiné à visualiser un signal électrique, le plus souvent variable au cours du temps. Il permet d'observer les variations temporelles, soit de tensions électriques, soit de diverses autres grandeurs physiques préalablement transformées en tension au moyen de convertisseurs adaptés ou de capteurs. La courbe de rendu d'un oscilloscope est appelée oscillogramme.</a:t>
            </a:r>
            <a:endParaRPr lang="en-US" sz="1200" b="0" i="0" dirty="0">
              <a:solidFill>
                <a:schemeClr val="bg1"/>
              </a:solidFill>
              <a:effectLst>
                <a:outerShdw blurRad="38100" dist="38100" dir="2700000" algn="tl">
                  <a:srgbClr val="000000">
                    <a:alpha val="43137"/>
                  </a:srgbClr>
                </a:outerShdw>
              </a:effectLst>
              <a:latin typeface="Open Sans" panose="020B0606030504020204" pitchFamily="34" charset="0"/>
            </a:endParaRPr>
          </a:p>
        </p:txBody>
      </p:sp>
      <p:sp>
        <p:nvSpPr>
          <p:cNvPr id="14" name="TextBox 13">
            <a:extLst>
              <a:ext uri="{FF2B5EF4-FFF2-40B4-BE49-F238E27FC236}">
                <a16:creationId xmlns:a16="http://schemas.microsoft.com/office/drawing/2014/main" id="{15B78540-8F23-4C57-802A-5F0E9082C5B0}"/>
              </a:ext>
            </a:extLst>
          </p:cNvPr>
          <p:cNvSpPr txBox="1"/>
          <p:nvPr/>
        </p:nvSpPr>
        <p:spPr>
          <a:xfrm>
            <a:off x="-2980787" y="3747136"/>
            <a:ext cx="1342547" cy="323165"/>
          </a:xfrm>
          <a:prstGeom prst="rect">
            <a:avLst/>
          </a:prstGeom>
          <a:solidFill>
            <a:schemeClr val="accent1">
              <a:lumMod val="75000"/>
            </a:schemeClr>
          </a:solidFill>
        </p:spPr>
        <p:txBody>
          <a:bodyPr wrap="none" rtlCol="0">
            <a:spAutoFit/>
          </a:bodyPr>
          <a:lstStyle/>
          <a:p>
            <a:pPr algn="ctr"/>
            <a:r>
              <a:rPr lang="en-US" sz="1500" dirty="0">
                <a:solidFill>
                  <a:schemeClr val="bg1"/>
                </a:solidFill>
                <a:effectLst>
                  <a:outerShdw blurRad="38100" dist="38100" dir="2700000" algn="tl">
                    <a:srgbClr val="000000">
                      <a:alpha val="43137"/>
                    </a:srgbClr>
                  </a:outerShdw>
                </a:effectLst>
                <a:latin typeface="Gotham Black" pitchFamily="50" charset="0"/>
              </a:rPr>
              <a:t>OSCILLOSCOPE</a:t>
            </a:r>
          </a:p>
        </p:txBody>
      </p:sp>
    </p:spTree>
    <p:extLst>
      <p:ext uri="{BB962C8B-B14F-4D97-AF65-F5344CB8AC3E}">
        <p14:creationId xmlns:p14="http://schemas.microsoft.com/office/powerpoint/2010/main" val="212316759"/>
      </p:ext>
    </p:extLst>
  </p:cSld>
  <p:clrMapOvr>
    <a:masterClrMapping/>
  </p:clrMapOvr>
  <mc:AlternateContent xmlns:mc="http://schemas.openxmlformats.org/markup-compatibility/2006" xmlns:p14="http://schemas.microsoft.com/office/powerpoint/2010/main">
    <mc:Choice Requires="p14">
      <p:transition spd="slow" p14:dur="2000" advClick="0" advTm="0"/>
    </mc:Choice>
    <mc:Fallback xmlns="">
      <p:transition spd="slow" advClick="0" advTm="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F03B71D4-3B7F-3B5A-92E0-463952EF10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DCAF9AD1-D02F-B514-3D42-5DBD72FA61D2}"/>
              </a:ext>
            </a:extLst>
          </p:cNvPr>
          <p:cNvSpPr/>
          <p:nvPr/>
        </p:nvSpPr>
        <p:spPr>
          <a:xfrm>
            <a:off x="0" y="0"/>
            <a:ext cx="12192000" cy="6858000"/>
          </a:xfrm>
          <a:prstGeom prst="rect">
            <a:avLst/>
          </a:prstGeom>
          <a:solidFill>
            <a:srgbClr val="F045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6A2BB7ED-D09E-2C35-E604-08D8EBAC4DAF}"/>
              </a:ext>
            </a:extLst>
          </p:cNvPr>
          <p:cNvGrpSpPr/>
          <p:nvPr/>
        </p:nvGrpSpPr>
        <p:grpSpPr>
          <a:xfrm>
            <a:off x="-1676400" y="-4343400"/>
            <a:ext cx="15544800" cy="15544800"/>
            <a:chOff x="3329940" y="586740"/>
            <a:chExt cx="5875020" cy="5875020"/>
          </a:xfrm>
        </p:grpSpPr>
        <p:sp>
          <p:nvSpPr>
            <p:cNvPr id="13" name="Oval 12">
              <a:extLst>
                <a:ext uri="{FF2B5EF4-FFF2-40B4-BE49-F238E27FC236}">
                  <a16:creationId xmlns:a16="http://schemas.microsoft.com/office/drawing/2014/main" id="{BCFF3083-7164-F7ED-F84D-A3FEB4E70B2B}"/>
                </a:ext>
              </a:extLst>
            </p:cNvPr>
            <p:cNvSpPr/>
            <p:nvPr/>
          </p:nvSpPr>
          <p:spPr>
            <a:xfrm>
              <a:off x="3329940" y="586740"/>
              <a:ext cx="5875020" cy="587502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a:extLst>
                <a:ext uri="{FF2B5EF4-FFF2-40B4-BE49-F238E27FC236}">
                  <a16:creationId xmlns:a16="http://schemas.microsoft.com/office/drawing/2014/main" id="{CDCEF62F-E1FD-2C96-9511-7E6BE8F4B4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 xmlns:asvg="http://schemas.microsoft.com/office/drawing/2016/SVG/main" r:embed="rId6"/>
                </a:ext>
              </a:extLst>
            </a:blip>
            <a:srcRect l="9225" t="7629"/>
            <a:stretch>
              <a:fillRect/>
            </a:stretch>
          </p:blipFill>
          <p:spPr>
            <a:xfrm>
              <a:off x="3329940" y="586741"/>
              <a:ext cx="4442459" cy="4500563"/>
            </a:xfrm>
            <a:custGeom>
              <a:avLst/>
              <a:gdLst>
                <a:gd name="connsiteX0" fmla="*/ 2937510 w 4442459"/>
                <a:gd name="connsiteY0" fmla="*/ 0 h 4500563"/>
                <a:gd name="connsiteX1" fmla="*/ 4337702 w 4442459"/>
                <a:gd name="connsiteY1" fmla="*/ 354542 h 4500563"/>
                <a:gd name="connsiteX2" fmla="*/ 4442459 w 4442459"/>
                <a:gd name="connsiteY2" fmla="*/ 418183 h 4500563"/>
                <a:gd name="connsiteX3" fmla="*/ 4442459 w 4442459"/>
                <a:gd name="connsiteY3" fmla="*/ 4500563 h 4500563"/>
                <a:gd name="connsiteX4" fmla="*/ 453483 w 4442459"/>
                <a:gd name="connsiteY4" fmla="*/ 4500563 h 4500563"/>
                <a:gd name="connsiteX5" fmla="*/ 354542 w 4442459"/>
                <a:gd name="connsiteY5" fmla="*/ 4337702 h 4500563"/>
                <a:gd name="connsiteX6" fmla="*/ 0 w 4442459"/>
                <a:gd name="connsiteY6" fmla="*/ 2937510 h 4500563"/>
                <a:gd name="connsiteX7" fmla="*/ 2937510 w 4442459"/>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2459" h="4500563">
                  <a:moveTo>
                    <a:pt x="2937510" y="0"/>
                  </a:moveTo>
                  <a:cubicBezTo>
                    <a:pt x="3444492" y="0"/>
                    <a:pt x="3921477" y="128435"/>
                    <a:pt x="4337702" y="354542"/>
                  </a:cubicBezTo>
                  <a:lnTo>
                    <a:pt x="4442459" y="418183"/>
                  </a:lnTo>
                  <a:lnTo>
                    <a:pt x="4442459" y="4500563"/>
                  </a:lnTo>
                  <a:lnTo>
                    <a:pt x="453483" y="4500563"/>
                  </a:lnTo>
                  <a:lnTo>
                    <a:pt x="354542" y="4337702"/>
                  </a:lnTo>
                  <a:cubicBezTo>
                    <a:pt x="128435" y="3921477"/>
                    <a:pt x="0" y="3444492"/>
                    <a:pt x="0" y="2937510"/>
                  </a:cubicBezTo>
                  <a:cubicBezTo>
                    <a:pt x="0" y="1315168"/>
                    <a:pt x="1315168" y="0"/>
                    <a:pt x="2937510" y="0"/>
                  </a:cubicBezTo>
                  <a:close/>
                </a:path>
              </a:pathLst>
            </a:custGeom>
          </p:spPr>
        </p:pic>
      </p:grpSp>
      <p:graphicFrame>
        <p:nvGraphicFramePr>
          <p:cNvPr id="9" name="Object 8" hidden="1">
            <a:extLst>
              <a:ext uri="{FF2B5EF4-FFF2-40B4-BE49-F238E27FC236}">
                <a16:creationId xmlns:a16="http://schemas.microsoft.com/office/drawing/2014/main" id="{9008E58E-1238-42B3-847B-72B6CFC2DEF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6" name="think-cell Slide" r:id="rId7" imgW="425" imgH="424" progId="TCLayout.ActiveDocument.1">
                  <p:embed/>
                </p:oleObj>
              </mc:Choice>
              <mc:Fallback>
                <p:oleObj name="think-cell Slide" r:id="rId7" imgW="425" imgH="424" progId="TCLayout.ActiveDocument.1">
                  <p:embed/>
                  <p:pic>
                    <p:nvPicPr>
                      <p:cNvPr id="9" name="Object 8" hidden="1">
                        <a:extLst>
                          <a:ext uri="{FF2B5EF4-FFF2-40B4-BE49-F238E27FC236}">
                            <a16:creationId xmlns:a16="http://schemas.microsoft.com/office/drawing/2014/main" id="{9008E58E-1238-42B3-847B-72B6CFC2DEF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F5332C51-04E1-4BEE-BFB9-E48ECCACFEF4}"/>
              </a:ext>
            </a:extLst>
          </p:cNvPr>
          <p:cNvSpPr txBox="1"/>
          <p:nvPr/>
        </p:nvSpPr>
        <p:spPr>
          <a:xfrm>
            <a:off x="2614074" y="396240"/>
            <a:ext cx="671979" cy="1477328"/>
          </a:xfrm>
          <a:prstGeom prst="rect">
            <a:avLst/>
          </a:prstGeom>
          <a:noFill/>
        </p:spPr>
        <p:txBody>
          <a:bodyPr wrap="none" rtlCol="0">
            <a:spAutoFit/>
          </a:bodyPr>
          <a:lstStyle/>
          <a:p>
            <a:r>
              <a:rPr lang="en-US" sz="9000" dirty="0">
                <a:ln w="25400">
                  <a:solidFill>
                    <a:schemeClr val="bg1"/>
                  </a:solidFill>
                </a:ln>
                <a:noFill/>
                <a:latin typeface="Gotham Black" pitchFamily="50" charset="0"/>
              </a:rPr>
              <a:t>1</a:t>
            </a:r>
          </a:p>
        </p:txBody>
      </p:sp>
      <p:sp>
        <p:nvSpPr>
          <p:cNvPr id="10" name="TextBox 9">
            <a:extLst>
              <a:ext uri="{FF2B5EF4-FFF2-40B4-BE49-F238E27FC236}">
                <a16:creationId xmlns:a16="http://schemas.microsoft.com/office/drawing/2014/main" id="{2301A4A2-C7DF-4BA5-8607-F06B1E89B651}"/>
              </a:ext>
            </a:extLst>
          </p:cNvPr>
          <p:cNvSpPr txBox="1"/>
          <p:nvPr/>
        </p:nvSpPr>
        <p:spPr>
          <a:xfrm>
            <a:off x="3466254" y="482408"/>
            <a:ext cx="6357831" cy="1323439"/>
          </a:xfrm>
          <a:prstGeom prst="rect">
            <a:avLst/>
          </a:prstGeom>
          <a:noFill/>
        </p:spPr>
        <p:txBody>
          <a:bodyPr wrap="none" rtlCol="0">
            <a:spAutoFit/>
          </a:bodyPr>
          <a:lstStyle/>
          <a:p>
            <a:r>
              <a:rPr lang="en-US" sz="8000" dirty="0">
                <a:solidFill>
                  <a:schemeClr val="bg1"/>
                </a:solidFill>
                <a:effectLst>
                  <a:outerShdw blurRad="38100" dist="38100" dir="2700000" algn="tl">
                    <a:srgbClr val="000000">
                      <a:alpha val="43137"/>
                    </a:srgbClr>
                  </a:outerShdw>
                </a:effectLst>
                <a:latin typeface="Chewy" panose="02000000000000000000" pitchFamily="2" charset="0"/>
              </a:rPr>
              <a:t>INTRODUCRION</a:t>
            </a:r>
          </a:p>
        </p:txBody>
      </p:sp>
      <p:sp>
        <p:nvSpPr>
          <p:cNvPr id="12" name="TextBox 11">
            <a:extLst>
              <a:ext uri="{FF2B5EF4-FFF2-40B4-BE49-F238E27FC236}">
                <a16:creationId xmlns:a16="http://schemas.microsoft.com/office/drawing/2014/main" id="{37C6FDC7-9725-4B60-9EE7-8CF75CD73FDD}"/>
              </a:ext>
            </a:extLst>
          </p:cNvPr>
          <p:cNvSpPr txBox="1"/>
          <p:nvPr/>
        </p:nvSpPr>
        <p:spPr>
          <a:xfrm>
            <a:off x="1704610" y="1873568"/>
            <a:ext cx="8782780" cy="1600438"/>
          </a:xfrm>
          <a:prstGeom prst="rect">
            <a:avLst/>
          </a:prstGeom>
          <a:solidFill>
            <a:srgbClr val="CA103C">
              <a:alpha val="49804"/>
            </a:srgbClr>
          </a:solidFill>
        </p:spPr>
        <p:txBody>
          <a:bodyPr wrap="square" lIns="182880" tIns="182880" rIns="182880" bIns="182880" rtlCol="0">
            <a:spAutoFit/>
          </a:bodyPr>
          <a:lstStyle/>
          <a:p>
            <a:pPr fontAlgn="base">
              <a:spcBef>
                <a:spcPts val="600"/>
              </a:spcBef>
              <a:spcAft>
                <a:spcPts val="600"/>
              </a:spcAft>
            </a:pPr>
            <a:r>
              <a:rPr lang="fr-FR" sz="1600" dirty="0">
                <a:solidFill>
                  <a:schemeClr val="bg1"/>
                </a:solidFill>
                <a:effectLst>
                  <a:outerShdw blurRad="38100" dist="38100" dir="2700000" algn="tl">
                    <a:srgbClr val="000000">
                      <a:alpha val="43137"/>
                    </a:srgbClr>
                  </a:outerShdw>
                </a:effectLst>
                <a:latin typeface="Open Sans" panose="020B0606030504020204" pitchFamily="34" charset="0"/>
              </a:rPr>
              <a:t>Un oscilloscope, ou oscillographe, est un instrument de mesure destiné à visualiser un signal électrique, le plus souvent variable au cours du temps. Il permet d'observer les variations temporelles, soit de tensions électriques, soit de diverses autres grandeurs physiques préalablement transformées en tension au moyen de convertisseurs adaptés ou de capteurs. La courbe de rendu d'un oscilloscope est appelée oscillogramme.</a:t>
            </a:r>
            <a:endParaRPr lang="en-US" sz="1600" b="0" i="0" dirty="0">
              <a:solidFill>
                <a:schemeClr val="bg1"/>
              </a:solidFill>
              <a:effectLst>
                <a:outerShdw blurRad="38100" dist="38100" dir="2700000" algn="tl">
                  <a:srgbClr val="000000">
                    <a:alpha val="43137"/>
                  </a:srgbClr>
                </a:outerShdw>
              </a:effectLst>
              <a:latin typeface="Open Sans" panose="020B0606030504020204" pitchFamily="34" charset="0"/>
            </a:endParaRPr>
          </a:p>
        </p:txBody>
      </p:sp>
      <p:pic>
        <p:nvPicPr>
          <p:cNvPr id="17" name="Picture 16">
            <a:extLst>
              <a:ext uri="{FF2B5EF4-FFF2-40B4-BE49-F238E27FC236}">
                <a16:creationId xmlns:a16="http://schemas.microsoft.com/office/drawing/2014/main" id="{15893130-ABAF-47E0-AC0A-76FF1684D4F9}"/>
              </a:ext>
            </a:extLst>
          </p:cNvPr>
          <p:cNvPicPr>
            <a:picLocks noChangeAspect="1"/>
          </p:cNvPicPr>
          <p:nvPr/>
        </p:nvPicPr>
        <p:blipFill rotWithShape="1">
          <a:blip r:embed="rId9">
            <a:extLst>
              <a:ext uri="{28A0092B-C50C-407E-A947-70E740481C1C}">
                <a14:useLocalDpi xmlns:a14="http://schemas.microsoft.com/office/drawing/2010/main" val="0"/>
              </a:ext>
            </a:extLst>
          </a:blip>
          <a:srcRect l="160" r="55348"/>
          <a:stretch/>
        </p:blipFill>
        <p:spPr>
          <a:xfrm>
            <a:off x="3318179" y="4385360"/>
            <a:ext cx="1097280" cy="1097280"/>
          </a:xfrm>
          <a:custGeom>
            <a:avLst/>
            <a:gdLst>
              <a:gd name="connsiteX0" fmla="*/ 983073 w 1966146"/>
              <a:gd name="connsiteY0" fmla="*/ 0 h 1966146"/>
              <a:gd name="connsiteX1" fmla="*/ 1966146 w 1966146"/>
              <a:gd name="connsiteY1" fmla="*/ 983073 h 1966146"/>
              <a:gd name="connsiteX2" fmla="*/ 983073 w 1966146"/>
              <a:gd name="connsiteY2" fmla="*/ 1966146 h 1966146"/>
              <a:gd name="connsiteX3" fmla="*/ 0 w 1966146"/>
              <a:gd name="connsiteY3" fmla="*/ 983073 h 1966146"/>
              <a:gd name="connsiteX4" fmla="*/ 983073 w 1966146"/>
              <a:gd name="connsiteY4" fmla="*/ 0 h 1966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6146" h="1966146">
                <a:moveTo>
                  <a:pt x="983073" y="0"/>
                </a:moveTo>
                <a:cubicBezTo>
                  <a:pt x="1526009" y="0"/>
                  <a:pt x="1966146" y="440137"/>
                  <a:pt x="1966146" y="983073"/>
                </a:cubicBezTo>
                <a:cubicBezTo>
                  <a:pt x="1966146" y="1526009"/>
                  <a:pt x="1526009" y="1966146"/>
                  <a:pt x="983073" y="1966146"/>
                </a:cubicBezTo>
                <a:cubicBezTo>
                  <a:pt x="440137" y="1966146"/>
                  <a:pt x="0" y="1526009"/>
                  <a:pt x="0" y="983073"/>
                </a:cubicBezTo>
                <a:cubicBezTo>
                  <a:pt x="0" y="440137"/>
                  <a:pt x="440137" y="0"/>
                  <a:pt x="983073" y="0"/>
                </a:cubicBezTo>
                <a:close/>
              </a:path>
            </a:pathLst>
          </a:custGeom>
          <a:effectLst>
            <a:outerShdw blurRad="50800" dist="38100" dir="2700000" algn="tl" rotWithShape="0">
              <a:prstClr val="black">
                <a:alpha val="40000"/>
              </a:prstClr>
            </a:outerShdw>
          </a:effectLst>
        </p:spPr>
      </p:pic>
      <p:pic>
        <p:nvPicPr>
          <p:cNvPr id="21" name="Picture 20">
            <a:extLst>
              <a:ext uri="{FF2B5EF4-FFF2-40B4-BE49-F238E27FC236}">
                <a16:creationId xmlns:a16="http://schemas.microsoft.com/office/drawing/2014/main" id="{C64C1D31-3E1E-468D-A1A0-A9B06AAB8162}"/>
              </a:ext>
            </a:extLst>
          </p:cNvPr>
          <p:cNvPicPr>
            <a:picLocks noChangeAspect="1"/>
          </p:cNvPicPr>
          <p:nvPr/>
        </p:nvPicPr>
        <p:blipFill rotWithShape="1">
          <a:blip r:embed="rId10">
            <a:extLst>
              <a:ext uri="{28A0092B-C50C-407E-A947-70E740481C1C}">
                <a14:useLocalDpi xmlns:a14="http://schemas.microsoft.com/office/drawing/2010/main" val="0"/>
              </a:ext>
            </a:extLst>
          </a:blip>
          <a:srcRect l="636" r="38530"/>
          <a:stretch/>
        </p:blipFill>
        <p:spPr>
          <a:xfrm>
            <a:off x="5547361" y="4385360"/>
            <a:ext cx="1097280" cy="1097280"/>
          </a:xfrm>
          <a:custGeom>
            <a:avLst/>
            <a:gdLst>
              <a:gd name="connsiteX0" fmla="*/ 983073 w 1966146"/>
              <a:gd name="connsiteY0" fmla="*/ 0 h 1966146"/>
              <a:gd name="connsiteX1" fmla="*/ 1966146 w 1966146"/>
              <a:gd name="connsiteY1" fmla="*/ 983073 h 1966146"/>
              <a:gd name="connsiteX2" fmla="*/ 983073 w 1966146"/>
              <a:gd name="connsiteY2" fmla="*/ 1966146 h 1966146"/>
              <a:gd name="connsiteX3" fmla="*/ 0 w 1966146"/>
              <a:gd name="connsiteY3" fmla="*/ 983073 h 1966146"/>
              <a:gd name="connsiteX4" fmla="*/ 983073 w 1966146"/>
              <a:gd name="connsiteY4" fmla="*/ 0 h 1966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6146" h="1966146">
                <a:moveTo>
                  <a:pt x="983073" y="0"/>
                </a:moveTo>
                <a:cubicBezTo>
                  <a:pt x="1526009" y="0"/>
                  <a:pt x="1966146" y="440137"/>
                  <a:pt x="1966146" y="983073"/>
                </a:cubicBezTo>
                <a:cubicBezTo>
                  <a:pt x="1966146" y="1526009"/>
                  <a:pt x="1526009" y="1966146"/>
                  <a:pt x="983073" y="1966146"/>
                </a:cubicBezTo>
                <a:cubicBezTo>
                  <a:pt x="440137" y="1966146"/>
                  <a:pt x="0" y="1526009"/>
                  <a:pt x="0" y="983073"/>
                </a:cubicBezTo>
                <a:cubicBezTo>
                  <a:pt x="0" y="440137"/>
                  <a:pt x="440137" y="0"/>
                  <a:pt x="983073" y="0"/>
                </a:cubicBezTo>
                <a:close/>
              </a:path>
            </a:pathLst>
          </a:custGeom>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C7A231D8-41F9-4E93-BC38-556BB2B58CA8}"/>
              </a:ext>
            </a:extLst>
          </p:cNvPr>
          <p:cNvPicPr>
            <a:picLocks noChangeAspect="1"/>
          </p:cNvPicPr>
          <p:nvPr/>
        </p:nvPicPr>
        <p:blipFill>
          <a:blip r:embed="rId11">
            <a:extLst>
              <a:ext uri="{28A0092B-C50C-407E-A947-70E740481C1C}">
                <a14:useLocalDpi xmlns:a14="http://schemas.microsoft.com/office/drawing/2010/main" val="0"/>
              </a:ext>
            </a:extLst>
          </a:blip>
          <a:srcRect l="25703" r="25703"/>
          <a:stretch/>
        </p:blipFill>
        <p:spPr>
          <a:xfrm>
            <a:off x="7776544" y="4385360"/>
            <a:ext cx="1097280" cy="1097280"/>
          </a:xfrm>
          <a:custGeom>
            <a:avLst/>
            <a:gdLst>
              <a:gd name="connsiteX0" fmla="*/ 983073 w 1966146"/>
              <a:gd name="connsiteY0" fmla="*/ 0 h 1966146"/>
              <a:gd name="connsiteX1" fmla="*/ 1966146 w 1966146"/>
              <a:gd name="connsiteY1" fmla="*/ 983073 h 1966146"/>
              <a:gd name="connsiteX2" fmla="*/ 983073 w 1966146"/>
              <a:gd name="connsiteY2" fmla="*/ 1966146 h 1966146"/>
              <a:gd name="connsiteX3" fmla="*/ 0 w 1966146"/>
              <a:gd name="connsiteY3" fmla="*/ 983073 h 1966146"/>
              <a:gd name="connsiteX4" fmla="*/ 983073 w 1966146"/>
              <a:gd name="connsiteY4" fmla="*/ 0 h 1966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6146" h="1966146">
                <a:moveTo>
                  <a:pt x="983073" y="0"/>
                </a:moveTo>
                <a:cubicBezTo>
                  <a:pt x="1526009" y="0"/>
                  <a:pt x="1966146" y="440137"/>
                  <a:pt x="1966146" y="983073"/>
                </a:cubicBezTo>
                <a:cubicBezTo>
                  <a:pt x="1966146" y="1526009"/>
                  <a:pt x="1526009" y="1966146"/>
                  <a:pt x="983073" y="1966146"/>
                </a:cubicBezTo>
                <a:cubicBezTo>
                  <a:pt x="440137" y="1966146"/>
                  <a:pt x="0" y="1526009"/>
                  <a:pt x="0" y="983073"/>
                </a:cubicBezTo>
                <a:cubicBezTo>
                  <a:pt x="0" y="440137"/>
                  <a:pt x="440137" y="0"/>
                  <a:pt x="983073" y="0"/>
                </a:cubicBezTo>
                <a:close/>
              </a:path>
            </a:pathLst>
          </a:custGeom>
          <a:effectLst>
            <a:outerShdw blurRad="50800" dist="38100" dir="2700000" algn="tl" rotWithShape="0">
              <a:prstClr val="black">
                <a:alpha val="40000"/>
              </a:prstClr>
            </a:outerShdw>
          </a:effectLst>
        </p:spPr>
      </p:pic>
      <p:sp>
        <p:nvSpPr>
          <p:cNvPr id="26" name="Rectangle 25">
            <a:extLst>
              <a:ext uri="{FF2B5EF4-FFF2-40B4-BE49-F238E27FC236}">
                <a16:creationId xmlns:a16="http://schemas.microsoft.com/office/drawing/2014/main" id="{1714595F-3A7D-4C7A-89CB-42480388993B}"/>
              </a:ext>
            </a:extLst>
          </p:cNvPr>
          <p:cNvSpPr/>
          <p:nvPr/>
        </p:nvSpPr>
        <p:spPr>
          <a:xfrm>
            <a:off x="2209801" y="3908718"/>
            <a:ext cx="7772400" cy="2356363"/>
          </a:xfrm>
          <a:prstGeom prst="rect">
            <a:avLst/>
          </a:prstGeom>
          <a:no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20B526DE-FA16-40BC-8665-117E71727B09}"/>
              </a:ext>
            </a:extLst>
          </p:cNvPr>
          <p:cNvSpPr txBox="1"/>
          <p:nvPr/>
        </p:nvSpPr>
        <p:spPr>
          <a:xfrm>
            <a:off x="2794982" y="3747136"/>
            <a:ext cx="1342547" cy="323165"/>
          </a:xfrm>
          <a:prstGeom prst="rect">
            <a:avLst/>
          </a:prstGeom>
          <a:solidFill>
            <a:srgbClr val="CA103C"/>
          </a:solidFill>
        </p:spPr>
        <p:txBody>
          <a:bodyPr wrap="none" rtlCol="0">
            <a:spAutoFit/>
          </a:bodyPr>
          <a:lstStyle/>
          <a:p>
            <a:pPr algn="ctr"/>
            <a:r>
              <a:rPr lang="en-US" sz="1500" dirty="0">
                <a:solidFill>
                  <a:schemeClr val="bg1"/>
                </a:solidFill>
                <a:effectLst>
                  <a:outerShdw blurRad="38100" dist="38100" dir="2700000" algn="tl">
                    <a:srgbClr val="000000">
                      <a:alpha val="43137"/>
                    </a:srgbClr>
                  </a:outerShdw>
                </a:effectLst>
                <a:latin typeface="Gotham Black" pitchFamily="50" charset="0"/>
              </a:rPr>
              <a:t>OSCILLOSCOPE</a:t>
            </a:r>
          </a:p>
        </p:txBody>
      </p:sp>
      <p:pic>
        <p:nvPicPr>
          <p:cNvPr id="23" name="Picture 22">
            <a:extLst>
              <a:ext uri="{FF2B5EF4-FFF2-40B4-BE49-F238E27FC236}">
                <a16:creationId xmlns:a16="http://schemas.microsoft.com/office/drawing/2014/main" id="{576CA731-1FA9-AE09-0388-B268EB3824D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311566" y="-1834537"/>
            <a:ext cx="8225742" cy="5004072"/>
          </a:xfrm>
          <a:prstGeom prst="rect">
            <a:avLst/>
          </a:prstGeom>
        </p:spPr>
      </p:pic>
      <p:pic>
        <p:nvPicPr>
          <p:cNvPr id="29" name="Picture 28">
            <a:extLst>
              <a:ext uri="{FF2B5EF4-FFF2-40B4-BE49-F238E27FC236}">
                <a16:creationId xmlns:a16="http://schemas.microsoft.com/office/drawing/2014/main" id="{3ADA7C1F-1B05-87F0-67BC-AB748170840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626922" y="7597639"/>
            <a:ext cx="8249833" cy="3670552"/>
          </a:xfrm>
          <a:prstGeom prst="rect">
            <a:avLst/>
          </a:prstGeom>
        </p:spPr>
      </p:pic>
      <p:cxnSp>
        <p:nvCxnSpPr>
          <p:cNvPr id="32" name="Straight Connector 31">
            <a:extLst>
              <a:ext uri="{FF2B5EF4-FFF2-40B4-BE49-F238E27FC236}">
                <a16:creationId xmlns:a16="http://schemas.microsoft.com/office/drawing/2014/main" id="{29F8AF10-E59E-8D21-D95A-F683F8138EB0}"/>
              </a:ext>
            </a:extLst>
          </p:cNvPr>
          <p:cNvCxnSpPr>
            <a:cxnSpLocks/>
          </p:cNvCxnSpPr>
          <p:nvPr/>
        </p:nvCxnSpPr>
        <p:spPr>
          <a:xfrm>
            <a:off x="-3002280" y="1815822"/>
            <a:ext cx="1097280" cy="0"/>
          </a:xfrm>
          <a:prstGeom prst="line">
            <a:avLst/>
          </a:prstGeom>
          <a:ln w="76200"/>
        </p:spPr>
        <p:style>
          <a:lnRef idx="1">
            <a:schemeClr val="accent1"/>
          </a:lnRef>
          <a:fillRef idx="0">
            <a:schemeClr val="accent1"/>
          </a:fillRef>
          <a:effectRef idx="0">
            <a:schemeClr val="accent1"/>
          </a:effectRef>
          <a:fontRef idx="minor">
            <a:schemeClr val="tx1"/>
          </a:fontRef>
        </p:style>
      </p:cxnSp>
      <p:pic>
        <p:nvPicPr>
          <p:cNvPr id="36" name="Picture 35">
            <a:extLst>
              <a:ext uri="{FF2B5EF4-FFF2-40B4-BE49-F238E27FC236}">
                <a16:creationId xmlns:a16="http://schemas.microsoft.com/office/drawing/2014/main" id="{658ED068-B40F-0229-67C6-FD695DFBBC2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2567965" y="3873595"/>
            <a:ext cx="9842770" cy="4782971"/>
          </a:xfrm>
          <a:prstGeom prst="rect">
            <a:avLst/>
          </a:prstGeom>
        </p:spPr>
      </p:pic>
    </p:spTree>
    <p:extLst>
      <p:ext uri="{BB962C8B-B14F-4D97-AF65-F5344CB8AC3E}">
        <p14:creationId xmlns:p14="http://schemas.microsoft.com/office/powerpoint/2010/main" val="273447464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49" presetClass="entr" presetSubtype="0" decel="10000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p:cTn id="11" dur="500" fill="hold"/>
                                        <p:tgtEl>
                                          <p:spTgt spid="17"/>
                                        </p:tgtEl>
                                        <p:attrNameLst>
                                          <p:attrName>ppt_w</p:attrName>
                                        </p:attrNameLst>
                                      </p:cBhvr>
                                      <p:tavLst>
                                        <p:tav tm="0">
                                          <p:val>
                                            <p:fltVal val="0"/>
                                          </p:val>
                                        </p:tav>
                                        <p:tav tm="100000">
                                          <p:val>
                                            <p:strVal val="#ppt_w"/>
                                          </p:val>
                                        </p:tav>
                                      </p:tavLst>
                                    </p:anim>
                                    <p:anim calcmode="lin" valueType="num">
                                      <p:cBhvr>
                                        <p:cTn id="12" dur="500" fill="hold"/>
                                        <p:tgtEl>
                                          <p:spTgt spid="17"/>
                                        </p:tgtEl>
                                        <p:attrNameLst>
                                          <p:attrName>ppt_h</p:attrName>
                                        </p:attrNameLst>
                                      </p:cBhvr>
                                      <p:tavLst>
                                        <p:tav tm="0">
                                          <p:val>
                                            <p:fltVal val="0"/>
                                          </p:val>
                                        </p:tav>
                                        <p:tav tm="100000">
                                          <p:val>
                                            <p:strVal val="#ppt_h"/>
                                          </p:val>
                                        </p:tav>
                                      </p:tavLst>
                                    </p:anim>
                                    <p:anim calcmode="lin" valueType="num">
                                      <p:cBhvr>
                                        <p:cTn id="13" dur="500" fill="hold"/>
                                        <p:tgtEl>
                                          <p:spTgt spid="17"/>
                                        </p:tgtEl>
                                        <p:attrNameLst>
                                          <p:attrName>style.rotation</p:attrName>
                                        </p:attrNameLst>
                                      </p:cBhvr>
                                      <p:tavLst>
                                        <p:tav tm="0">
                                          <p:val>
                                            <p:fltVal val="360"/>
                                          </p:val>
                                        </p:tav>
                                        <p:tav tm="100000">
                                          <p:val>
                                            <p:fltVal val="0"/>
                                          </p:val>
                                        </p:tav>
                                      </p:tavLst>
                                    </p:anim>
                                    <p:animEffect transition="in" filter="fade">
                                      <p:cBhvr>
                                        <p:cTn id="14" dur="500"/>
                                        <p:tgtEl>
                                          <p:spTgt spid="17"/>
                                        </p:tgtEl>
                                      </p:cBhvr>
                                    </p:animEffect>
                                  </p:childTnLst>
                                </p:cTn>
                              </p:par>
                            </p:childTnLst>
                          </p:cTn>
                        </p:par>
                        <p:par>
                          <p:cTn id="15" fill="hold">
                            <p:stCondLst>
                              <p:cond delay="1000"/>
                            </p:stCondLst>
                            <p:childTnLst>
                              <p:par>
                                <p:cTn id="16" presetID="49" presetClass="entr" presetSubtype="0" decel="100000" fill="hold" nodeType="afterEffect">
                                  <p:stCondLst>
                                    <p:cond delay="0"/>
                                  </p:stCondLst>
                                  <p:childTnLst>
                                    <p:set>
                                      <p:cBhvr>
                                        <p:cTn id="17" dur="1" fill="hold">
                                          <p:stCondLst>
                                            <p:cond delay="0"/>
                                          </p:stCondLst>
                                        </p:cTn>
                                        <p:tgtEl>
                                          <p:spTgt spid="21"/>
                                        </p:tgtEl>
                                        <p:attrNameLst>
                                          <p:attrName>style.visibility</p:attrName>
                                        </p:attrNameLst>
                                      </p:cBhvr>
                                      <p:to>
                                        <p:strVal val="visible"/>
                                      </p:to>
                                    </p:set>
                                    <p:anim calcmode="lin" valueType="num">
                                      <p:cBhvr>
                                        <p:cTn id="18" dur="500" fill="hold"/>
                                        <p:tgtEl>
                                          <p:spTgt spid="21"/>
                                        </p:tgtEl>
                                        <p:attrNameLst>
                                          <p:attrName>ppt_w</p:attrName>
                                        </p:attrNameLst>
                                      </p:cBhvr>
                                      <p:tavLst>
                                        <p:tav tm="0">
                                          <p:val>
                                            <p:fltVal val="0"/>
                                          </p:val>
                                        </p:tav>
                                        <p:tav tm="100000">
                                          <p:val>
                                            <p:strVal val="#ppt_w"/>
                                          </p:val>
                                        </p:tav>
                                      </p:tavLst>
                                    </p:anim>
                                    <p:anim calcmode="lin" valueType="num">
                                      <p:cBhvr>
                                        <p:cTn id="19" dur="500" fill="hold"/>
                                        <p:tgtEl>
                                          <p:spTgt spid="21"/>
                                        </p:tgtEl>
                                        <p:attrNameLst>
                                          <p:attrName>ppt_h</p:attrName>
                                        </p:attrNameLst>
                                      </p:cBhvr>
                                      <p:tavLst>
                                        <p:tav tm="0">
                                          <p:val>
                                            <p:fltVal val="0"/>
                                          </p:val>
                                        </p:tav>
                                        <p:tav tm="100000">
                                          <p:val>
                                            <p:strVal val="#ppt_h"/>
                                          </p:val>
                                        </p:tav>
                                      </p:tavLst>
                                    </p:anim>
                                    <p:anim calcmode="lin" valueType="num">
                                      <p:cBhvr>
                                        <p:cTn id="20" dur="500" fill="hold"/>
                                        <p:tgtEl>
                                          <p:spTgt spid="21"/>
                                        </p:tgtEl>
                                        <p:attrNameLst>
                                          <p:attrName>style.rotation</p:attrName>
                                        </p:attrNameLst>
                                      </p:cBhvr>
                                      <p:tavLst>
                                        <p:tav tm="0">
                                          <p:val>
                                            <p:fltVal val="360"/>
                                          </p:val>
                                        </p:tav>
                                        <p:tav tm="100000">
                                          <p:val>
                                            <p:fltVal val="0"/>
                                          </p:val>
                                        </p:tav>
                                      </p:tavLst>
                                    </p:anim>
                                    <p:animEffect transition="in" filter="fade">
                                      <p:cBhvr>
                                        <p:cTn id="21" dur="500"/>
                                        <p:tgtEl>
                                          <p:spTgt spid="21"/>
                                        </p:tgtEl>
                                      </p:cBhvr>
                                    </p:animEffect>
                                  </p:childTnLst>
                                </p:cTn>
                              </p:par>
                            </p:childTnLst>
                          </p:cTn>
                        </p:par>
                        <p:par>
                          <p:cTn id="22" fill="hold">
                            <p:stCondLst>
                              <p:cond delay="1500"/>
                            </p:stCondLst>
                            <p:childTnLst>
                              <p:par>
                                <p:cTn id="23" presetID="49" presetClass="entr" presetSubtype="0" decel="100000" fill="hold" nodeType="afterEffect">
                                  <p:stCondLst>
                                    <p:cond delay="0"/>
                                  </p:stCondLst>
                                  <p:childTnLst>
                                    <p:set>
                                      <p:cBhvr>
                                        <p:cTn id="24" dur="1" fill="hold">
                                          <p:stCondLst>
                                            <p:cond delay="0"/>
                                          </p:stCondLst>
                                        </p:cTn>
                                        <p:tgtEl>
                                          <p:spTgt spid="24"/>
                                        </p:tgtEl>
                                        <p:attrNameLst>
                                          <p:attrName>style.visibility</p:attrName>
                                        </p:attrNameLst>
                                      </p:cBhvr>
                                      <p:to>
                                        <p:strVal val="visible"/>
                                      </p:to>
                                    </p:set>
                                    <p:anim calcmode="lin" valueType="num">
                                      <p:cBhvr>
                                        <p:cTn id="25" dur="500" fill="hold"/>
                                        <p:tgtEl>
                                          <p:spTgt spid="24"/>
                                        </p:tgtEl>
                                        <p:attrNameLst>
                                          <p:attrName>ppt_w</p:attrName>
                                        </p:attrNameLst>
                                      </p:cBhvr>
                                      <p:tavLst>
                                        <p:tav tm="0">
                                          <p:val>
                                            <p:fltVal val="0"/>
                                          </p:val>
                                        </p:tav>
                                        <p:tav tm="100000">
                                          <p:val>
                                            <p:strVal val="#ppt_w"/>
                                          </p:val>
                                        </p:tav>
                                      </p:tavLst>
                                    </p:anim>
                                    <p:anim calcmode="lin" valueType="num">
                                      <p:cBhvr>
                                        <p:cTn id="26" dur="500" fill="hold"/>
                                        <p:tgtEl>
                                          <p:spTgt spid="24"/>
                                        </p:tgtEl>
                                        <p:attrNameLst>
                                          <p:attrName>ppt_h</p:attrName>
                                        </p:attrNameLst>
                                      </p:cBhvr>
                                      <p:tavLst>
                                        <p:tav tm="0">
                                          <p:val>
                                            <p:fltVal val="0"/>
                                          </p:val>
                                        </p:tav>
                                        <p:tav tm="100000">
                                          <p:val>
                                            <p:strVal val="#ppt_h"/>
                                          </p:val>
                                        </p:tav>
                                      </p:tavLst>
                                    </p:anim>
                                    <p:anim calcmode="lin" valueType="num">
                                      <p:cBhvr>
                                        <p:cTn id="27" dur="500" fill="hold"/>
                                        <p:tgtEl>
                                          <p:spTgt spid="24"/>
                                        </p:tgtEl>
                                        <p:attrNameLst>
                                          <p:attrName>style.rotation</p:attrName>
                                        </p:attrNameLst>
                                      </p:cBhvr>
                                      <p:tavLst>
                                        <p:tav tm="0">
                                          <p:val>
                                            <p:fltVal val="360"/>
                                          </p:val>
                                        </p:tav>
                                        <p:tav tm="100000">
                                          <p:val>
                                            <p:fltVal val="0"/>
                                          </p:val>
                                        </p:tav>
                                      </p:tavLst>
                                    </p:anim>
                                    <p:animEffect transition="in" filter="fade">
                                      <p:cBhvr>
                                        <p:cTn id="28"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29" restart="whenNotActive" fill="hold" evtFilter="cancelBubble" nodeType="interactiveSeq">
                <p:stCondLst>
                  <p:cond evt="onClick" delay="0">
                    <p:tgtEl>
                      <p:spTgt spid="17"/>
                    </p:tgtEl>
                  </p:cond>
                </p:stCondLst>
                <p:endSync evt="end" delay="0">
                  <p:rtn val="all"/>
                </p:endSync>
                <p:childTnLst>
                  <p:par>
                    <p:cTn id="30" fill="hold">
                      <p:stCondLst>
                        <p:cond delay="0"/>
                      </p:stCondLst>
                      <p:childTnLst>
                        <p:par>
                          <p:cTn id="31" fill="hold">
                            <p:stCondLst>
                              <p:cond delay="0"/>
                            </p:stCondLst>
                            <p:childTnLst>
                              <p:par>
                                <p:cTn id="32" presetID="42" presetClass="path" presetSubtype="0" accel="50000" decel="50000" fill="hold" nodeType="clickEffect">
                                  <p:stCondLst>
                                    <p:cond delay="0"/>
                                  </p:stCondLst>
                                  <p:childTnLst>
                                    <p:animMotion origin="layout" path="M 0.7862 -0.84305 L 0.7862 0.02222 " pathEditMode="fixed" rAng="0" ptsTypes="AA">
                                      <p:cBhvr>
                                        <p:cTn id="33" dur="1000" spd="-100000" fill="hold"/>
                                        <p:tgtEl>
                                          <p:spTgt spid="29"/>
                                        </p:tgtEl>
                                        <p:attrNameLst>
                                          <p:attrName>ppt_x</p:attrName>
                                          <p:attrName>ppt_y</p:attrName>
                                        </p:attrNameLst>
                                      </p:cBhvr>
                                      <p:rCtr x="0" y="43264"/>
                                    </p:animMotion>
                                  </p:childTnLst>
                                </p:cTn>
                              </p:par>
                            </p:childTnLst>
                          </p:cTn>
                        </p:par>
                      </p:childTnLst>
                    </p:cTn>
                  </p:par>
                </p:childTnLst>
              </p:cTn>
              <p:nextCondLst>
                <p:cond evt="onClick" delay="0">
                  <p:tgtEl>
                    <p:spTgt spid="17"/>
                  </p:tgtEl>
                </p:cond>
              </p:nextCondLst>
            </p:seq>
            <p:seq concurrent="1" nextAc="seek">
              <p:cTn id="34" restart="whenNotActive" fill="hold" evtFilter="cancelBubble" nodeType="interactiveSeq">
                <p:stCondLst>
                  <p:cond evt="onClick" delay="0">
                    <p:tgtEl>
                      <p:spTgt spid="29"/>
                    </p:tgtEl>
                  </p:cond>
                </p:stCondLst>
                <p:endSync evt="end" delay="0">
                  <p:rtn val="all"/>
                </p:endSync>
                <p:childTnLst>
                  <p:par>
                    <p:cTn id="35" fill="hold">
                      <p:stCondLst>
                        <p:cond delay="0"/>
                      </p:stCondLst>
                      <p:childTnLst>
                        <p:par>
                          <p:cTn id="36" fill="hold">
                            <p:stCondLst>
                              <p:cond delay="0"/>
                            </p:stCondLst>
                            <p:childTnLst>
                              <p:par>
                                <p:cTn id="37" presetID="42" presetClass="path" presetSubtype="0" accel="50000" decel="50000" fill="hold" nodeType="clickEffect">
                                  <p:stCondLst>
                                    <p:cond delay="0"/>
                                  </p:stCondLst>
                                  <p:childTnLst>
                                    <p:animMotion origin="layout" path="M 0.7862 -0.84305 L 0.7862 -0.06436 " pathEditMode="fixed" rAng="0" ptsTypes="AA">
                                      <p:cBhvr>
                                        <p:cTn id="38" dur="500" fill="hold"/>
                                        <p:tgtEl>
                                          <p:spTgt spid="29"/>
                                        </p:tgtEl>
                                        <p:attrNameLst>
                                          <p:attrName>ppt_x</p:attrName>
                                          <p:attrName>ppt_y</p:attrName>
                                        </p:attrNameLst>
                                      </p:cBhvr>
                                      <p:rCtr x="0" y="38935"/>
                                    </p:animMotion>
                                  </p:childTnLst>
                                </p:cTn>
                              </p:par>
                            </p:childTnLst>
                          </p:cTn>
                        </p:par>
                      </p:childTnLst>
                    </p:cTn>
                  </p:par>
                </p:childTnLst>
              </p:cTn>
              <p:nextCondLst>
                <p:cond evt="onClick" delay="0">
                  <p:tgtEl>
                    <p:spTgt spid="29"/>
                  </p:tgtEl>
                </p:cond>
              </p:nextCondLst>
            </p:seq>
            <p:seq concurrent="1" nextAc="seek">
              <p:cTn id="39" restart="whenNotActive" fill="hold" evtFilter="cancelBubble" nodeType="interactiveSeq">
                <p:stCondLst>
                  <p:cond evt="onClick" delay="0">
                    <p:tgtEl>
                      <p:spTgt spid="21"/>
                    </p:tgtEl>
                  </p:cond>
                </p:stCondLst>
                <p:endSync evt="end" delay="0">
                  <p:rtn val="all"/>
                </p:endSync>
                <p:childTnLst>
                  <p:par>
                    <p:cTn id="40" fill="hold">
                      <p:stCondLst>
                        <p:cond delay="0"/>
                      </p:stCondLst>
                      <p:childTnLst>
                        <p:par>
                          <p:cTn id="41" fill="hold">
                            <p:stCondLst>
                              <p:cond delay="0"/>
                            </p:stCondLst>
                            <p:childTnLst>
                              <p:par>
                                <p:cTn id="42" presetID="42" presetClass="path" presetSubtype="0" accel="50000" decel="50000" fill="hold" nodeType="clickEffect">
                                  <p:stCondLst>
                                    <p:cond delay="0"/>
                                  </p:stCondLst>
                                  <p:childTnLst>
                                    <p:animMotion origin="layout" path="M 1.00833 0.50903 L 1.00833 1.31158 " pathEditMode="fixed" rAng="0" ptsTypes="AA">
                                      <p:cBhvr>
                                        <p:cTn id="43" dur="1000" spd="-100000" fill="hold"/>
                                        <p:tgtEl>
                                          <p:spTgt spid="23"/>
                                        </p:tgtEl>
                                        <p:attrNameLst>
                                          <p:attrName>ppt_x</p:attrName>
                                          <p:attrName>ppt_y</p:attrName>
                                        </p:attrNameLst>
                                      </p:cBhvr>
                                      <p:rCtr x="0" y="40116"/>
                                    </p:animMotion>
                                  </p:childTnLst>
                                </p:cTn>
                              </p:par>
                            </p:childTnLst>
                          </p:cTn>
                        </p:par>
                      </p:childTnLst>
                    </p:cTn>
                  </p:par>
                </p:childTnLst>
              </p:cTn>
              <p:nextCondLst>
                <p:cond evt="onClick" delay="0">
                  <p:tgtEl>
                    <p:spTgt spid="21"/>
                  </p:tgtEl>
                </p:cond>
              </p:nextCondLst>
            </p:seq>
            <p:seq concurrent="1" nextAc="seek">
              <p:cTn id="44" restart="whenNotActive" fill="hold" evtFilter="cancelBubble" nodeType="interactiveSeq">
                <p:stCondLst>
                  <p:cond evt="onClick" delay="0">
                    <p:tgtEl>
                      <p:spTgt spid="23"/>
                    </p:tgtEl>
                  </p:cond>
                </p:stCondLst>
                <p:endSync evt="end" delay="0">
                  <p:rtn val="all"/>
                </p:endSync>
                <p:childTnLst>
                  <p:par>
                    <p:cTn id="45" fill="hold">
                      <p:stCondLst>
                        <p:cond delay="0"/>
                      </p:stCondLst>
                      <p:childTnLst>
                        <p:par>
                          <p:cTn id="46" fill="hold">
                            <p:stCondLst>
                              <p:cond delay="0"/>
                            </p:stCondLst>
                            <p:childTnLst>
                              <p:par>
                                <p:cTn id="47" presetID="42" presetClass="path" presetSubtype="0" accel="50000" decel="50000" fill="hold" nodeType="clickEffect">
                                  <p:stCondLst>
                                    <p:cond delay="0"/>
                                  </p:stCondLst>
                                  <p:childTnLst>
                                    <p:animMotion origin="layout" path="M 1.00833 0.50903 L 1.00833 1.30509 " pathEditMode="fixed" rAng="0" ptsTypes="AA">
                                      <p:cBhvr>
                                        <p:cTn id="48" dur="500" fill="hold"/>
                                        <p:tgtEl>
                                          <p:spTgt spid="23"/>
                                        </p:tgtEl>
                                        <p:attrNameLst>
                                          <p:attrName>ppt_x</p:attrName>
                                          <p:attrName>ppt_y</p:attrName>
                                        </p:attrNameLst>
                                      </p:cBhvr>
                                      <p:rCtr x="0" y="39792"/>
                                    </p:animMotion>
                                  </p:childTnLst>
                                </p:cTn>
                              </p:par>
                            </p:childTnLst>
                          </p:cTn>
                        </p:par>
                      </p:childTnLst>
                    </p:cTn>
                  </p:par>
                </p:childTnLst>
              </p:cTn>
              <p:nextCondLst>
                <p:cond evt="onClick" delay="0">
                  <p:tgtEl>
                    <p:spTgt spid="23"/>
                  </p:tgtEl>
                </p:cond>
              </p:nextCondLst>
            </p:seq>
            <p:seq concurrent="1" nextAc="seek">
              <p:cTn id="49" restart="whenNotActive" fill="hold" evtFilter="cancelBubble" nodeType="interactiveSeq">
                <p:stCondLst>
                  <p:cond evt="onClick" delay="0">
                    <p:tgtEl>
                      <p:spTgt spid="24"/>
                    </p:tgtEl>
                  </p:cond>
                </p:stCondLst>
                <p:endSync evt="end" delay="0">
                  <p:rtn val="all"/>
                </p:endSync>
                <p:childTnLst>
                  <p:par>
                    <p:cTn id="50" fill="hold">
                      <p:stCondLst>
                        <p:cond delay="0"/>
                      </p:stCondLst>
                      <p:childTnLst>
                        <p:par>
                          <p:cTn id="51" fill="hold">
                            <p:stCondLst>
                              <p:cond delay="0"/>
                            </p:stCondLst>
                            <p:childTnLst>
                              <p:par>
                                <p:cTn id="52" presetID="42" presetClass="path" presetSubtype="0" accel="50000" decel="50000" fill="hold" nodeType="clickEffect">
                                  <p:stCondLst>
                                    <p:cond delay="0"/>
                                  </p:stCondLst>
                                  <p:childTnLst>
                                    <p:animMotion origin="layout" path="M -0.93451 -0.31991 L -0.93451 0.72963 " pathEditMode="fixed" rAng="0" ptsTypes="AA">
                                      <p:cBhvr>
                                        <p:cTn id="53" dur="1000" spd="-100000" fill="hold"/>
                                        <p:tgtEl>
                                          <p:spTgt spid="36"/>
                                        </p:tgtEl>
                                        <p:attrNameLst>
                                          <p:attrName>ppt_x</p:attrName>
                                          <p:attrName>ppt_y</p:attrName>
                                        </p:attrNameLst>
                                      </p:cBhvr>
                                      <p:rCtr x="0" y="52477"/>
                                    </p:animMotion>
                                  </p:childTnLst>
                                </p:cTn>
                              </p:par>
                            </p:childTnLst>
                          </p:cTn>
                        </p:par>
                      </p:childTnLst>
                    </p:cTn>
                  </p:par>
                </p:childTnLst>
              </p:cTn>
              <p:nextCondLst>
                <p:cond evt="onClick" delay="0">
                  <p:tgtEl>
                    <p:spTgt spid="24"/>
                  </p:tgtEl>
                </p:cond>
              </p:nextCondLst>
            </p:seq>
            <p:seq concurrent="1" nextAc="seek">
              <p:cTn id="54" restart="whenNotActive" fill="hold" evtFilter="cancelBubble" nodeType="interactiveSeq">
                <p:stCondLst>
                  <p:cond evt="onClick" delay="0">
                    <p:tgtEl>
                      <p:spTgt spid="36"/>
                    </p:tgtEl>
                  </p:cond>
                </p:stCondLst>
                <p:endSync evt="end" delay="0">
                  <p:rtn val="all"/>
                </p:endSync>
                <p:childTnLst>
                  <p:par>
                    <p:cTn id="55" fill="hold">
                      <p:stCondLst>
                        <p:cond delay="0"/>
                      </p:stCondLst>
                      <p:childTnLst>
                        <p:par>
                          <p:cTn id="56" fill="hold">
                            <p:stCondLst>
                              <p:cond delay="0"/>
                            </p:stCondLst>
                            <p:childTnLst>
                              <p:par>
                                <p:cTn id="57" presetID="42" presetClass="path" presetSubtype="0" accel="50000" decel="50000" fill="hold" nodeType="clickEffect">
                                  <p:stCondLst>
                                    <p:cond delay="0"/>
                                  </p:stCondLst>
                                  <p:childTnLst>
                                    <p:animMotion origin="layout" path="M -0.93451 -0.31991 L -0.93451 0.46203 " pathEditMode="fixed" rAng="0" ptsTypes="AA">
                                      <p:cBhvr>
                                        <p:cTn id="58" dur="500" fill="hold"/>
                                        <p:tgtEl>
                                          <p:spTgt spid="36"/>
                                        </p:tgtEl>
                                        <p:attrNameLst>
                                          <p:attrName>ppt_x</p:attrName>
                                          <p:attrName>ppt_y</p:attrName>
                                        </p:attrNameLst>
                                      </p:cBhvr>
                                      <p:rCtr x="0" y="39097"/>
                                    </p:animMotion>
                                  </p:childTnLst>
                                </p:cTn>
                              </p:par>
                            </p:childTnLst>
                          </p:cTn>
                        </p:par>
                      </p:childTnLst>
                    </p:cTn>
                  </p:par>
                </p:childTnLst>
              </p:cTn>
              <p:nextCondLst>
                <p:cond evt="onClick" delay="0">
                  <p:tgtEl>
                    <p:spTgt spid="36"/>
                  </p:tgtEl>
                </p:cond>
              </p:nextCondLst>
            </p:seq>
          </p:childTnLst>
        </p:cTn>
      </p:par>
    </p:tnLst>
    <p:bldLst>
      <p:bldP spid="2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8D6A2"/>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08723A1B-89B8-BB4C-A287-9731243E378C}"/>
              </a:ext>
            </a:extLst>
          </p:cNvPr>
          <p:cNvGrpSpPr/>
          <p:nvPr/>
        </p:nvGrpSpPr>
        <p:grpSpPr>
          <a:xfrm>
            <a:off x="-842559" y="494367"/>
            <a:ext cx="827568" cy="828000"/>
            <a:chOff x="-842559" y="468160"/>
            <a:chExt cx="827568" cy="828000"/>
          </a:xfrm>
        </p:grpSpPr>
        <p:sp>
          <p:nvSpPr>
            <p:cNvPr id="31" name="Oval 30">
              <a:extLst>
                <a:ext uri="{FF2B5EF4-FFF2-40B4-BE49-F238E27FC236}">
                  <a16:creationId xmlns:a16="http://schemas.microsoft.com/office/drawing/2014/main" id="{90ED94A6-CE9D-C443-8609-7D197CB548A2}"/>
                </a:ext>
              </a:extLst>
            </p:cNvPr>
            <p:cNvSpPr>
              <a:spLocks noChangeAspect="1"/>
            </p:cNvSpPr>
            <p:nvPr/>
          </p:nvSpPr>
          <p:spPr>
            <a:xfrm>
              <a:off x="-842559" y="46816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2" name="Graphic 31" descr="Lightbulb">
              <a:extLst>
                <a:ext uri="{FF2B5EF4-FFF2-40B4-BE49-F238E27FC236}">
                  <a16:creationId xmlns:a16="http://schemas.microsoft.com/office/drawing/2014/main" id="{C26E31D8-F1B2-2243-B8CA-CCD805EEA586}"/>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780293" y="530642"/>
              <a:ext cx="703036" cy="703036"/>
            </a:xfrm>
            <a:prstGeom prst="rect">
              <a:avLst/>
            </a:prstGeom>
          </p:spPr>
        </p:pic>
      </p:grpSp>
      <p:grpSp>
        <p:nvGrpSpPr>
          <p:cNvPr id="33" name="Group 32">
            <a:extLst>
              <a:ext uri="{FF2B5EF4-FFF2-40B4-BE49-F238E27FC236}">
                <a16:creationId xmlns:a16="http://schemas.microsoft.com/office/drawing/2014/main" id="{6C4F7693-DE13-F642-9153-63A34E076D36}"/>
              </a:ext>
            </a:extLst>
          </p:cNvPr>
          <p:cNvGrpSpPr/>
          <p:nvPr/>
        </p:nvGrpSpPr>
        <p:grpSpPr>
          <a:xfrm>
            <a:off x="-842559" y="1741580"/>
            <a:ext cx="827568" cy="828000"/>
            <a:chOff x="-842559" y="1741580"/>
            <a:chExt cx="827568" cy="828000"/>
          </a:xfrm>
        </p:grpSpPr>
        <p:sp>
          <p:nvSpPr>
            <p:cNvPr id="34" name="Oval 33">
              <a:extLst>
                <a:ext uri="{FF2B5EF4-FFF2-40B4-BE49-F238E27FC236}">
                  <a16:creationId xmlns:a16="http://schemas.microsoft.com/office/drawing/2014/main" id="{B1389CA5-6C38-9745-BE11-25BC913FC874}"/>
                </a:ext>
              </a:extLst>
            </p:cNvPr>
            <p:cNvSpPr>
              <a:spLocks noChangeAspect="1"/>
            </p:cNvSpPr>
            <p:nvPr/>
          </p:nvSpPr>
          <p:spPr>
            <a:xfrm>
              <a:off x="-842559" y="174158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5" name="Graphic 34" descr="Upward trend">
              <a:extLst>
                <a:ext uri="{FF2B5EF4-FFF2-40B4-BE49-F238E27FC236}">
                  <a16:creationId xmlns:a16="http://schemas.microsoft.com/office/drawing/2014/main" id="{906560C3-60DB-8F42-B406-23C948C0224D}"/>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734943" y="1849412"/>
              <a:ext cx="612336" cy="612336"/>
            </a:xfrm>
            <a:prstGeom prst="rect">
              <a:avLst/>
            </a:prstGeom>
          </p:spPr>
        </p:pic>
      </p:grpSp>
      <p:grpSp>
        <p:nvGrpSpPr>
          <p:cNvPr id="39" name="Group 38">
            <a:extLst>
              <a:ext uri="{FF2B5EF4-FFF2-40B4-BE49-F238E27FC236}">
                <a16:creationId xmlns:a16="http://schemas.microsoft.com/office/drawing/2014/main" id="{9AC015C8-62D2-BC46-9682-FCBE2546F35B}"/>
              </a:ext>
            </a:extLst>
          </p:cNvPr>
          <p:cNvGrpSpPr/>
          <p:nvPr/>
        </p:nvGrpSpPr>
        <p:grpSpPr>
          <a:xfrm>
            <a:off x="-842559" y="4288420"/>
            <a:ext cx="827568" cy="828000"/>
            <a:chOff x="-842559" y="4288420"/>
            <a:chExt cx="827568" cy="828000"/>
          </a:xfrm>
        </p:grpSpPr>
        <p:sp>
          <p:nvSpPr>
            <p:cNvPr id="40" name="Oval 39">
              <a:extLst>
                <a:ext uri="{FF2B5EF4-FFF2-40B4-BE49-F238E27FC236}">
                  <a16:creationId xmlns:a16="http://schemas.microsoft.com/office/drawing/2014/main" id="{11F18A0E-2AB4-3A43-8082-8399ABA604C1}"/>
                </a:ext>
              </a:extLst>
            </p:cNvPr>
            <p:cNvSpPr>
              <a:spLocks noChangeAspect="1"/>
            </p:cNvSpPr>
            <p:nvPr/>
          </p:nvSpPr>
          <p:spPr>
            <a:xfrm>
              <a:off x="-842559" y="428842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41" name="Graphic 40" descr="Single gear">
              <a:extLst>
                <a:ext uri="{FF2B5EF4-FFF2-40B4-BE49-F238E27FC236}">
                  <a16:creationId xmlns:a16="http://schemas.microsoft.com/office/drawing/2014/main" id="{6250E137-8917-6446-828A-413562A10288}"/>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780293" y="4363185"/>
              <a:ext cx="724649" cy="724649"/>
            </a:xfrm>
            <a:prstGeom prst="rect">
              <a:avLst/>
            </a:prstGeom>
          </p:spPr>
        </p:pic>
      </p:grpSp>
      <p:grpSp>
        <p:nvGrpSpPr>
          <p:cNvPr id="42" name="Group 41">
            <a:extLst>
              <a:ext uri="{FF2B5EF4-FFF2-40B4-BE49-F238E27FC236}">
                <a16:creationId xmlns:a16="http://schemas.microsoft.com/office/drawing/2014/main" id="{C1E8AEE2-E6AF-0E40-B9C5-0F51313CAC59}"/>
              </a:ext>
            </a:extLst>
          </p:cNvPr>
          <p:cNvGrpSpPr/>
          <p:nvPr/>
        </p:nvGrpSpPr>
        <p:grpSpPr>
          <a:xfrm>
            <a:off x="-842559" y="5561839"/>
            <a:ext cx="827568" cy="828000"/>
            <a:chOff x="-842559" y="5561839"/>
            <a:chExt cx="827568" cy="828000"/>
          </a:xfrm>
        </p:grpSpPr>
        <p:sp>
          <p:nvSpPr>
            <p:cNvPr id="43" name="Oval 42">
              <a:extLst>
                <a:ext uri="{FF2B5EF4-FFF2-40B4-BE49-F238E27FC236}">
                  <a16:creationId xmlns:a16="http://schemas.microsoft.com/office/drawing/2014/main" id="{E86B0561-1ADA-1448-998A-16A90F547B9C}"/>
                </a:ext>
              </a:extLst>
            </p:cNvPr>
            <p:cNvSpPr>
              <a:spLocks noChangeAspect="1"/>
            </p:cNvSpPr>
            <p:nvPr/>
          </p:nvSpPr>
          <p:spPr>
            <a:xfrm>
              <a:off x="-842559" y="5561839"/>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44" name="Graphic 43" descr="Users">
              <a:extLst>
                <a:ext uri="{FF2B5EF4-FFF2-40B4-BE49-F238E27FC236}">
                  <a16:creationId xmlns:a16="http://schemas.microsoft.com/office/drawing/2014/main" id="{AF567616-DFDF-AF48-8D05-3AE19FE27F7B}"/>
                </a:ext>
              </a:extLst>
            </p:cNvPr>
            <p:cNvPicPr>
              <a:picLocks noChangeAspect="1"/>
            </p:cNvPicPr>
            <p:nvPr/>
          </p:nvPicPr>
          <p:blipFill>
            <a:blip r:embed="rId9">
              <a:extLst>
                <a:ext uri="{96DAC541-7B7A-43D3-8B79-37D633B846F1}">
                  <asvg:svgBlip xmlns="" xmlns:asvg="http://schemas.microsoft.com/office/drawing/2016/SVG/main" r:embed="rId10"/>
                </a:ext>
              </a:extLst>
            </a:blip>
            <a:stretch>
              <a:fillRect/>
            </a:stretch>
          </p:blipFill>
          <p:spPr>
            <a:xfrm>
              <a:off x="-777564" y="5614879"/>
              <a:ext cx="721920" cy="721920"/>
            </a:xfrm>
            <a:prstGeom prst="rect">
              <a:avLst/>
            </a:prstGeom>
          </p:spPr>
        </p:pic>
      </p:grpSp>
      <p:grpSp>
        <p:nvGrpSpPr>
          <p:cNvPr id="36" name="Group 35">
            <a:extLst>
              <a:ext uri="{FF2B5EF4-FFF2-40B4-BE49-F238E27FC236}">
                <a16:creationId xmlns:a16="http://schemas.microsoft.com/office/drawing/2014/main" id="{2F730A18-749A-694F-915B-EB06ED822231}"/>
              </a:ext>
            </a:extLst>
          </p:cNvPr>
          <p:cNvGrpSpPr/>
          <p:nvPr/>
        </p:nvGrpSpPr>
        <p:grpSpPr>
          <a:xfrm>
            <a:off x="866458" y="3015000"/>
            <a:ext cx="827568" cy="828000"/>
            <a:chOff x="-837416" y="3015000"/>
            <a:chExt cx="827568" cy="828000"/>
          </a:xfrm>
        </p:grpSpPr>
        <p:sp>
          <p:nvSpPr>
            <p:cNvPr id="37" name="Oval 36">
              <a:extLst>
                <a:ext uri="{FF2B5EF4-FFF2-40B4-BE49-F238E27FC236}">
                  <a16:creationId xmlns:a16="http://schemas.microsoft.com/office/drawing/2014/main" id="{3481AF53-C649-6D40-9B9D-591B94A6FE95}"/>
                </a:ext>
              </a:extLst>
            </p:cNvPr>
            <p:cNvSpPr>
              <a:spLocks noChangeAspect="1"/>
            </p:cNvSpPr>
            <p:nvPr/>
          </p:nvSpPr>
          <p:spPr>
            <a:xfrm>
              <a:off x="-837416" y="301500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8" name="Graphic 37" descr="Coffee">
              <a:extLst>
                <a:ext uri="{FF2B5EF4-FFF2-40B4-BE49-F238E27FC236}">
                  <a16:creationId xmlns:a16="http://schemas.microsoft.com/office/drawing/2014/main" id="{C7E7D462-FEEB-2745-BD85-FB44309908F8}"/>
                </a:ext>
              </a:extLst>
            </p:cNvPr>
            <p:cNvPicPr>
              <a:picLocks noChangeAspect="1"/>
            </p:cNvPicPr>
            <p:nvPr/>
          </p:nvPicPr>
          <p:blipFill>
            <a:blip r:embed="rId11">
              <a:extLst>
                <a:ext uri="{96DAC541-7B7A-43D3-8B79-37D633B846F1}">
                  <asvg:svgBlip xmlns="" xmlns:asvg="http://schemas.microsoft.com/office/drawing/2016/SVG/main" r:embed="rId12"/>
                </a:ext>
              </a:extLst>
            </a:blip>
            <a:stretch>
              <a:fillRect/>
            </a:stretch>
          </p:blipFill>
          <p:spPr>
            <a:xfrm>
              <a:off x="-698172" y="3065465"/>
              <a:ext cx="620915" cy="620915"/>
            </a:xfrm>
            <a:prstGeom prst="rect">
              <a:avLst/>
            </a:prstGeom>
          </p:spPr>
        </p:pic>
      </p:grpSp>
      <p:sp>
        <p:nvSpPr>
          <p:cNvPr id="53" name="Freeform 52">
            <a:extLst>
              <a:ext uri="{FF2B5EF4-FFF2-40B4-BE49-F238E27FC236}">
                <a16:creationId xmlns:a16="http://schemas.microsoft.com/office/drawing/2014/main" id="{D8570D61-80ED-ED4D-A2BC-6698342388C9}"/>
              </a:ext>
            </a:extLst>
          </p:cNvPr>
          <p:cNvSpPr/>
          <p:nvPr/>
        </p:nvSpPr>
        <p:spPr>
          <a:xfrm>
            <a:off x="0" y="-8534400"/>
            <a:ext cx="1280242" cy="23926799"/>
          </a:xfrm>
          <a:custGeom>
            <a:avLst/>
            <a:gdLst>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7" fmla="*/ 1280160 w 1280160"/>
              <a:gd name="connsiteY7" fmla="*/ 0 h 23926799"/>
              <a:gd name="connsiteX0" fmla="*/ 1280160 w 1280182"/>
              <a:gd name="connsiteY0" fmla="*/ 0 h 23926799"/>
              <a:gd name="connsiteX1" fmla="*/ 1280160 w 1280182"/>
              <a:gd name="connsiteY1" fmla="*/ 11137327 h 23926799"/>
              <a:gd name="connsiteX2" fmla="*/ 659246 w 1280182"/>
              <a:gd name="connsiteY2" fmla="*/ 11963399 h 23926799"/>
              <a:gd name="connsiteX3" fmla="*/ 1280160 w 1280182"/>
              <a:gd name="connsiteY3" fmla="*/ 12789472 h 23926799"/>
              <a:gd name="connsiteX4" fmla="*/ 1280160 w 1280182"/>
              <a:gd name="connsiteY4" fmla="*/ 23926799 h 23926799"/>
              <a:gd name="connsiteX5" fmla="*/ 0 w 1280182"/>
              <a:gd name="connsiteY5" fmla="*/ 23926799 h 23926799"/>
              <a:gd name="connsiteX6" fmla="*/ 0 w 1280182"/>
              <a:gd name="connsiteY6" fmla="*/ 0 h 23926799"/>
              <a:gd name="connsiteX7" fmla="*/ 1280160 w 1280182"/>
              <a:gd name="connsiteY7" fmla="*/ 0 h 23926799"/>
              <a:gd name="connsiteX0" fmla="*/ 1280160 w 1280231"/>
              <a:gd name="connsiteY0" fmla="*/ 0 h 23926799"/>
              <a:gd name="connsiteX1" fmla="*/ 1280160 w 1280231"/>
              <a:gd name="connsiteY1" fmla="*/ 11137327 h 23926799"/>
              <a:gd name="connsiteX2" fmla="*/ 659246 w 1280231"/>
              <a:gd name="connsiteY2" fmla="*/ 11963399 h 23926799"/>
              <a:gd name="connsiteX3" fmla="*/ 1280160 w 1280231"/>
              <a:gd name="connsiteY3" fmla="*/ 12789472 h 23926799"/>
              <a:gd name="connsiteX4" fmla="*/ 1280160 w 1280231"/>
              <a:gd name="connsiteY4" fmla="*/ 23926799 h 23926799"/>
              <a:gd name="connsiteX5" fmla="*/ 0 w 1280231"/>
              <a:gd name="connsiteY5" fmla="*/ 23926799 h 23926799"/>
              <a:gd name="connsiteX6" fmla="*/ 0 w 1280231"/>
              <a:gd name="connsiteY6" fmla="*/ 0 h 23926799"/>
              <a:gd name="connsiteX7" fmla="*/ 1280160 w 128023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2"/>
              <a:gd name="connsiteY0" fmla="*/ 0 h 23926799"/>
              <a:gd name="connsiteX1" fmla="*/ 1280160 w 1280242"/>
              <a:gd name="connsiteY1" fmla="*/ 11137327 h 23926799"/>
              <a:gd name="connsiteX2" fmla="*/ 742373 w 1280242"/>
              <a:gd name="connsiteY2" fmla="*/ 11966863 h 23926799"/>
              <a:gd name="connsiteX3" fmla="*/ 1280160 w 1280242"/>
              <a:gd name="connsiteY3" fmla="*/ 12789472 h 23926799"/>
              <a:gd name="connsiteX4" fmla="*/ 1280160 w 1280242"/>
              <a:gd name="connsiteY4" fmla="*/ 23926799 h 23926799"/>
              <a:gd name="connsiteX5" fmla="*/ 0 w 1280242"/>
              <a:gd name="connsiteY5" fmla="*/ 23926799 h 23926799"/>
              <a:gd name="connsiteX6" fmla="*/ 0 w 1280242"/>
              <a:gd name="connsiteY6" fmla="*/ 0 h 23926799"/>
              <a:gd name="connsiteX7" fmla="*/ 1280160 w 1280242"/>
              <a:gd name="connsiteY7" fmla="*/ 0 h 2392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0242" h="23926799">
                <a:moveTo>
                  <a:pt x="1280160" y="0"/>
                </a:moveTo>
                <a:lnTo>
                  <a:pt x="1280160" y="11137327"/>
                </a:lnTo>
                <a:cubicBezTo>
                  <a:pt x="1287934" y="11540842"/>
                  <a:pt x="743219" y="11525247"/>
                  <a:pt x="742373" y="11966863"/>
                </a:cubicBezTo>
                <a:cubicBezTo>
                  <a:pt x="741527" y="12408479"/>
                  <a:pt x="1284472" y="12396353"/>
                  <a:pt x="1280160" y="12789472"/>
                </a:cubicBezTo>
                <a:lnTo>
                  <a:pt x="1280160" y="23926799"/>
                </a:lnTo>
                <a:lnTo>
                  <a:pt x="0" y="23926799"/>
                </a:lnTo>
                <a:lnTo>
                  <a:pt x="0" y="0"/>
                </a:lnTo>
                <a:lnTo>
                  <a:pt x="128016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LT"/>
          </a:p>
        </p:txBody>
      </p:sp>
      <p:pic>
        <p:nvPicPr>
          <p:cNvPr id="46" name="Graphic 45" descr="Lightbulb">
            <a:hlinkClick r:id="" action="ppaction://hlinkshowjump?jump=firstslide"/>
            <a:extLst>
              <a:ext uri="{FF2B5EF4-FFF2-40B4-BE49-F238E27FC236}">
                <a16:creationId xmlns:a16="http://schemas.microsoft.com/office/drawing/2014/main" id="{095381DF-4ADD-A546-B7A3-97F9B35D5998}"/>
              </a:ext>
            </a:extLst>
          </p:cNvPr>
          <p:cNvPicPr>
            <a:picLocks noChangeAspect="1"/>
          </p:cNvPicPr>
          <p:nvPr/>
        </p:nvPicPr>
        <p:blipFill>
          <a:blip r:embed="rId13">
            <a:extLst>
              <a:ext uri="{96DAC541-7B7A-43D3-8B79-37D633B846F1}">
                <asvg:svgBlip xmlns="" xmlns:asvg="http://schemas.microsoft.com/office/drawing/2016/SVG/main" r:embed="rId14"/>
              </a:ext>
            </a:extLst>
          </a:blip>
          <a:stretch>
            <a:fillRect/>
          </a:stretch>
        </p:blipFill>
        <p:spPr>
          <a:xfrm>
            <a:off x="277756" y="530641"/>
            <a:ext cx="703036" cy="703036"/>
          </a:xfrm>
          <a:prstGeom prst="rect">
            <a:avLst/>
          </a:prstGeom>
        </p:spPr>
      </p:pic>
      <p:pic>
        <p:nvPicPr>
          <p:cNvPr id="47" name="Graphic 46" descr="Upward trend">
            <a:hlinkClick r:id="rId15" action="ppaction://hlinksldjump"/>
            <a:extLst>
              <a:ext uri="{FF2B5EF4-FFF2-40B4-BE49-F238E27FC236}">
                <a16:creationId xmlns:a16="http://schemas.microsoft.com/office/drawing/2014/main" id="{B832EAA4-A87F-254A-9D07-680C50988D71}"/>
              </a:ext>
            </a:extLst>
          </p:cNvPr>
          <p:cNvPicPr>
            <a:picLocks noChangeAspect="1"/>
          </p:cNvPicPr>
          <p:nvPr/>
        </p:nvPicPr>
        <p:blipFill>
          <a:blip r:embed="rId16">
            <a:extLst>
              <a:ext uri="{96DAC541-7B7A-43D3-8B79-37D633B846F1}">
                <asvg:svgBlip xmlns="" xmlns:asvg="http://schemas.microsoft.com/office/drawing/2016/SVG/main" r:embed="rId17"/>
              </a:ext>
            </a:extLst>
          </a:blip>
          <a:stretch>
            <a:fillRect/>
          </a:stretch>
        </p:blipFill>
        <p:spPr>
          <a:xfrm>
            <a:off x="323106" y="1849411"/>
            <a:ext cx="612336" cy="612336"/>
          </a:xfrm>
          <a:prstGeom prst="rect">
            <a:avLst/>
          </a:prstGeom>
        </p:spPr>
      </p:pic>
      <p:pic>
        <p:nvPicPr>
          <p:cNvPr id="48" name="Graphic 47" descr="Coffee">
            <a:hlinkClick r:id="rId18" action="ppaction://hlinksldjump"/>
            <a:extLst>
              <a:ext uri="{FF2B5EF4-FFF2-40B4-BE49-F238E27FC236}">
                <a16:creationId xmlns:a16="http://schemas.microsoft.com/office/drawing/2014/main" id="{76139D0C-E8ED-BD4A-BC7D-DA32CBABFC9D}"/>
              </a:ext>
            </a:extLst>
          </p:cNvPr>
          <p:cNvPicPr>
            <a:picLocks noChangeAspect="1"/>
          </p:cNvPicPr>
          <p:nvPr/>
        </p:nvPicPr>
        <p:blipFill>
          <a:blip r:embed="rId19">
            <a:extLst>
              <a:ext uri="{96DAC541-7B7A-43D3-8B79-37D633B846F1}">
                <asvg:svgBlip xmlns="" xmlns:asvg="http://schemas.microsoft.com/office/drawing/2016/SVG/main" r:embed="rId20"/>
              </a:ext>
            </a:extLst>
          </a:blip>
          <a:stretch>
            <a:fillRect/>
          </a:stretch>
        </p:blipFill>
        <p:spPr>
          <a:xfrm>
            <a:off x="359877" y="3065464"/>
            <a:ext cx="620915" cy="620915"/>
          </a:xfrm>
          <a:prstGeom prst="rect">
            <a:avLst/>
          </a:prstGeom>
        </p:spPr>
      </p:pic>
      <p:pic>
        <p:nvPicPr>
          <p:cNvPr id="49" name="Graphic 48" descr="Single gear">
            <a:hlinkClick r:id="rId21" action="ppaction://hlinksldjump"/>
            <a:extLst>
              <a:ext uri="{FF2B5EF4-FFF2-40B4-BE49-F238E27FC236}">
                <a16:creationId xmlns:a16="http://schemas.microsoft.com/office/drawing/2014/main" id="{F80A9C59-D028-DD45-A404-F1FD73D9FE95}"/>
              </a:ext>
            </a:extLst>
          </p:cNvPr>
          <p:cNvPicPr>
            <a:picLocks noChangeAspect="1"/>
          </p:cNvPicPr>
          <p:nvPr/>
        </p:nvPicPr>
        <p:blipFill>
          <a:blip r:embed="rId22">
            <a:extLst>
              <a:ext uri="{96DAC541-7B7A-43D3-8B79-37D633B846F1}">
                <asvg:svgBlip xmlns="" xmlns:asvg="http://schemas.microsoft.com/office/drawing/2016/SVG/main" r:embed="rId23"/>
              </a:ext>
            </a:extLst>
          </a:blip>
          <a:stretch>
            <a:fillRect/>
          </a:stretch>
        </p:blipFill>
        <p:spPr>
          <a:xfrm>
            <a:off x="277756" y="4363184"/>
            <a:ext cx="724649" cy="724649"/>
          </a:xfrm>
          <a:prstGeom prst="rect">
            <a:avLst/>
          </a:prstGeom>
        </p:spPr>
      </p:pic>
      <p:pic>
        <p:nvPicPr>
          <p:cNvPr id="50" name="Graphic 49" descr="Users">
            <a:hlinkClick r:id="rId24" action="ppaction://hlinksldjump"/>
            <a:extLst>
              <a:ext uri="{FF2B5EF4-FFF2-40B4-BE49-F238E27FC236}">
                <a16:creationId xmlns:a16="http://schemas.microsoft.com/office/drawing/2014/main" id="{957D1896-688B-AC48-A75A-C606BA6DE0BD}"/>
              </a:ext>
            </a:extLst>
          </p:cNvPr>
          <p:cNvPicPr>
            <a:picLocks noChangeAspect="1"/>
          </p:cNvPicPr>
          <p:nvPr/>
        </p:nvPicPr>
        <p:blipFill>
          <a:blip r:embed="rId25">
            <a:extLst>
              <a:ext uri="{96DAC541-7B7A-43D3-8B79-37D633B846F1}">
                <asvg:svgBlip xmlns="" xmlns:asvg="http://schemas.microsoft.com/office/drawing/2016/SVG/main" r:embed="rId26"/>
              </a:ext>
            </a:extLst>
          </a:blip>
          <a:stretch>
            <a:fillRect/>
          </a:stretch>
        </p:blipFill>
        <p:spPr>
          <a:xfrm>
            <a:off x="280485" y="5614878"/>
            <a:ext cx="721920" cy="721920"/>
          </a:xfrm>
          <a:prstGeom prst="rect">
            <a:avLst/>
          </a:prstGeom>
        </p:spPr>
      </p:pic>
      <p:sp>
        <p:nvSpPr>
          <p:cNvPr id="54" name="TextBox 53">
            <a:extLst>
              <a:ext uri="{FF2B5EF4-FFF2-40B4-BE49-F238E27FC236}">
                <a16:creationId xmlns:a16="http://schemas.microsoft.com/office/drawing/2014/main" id="{F4793002-F2B1-C64A-879E-E95939DDD4E7}"/>
              </a:ext>
            </a:extLst>
          </p:cNvPr>
          <p:cNvSpPr txBox="1"/>
          <p:nvPr/>
        </p:nvSpPr>
        <p:spPr>
          <a:xfrm>
            <a:off x="5048423" y="583080"/>
            <a:ext cx="2738250" cy="584775"/>
          </a:xfrm>
          <a:prstGeom prst="rect">
            <a:avLst/>
          </a:prstGeom>
          <a:noFill/>
        </p:spPr>
        <p:txBody>
          <a:bodyPr wrap="none" rtlCol="0">
            <a:spAutoFit/>
          </a:bodyPr>
          <a:lstStyle/>
          <a:p>
            <a:pPr algn="ctr"/>
            <a:r>
              <a:rPr lang="en-LT" sz="3200" b="1" spc="300">
                <a:solidFill>
                  <a:schemeClr val="tx1">
                    <a:lumMod val="75000"/>
                    <a:lumOff val="25000"/>
                  </a:schemeClr>
                </a:solidFill>
                <a:latin typeface="Montserrat" pitchFamily="2" charset="77"/>
              </a:rPr>
              <a:t>SOLUTION</a:t>
            </a:r>
          </a:p>
        </p:txBody>
      </p:sp>
      <p:sp>
        <p:nvSpPr>
          <p:cNvPr id="55" name="TextBox 54">
            <a:extLst>
              <a:ext uri="{FF2B5EF4-FFF2-40B4-BE49-F238E27FC236}">
                <a16:creationId xmlns:a16="http://schemas.microsoft.com/office/drawing/2014/main" id="{653A1236-0885-C44D-937C-9BC64BFE41A9}"/>
              </a:ext>
            </a:extLst>
          </p:cNvPr>
          <p:cNvSpPr txBox="1"/>
          <p:nvPr/>
        </p:nvSpPr>
        <p:spPr>
          <a:xfrm>
            <a:off x="2272661" y="2633577"/>
            <a:ext cx="2008884" cy="400110"/>
          </a:xfrm>
          <a:prstGeom prst="rect">
            <a:avLst/>
          </a:prstGeom>
          <a:noFill/>
        </p:spPr>
        <p:txBody>
          <a:bodyPr wrap="none" rtlCol="0">
            <a:spAutoFit/>
          </a:bodyPr>
          <a:lstStyle/>
          <a:p>
            <a:pPr algn="ctr"/>
            <a:r>
              <a:rPr lang="en-LT" sz="2000" b="1" spc="300">
                <a:solidFill>
                  <a:schemeClr val="tx1">
                    <a:lumMod val="75000"/>
                    <a:lumOff val="25000"/>
                  </a:schemeClr>
                </a:solidFill>
                <a:latin typeface="Montserrat" pitchFamily="2" charset="77"/>
              </a:rPr>
              <a:t>PRODUCTS</a:t>
            </a:r>
          </a:p>
        </p:txBody>
      </p:sp>
      <p:sp>
        <p:nvSpPr>
          <p:cNvPr id="56" name="TextBox 55">
            <a:extLst>
              <a:ext uri="{FF2B5EF4-FFF2-40B4-BE49-F238E27FC236}">
                <a16:creationId xmlns:a16="http://schemas.microsoft.com/office/drawing/2014/main" id="{82B71ED1-C86B-514B-B62B-6ABC3180B913}"/>
              </a:ext>
            </a:extLst>
          </p:cNvPr>
          <p:cNvSpPr txBox="1"/>
          <p:nvPr/>
        </p:nvSpPr>
        <p:spPr>
          <a:xfrm>
            <a:off x="2660585" y="2957463"/>
            <a:ext cx="1233030" cy="523220"/>
          </a:xfrm>
          <a:prstGeom prst="rect">
            <a:avLst/>
          </a:prstGeom>
          <a:noFill/>
        </p:spPr>
        <p:txBody>
          <a:bodyPr wrap="none" rtlCol="0">
            <a:spAutoFit/>
          </a:bodyPr>
          <a:lstStyle/>
          <a:p>
            <a:pPr algn="ctr"/>
            <a:r>
              <a:rPr lang="en-LT" sz="1400">
                <a:solidFill>
                  <a:schemeClr val="tx1">
                    <a:lumMod val="75000"/>
                    <a:lumOff val="25000"/>
                  </a:schemeClr>
                </a:solidFill>
                <a:latin typeface="Montserrat" pitchFamily="2" charset="77"/>
              </a:rPr>
              <a:t>Insert more</a:t>
            </a:r>
          </a:p>
          <a:p>
            <a:pPr algn="ctr"/>
            <a:r>
              <a:rPr lang="en-GB" sz="1400">
                <a:solidFill>
                  <a:schemeClr val="tx1">
                    <a:lumMod val="75000"/>
                    <a:lumOff val="25000"/>
                  </a:schemeClr>
                </a:solidFill>
                <a:latin typeface="Montserrat" pitchFamily="2" charset="77"/>
              </a:rPr>
              <a:t>info</a:t>
            </a:r>
            <a:r>
              <a:rPr lang="en-LT" sz="1400">
                <a:solidFill>
                  <a:schemeClr val="tx1">
                    <a:lumMod val="75000"/>
                    <a:lumOff val="25000"/>
                  </a:schemeClr>
                </a:solidFill>
                <a:latin typeface="Montserrat" pitchFamily="2" charset="77"/>
              </a:rPr>
              <a:t> here</a:t>
            </a:r>
          </a:p>
        </p:txBody>
      </p:sp>
      <p:sp>
        <p:nvSpPr>
          <p:cNvPr id="57" name="TextBox 56">
            <a:extLst>
              <a:ext uri="{FF2B5EF4-FFF2-40B4-BE49-F238E27FC236}">
                <a16:creationId xmlns:a16="http://schemas.microsoft.com/office/drawing/2014/main" id="{71085908-652F-764F-80BA-458FB6022487}"/>
              </a:ext>
            </a:extLst>
          </p:cNvPr>
          <p:cNvSpPr txBox="1"/>
          <p:nvPr/>
        </p:nvSpPr>
        <p:spPr>
          <a:xfrm>
            <a:off x="2370444" y="5112898"/>
            <a:ext cx="1813317" cy="400110"/>
          </a:xfrm>
          <a:prstGeom prst="rect">
            <a:avLst/>
          </a:prstGeom>
          <a:noFill/>
        </p:spPr>
        <p:txBody>
          <a:bodyPr wrap="none" rtlCol="0">
            <a:spAutoFit/>
          </a:bodyPr>
          <a:lstStyle/>
          <a:p>
            <a:pPr algn="ctr"/>
            <a:r>
              <a:rPr lang="en-LT" sz="2000" b="1" spc="300">
                <a:solidFill>
                  <a:schemeClr val="tx1">
                    <a:lumMod val="75000"/>
                    <a:lumOff val="25000"/>
                  </a:schemeClr>
                </a:solidFill>
                <a:latin typeface="Montserrat" pitchFamily="2" charset="77"/>
              </a:rPr>
              <a:t>SERVICES</a:t>
            </a:r>
          </a:p>
        </p:txBody>
      </p:sp>
      <p:sp>
        <p:nvSpPr>
          <p:cNvPr id="58" name="TextBox 57">
            <a:extLst>
              <a:ext uri="{FF2B5EF4-FFF2-40B4-BE49-F238E27FC236}">
                <a16:creationId xmlns:a16="http://schemas.microsoft.com/office/drawing/2014/main" id="{A2FAA9DE-1447-E340-9B96-00A7DCBCFF6C}"/>
              </a:ext>
            </a:extLst>
          </p:cNvPr>
          <p:cNvSpPr txBox="1"/>
          <p:nvPr/>
        </p:nvSpPr>
        <p:spPr>
          <a:xfrm>
            <a:off x="2660585" y="5436784"/>
            <a:ext cx="1233030" cy="523220"/>
          </a:xfrm>
          <a:prstGeom prst="rect">
            <a:avLst/>
          </a:prstGeom>
          <a:noFill/>
        </p:spPr>
        <p:txBody>
          <a:bodyPr wrap="none" rtlCol="0">
            <a:spAutoFit/>
          </a:bodyPr>
          <a:lstStyle/>
          <a:p>
            <a:pPr algn="ctr"/>
            <a:r>
              <a:rPr lang="en-LT" sz="1400">
                <a:solidFill>
                  <a:schemeClr val="tx1">
                    <a:lumMod val="75000"/>
                    <a:lumOff val="25000"/>
                  </a:schemeClr>
                </a:solidFill>
                <a:latin typeface="Montserrat" pitchFamily="2" charset="77"/>
              </a:rPr>
              <a:t>Insert more</a:t>
            </a:r>
          </a:p>
          <a:p>
            <a:pPr algn="ctr"/>
            <a:r>
              <a:rPr lang="en-GB" sz="1400">
                <a:solidFill>
                  <a:schemeClr val="tx1">
                    <a:lumMod val="75000"/>
                    <a:lumOff val="25000"/>
                  </a:schemeClr>
                </a:solidFill>
                <a:latin typeface="Montserrat" pitchFamily="2" charset="77"/>
              </a:rPr>
              <a:t>info</a:t>
            </a:r>
            <a:r>
              <a:rPr lang="en-LT" sz="1400">
                <a:solidFill>
                  <a:schemeClr val="tx1">
                    <a:lumMod val="75000"/>
                    <a:lumOff val="25000"/>
                  </a:schemeClr>
                </a:solidFill>
                <a:latin typeface="Montserrat" pitchFamily="2" charset="77"/>
              </a:rPr>
              <a:t> here</a:t>
            </a:r>
          </a:p>
        </p:txBody>
      </p:sp>
      <p:sp>
        <p:nvSpPr>
          <p:cNvPr id="59" name="TextBox 58">
            <a:extLst>
              <a:ext uri="{FF2B5EF4-FFF2-40B4-BE49-F238E27FC236}">
                <a16:creationId xmlns:a16="http://schemas.microsoft.com/office/drawing/2014/main" id="{CA2D1C03-B795-9B41-8C4C-11493AFAE9D5}"/>
              </a:ext>
            </a:extLst>
          </p:cNvPr>
          <p:cNvSpPr txBox="1"/>
          <p:nvPr/>
        </p:nvSpPr>
        <p:spPr>
          <a:xfrm>
            <a:off x="8384805" y="2633577"/>
            <a:ext cx="2335896" cy="400110"/>
          </a:xfrm>
          <a:prstGeom prst="rect">
            <a:avLst/>
          </a:prstGeom>
          <a:noFill/>
        </p:spPr>
        <p:txBody>
          <a:bodyPr wrap="none" rtlCol="0">
            <a:spAutoFit/>
          </a:bodyPr>
          <a:lstStyle/>
          <a:p>
            <a:pPr algn="ctr"/>
            <a:r>
              <a:rPr lang="en-LT" sz="2000" b="1" spc="300">
                <a:solidFill>
                  <a:schemeClr val="tx1">
                    <a:lumMod val="75000"/>
                    <a:lumOff val="25000"/>
                  </a:schemeClr>
                </a:solidFill>
                <a:latin typeface="Montserrat" pitchFamily="2" charset="77"/>
              </a:rPr>
              <a:t>INNOVATION</a:t>
            </a:r>
          </a:p>
        </p:txBody>
      </p:sp>
      <p:sp>
        <p:nvSpPr>
          <p:cNvPr id="60" name="TextBox 59">
            <a:extLst>
              <a:ext uri="{FF2B5EF4-FFF2-40B4-BE49-F238E27FC236}">
                <a16:creationId xmlns:a16="http://schemas.microsoft.com/office/drawing/2014/main" id="{2CF9A360-F20B-C740-A9A2-AF5397042A9E}"/>
              </a:ext>
            </a:extLst>
          </p:cNvPr>
          <p:cNvSpPr txBox="1"/>
          <p:nvPr/>
        </p:nvSpPr>
        <p:spPr>
          <a:xfrm>
            <a:off x="8936233" y="2957463"/>
            <a:ext cx="1233030" cy="523220"/>
          </a:xfrm>
          <a:prstGeom prst="rect">
            <a:avLst/>
          </a:prstGeom>
          <a:noFill/>
        </p:spPr>
        <p:txBody>
          <a:bodyPr wrap="none" rtlCol="0">
            <a:spAutoFit/>
          </a:bodyPr>
          <a:lstStyle/>
          <a:p>
            <a:pPr algn="ctr"/>
            <a:r>
              <a:rPr lang="en-LT" sz="1400">
                <a:solidFill>
                  <a:schemeClr val="tx1">
                    <a:lumMod val="75000"/>
                    <a:lumOff val="25000"/>
                  </a:schemeClr>
                </a:solidFill>
                <a:latin typeface="Montserrat" pitchFamily="2" charset="77"/>
              </a:rPr>
              <a:t>Insert more</a:t>
            </a:r>
          </a:p>
          <a:p>
            <a:pPr algn="ctr"/>
            <a:r>
              <a:rPr lang="en-GB" sz="1400">
                <a:solidFill>
                  <a:schemeClr val="tx1">
                    <a:lumMod val="75000"/>
                    <a:lumOff val="25000"/>
                  </a:schemeClr>
                </a:solidFill>
                <a:latin typeface="Montserrat" pitchFamily="2" charset="77"/>
              </a:rPr>
              <a:t>info</a:t>
            </a:r>
            <a:r>
              <a:rPr lang="en-LT" sz="1400">
                <a:solidFill>
                  <a:schemeClr val="tx1">
                    <a:lumMod val="75000"/>
                    <a:lumOff val="25000"/>
                  </a:schemeClr>
                </a:solidFill>
                <a:latin typeface="Montserrat" pitchFamily="2" charset="77"/>
              </a:rPr>
              <a:t> here</a:t>
            </a:r>
          </a:p>
        </p:txBody>
      </p:sp>
      <p:sp>
        <p:nvSpPr>
          <p:cNvPr id="61" name="TextBox 60">
            <a:extLst>
              <a:ext uri="{FF2B5EF4-FFF2-40B4-BE49-F238E27FC236}">
                <a16:creationId xmlns:a16="http://schemas.microsoft.com/office/drawing/2014/main" id="{AD10DA66-2AA2-1C4B-8896-F8D12CDACEC9}"/>
              </a:ext>
            </a:extLst>
          </p:cNvPr>
          <p:cNvSpPr txBox="1"/>
          <p:nvPr/>
        </p:nvSpPr>
        <p:spPr>
          <a:xfrm>
            <a:off x="8673343" y="5112898"/>
            <a:ext cx="1758816" cy="400110"/>
          </a:xfrm>
          <a:prstGeom prst="rect">
            <a:avLst/>
          </a:prstGeom>
          <a:noFill/>
        </p:spPr>
        <p:txBody>
          <a:bodyPr wrap="none" rtlCol="0">
            <a:spAutoFit/>
          </a:bodyPr>
          <a:lstStyle/>
          <a:p>
            <a:pPr algn="ctr"/>
            <a:r>
              <a:rPr lang="en-LT" sz="2000" b="1" spc="300">
                <a:solidFill>
                  <a:schemeClr val="tx1">
                    <a:lumMod val="75000"/>
                    <a:lumOff val="25000"/>
                  </a:schemeClr>
                </a:solidFill>
                <a:latin typeface="Montserrat" pitchFamily="2" charset="77"/>
              </a:rPr>
              <a:t>SUPPORT</a:t>
            </a:r>
          </a:p>
        </p:txBody>
      </p:sp>
      <p:sp>
        <p:nvSpPr>
          <p:cNvPr id="62" name="TextBox 61">
            <a:extLst>
              <a:ext uri="{FF2B5EF4-FFF2-40B4-BE49-F238E27FC236}">
                <a16:creationId xmlns:a16="http://schemas.microsoft.com/office/drawing/2014/main" id="{17250FDA-DE69-C748-9507-A245EDE34E48}"/>
              </a:ext>
            </a:extLst>
          </p:cNvPr>
          <p:cNvSpPr txBox="1"/>
          <p:nvPr/>
        </p:nvSpPr>
        <p:spPr>
          <a:xfrm>
            <a:off x="8936233" y="5436784"/>
            <a:ext cx="1233030" cy="523220"/>
          </a:xfrm>
          <a:prstGeom prst="rect">
            <a:avLst/>
          </a:prstGeom>
          <a:noFill/>
        </p:spPr>
        <p:txBody>
          <a:bodyPr wrap="none" rtlCol="0">
            <a:spAutoFit/>
          </a:bodyPr>
          <a:lstStyle/>
          <a:p>
            <a:pPr algn="ctr"/>
            <a:r>
              <a:rPr lang="en-LT" sz="1400">
                <a:solidFill>
                  <a:schemeClr val="tx1">
                    <a:lumMod val="75000"/>
                    <a:lumOff val="25000"/>
                  </a:schemeClr>
                </a:solidFill>
                <a:latin typeface="Montserrat" pitchFamily="2" charset="77"/>
              </a:rPr>
              <a:t>Insert more</a:t>
            </a:r>
          </a:p>
          <a:p>
            <a:pPr algn="ctr"/>
            <a:r>
              <a:rPr lang="en-GB" sz="1400">
                <a:solidFill>
                  <a:schemeClr val="tx1">
                    <a:lumMod val="75000"/>
                    <a:lumOff val="25000"/>
                  </a:schemeClr>
                </a:solidFill>
                <a:latin typeface="Montserrat" pitchFamily="2" charset="77"/>
              </a:rPr>
              <a:t>info</a:t>
            </a:r>
            <a:r>
              <a:rPr lang="en-LT" sz="1400">
                <a:solidFill>
                  <a:schemeClr val="tx1">
                    <a:lumMod val="75000"/>
                    <a:lumOff val="25000"/>
                  </a:schemeClr>
                </a:solidFill>
                <a:latin typeface="Montserrat" pitchFamily="2" charset="77"/>
              </a:rPr>
              <a:t> here</a:t>
            </a:r>
          </a:p>
        </p:txBody>
      </p:sp>
      <p:grpSp>
        <p:nvGrpSpPr>
          <p:cNvPr id="63" name="Graphic 43">
            <a:extLst>
              <a:ext uri="{FF2B5EF4-FFF2-40B4-BE49-F238E27FC236}">
                <a16:creationId xmlns:a16="http://schemas.microsoft.com/office/drawing/2014/main" id="{2391C1DC-A460-D448-A383-5453DC668519}"/>
              </a:ext>
            </a:extLst>
          </p:cNvPr>
          <p:cNvGrpSpPr/>
          <p:nvPr/>
        </p:nvGrpSpPr>
        <p:grpSpPr>
          <a:xfrm rot="269299" flipV="1">
            <a:off x="7472552" y="2216626"/>
            <a:ext cx="1458826" cy="482830"/>
            <a:chOff x="5270499" y="2952750"/>
            <a:chExt cx="1652160" cy="946643"/>
          </a:xfrm>
          <a:solidFill>
            <a:schemeClr val="tx1">
              <a:lumMod val="75000"/>
              <a:lumOff val="25000"/>
            </a:schemeClr>
          </a:solidFill>
        </p:grpSpPr>
        <p:sp>
          <p:nvSpPr>
            <p:cNvPr id="64" name="Freeform 63">
              <a:extLst>
                <a:ext uri="{FF2B5EF4-FFF2-40B4-BE49-F238E27FC236}">
                  <a16:creationId xmlns:a16="http://schemas.microsoft.com/office/drawing/2014/main" id="{025EAEF6-98AC-5742-B558-0515DE51B403}"/>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sp>
          <p:nvSpPr>
            <p:cNvPr id="65" name="Freeform 64">
              <a:extLst>
                <a:ext uri="{FF2B5EF4-FFF2-40B4-BE49-F238E27FC236}">
                  <a16:creationId xmlns:a16="http://schemas.microsoft.com/office/drawing/2014/main" id="{3A6E1CB7-BFC2-E84A-A57E-2079AD234860}"/>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grpSp>
      <p:grpSp>
        <p:nvGrpSpPr>
          <p:cNvPr id="66" name="Graphic 43">
            <a:extLst>
              <a:ext uri="{FF2B5EF4-FFF2-40B4-BE49-F238E27FC236}">
                <a16:creationId xmlns:a16="http://schemas.microsoft.com/office/drawing/2014/main" id="{C85A166D-D8E2-BD49-9374-E25C2F778566}"/>
              </a:ext>
            </a:extLst>
          </p:cNvPr>
          <p:cNvGrpSpPr/>
          <p:nvPr/>
        </p:nvGrpSpPr>
        <p:grpSpPr>
          <a:xfrm rot="2571606" flipV="1">
            <a:off x="7406172" y="4110037"/>
            <a:ext cx="1356455" cy="777212"/>
            <a:chOff x="5270499" y="2952750"/>
            <a:chExt cx="1652160" cy="946643"/>
          </a:xfrm>
          <a:solidFill>
            <a:schemeClr val="tx1">
              <a:lumMod val="75000"/>
              <a:lumOff val="25000"/>
            </a:schemeClr>
          </a:solidFill>
        </p:grpSpPr>
        <p:sp>
          <p:nvSpPr>
            <p:cNvPr id="67" name="Freeform 66">
              <a:extLst>
                <a:ext uri="{FF2B5EF4-FFF2-40B4-BE49-F238E27FC236}">
                  <a16:creationId xmlns:a16="http://schemas.microsoft.com/office/drawing/2014/main" id="{B7B1B1FD-851E-D842-BD88-5B61F6656664}"/>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sp>
          <p:nvSpPr>
            <p:cNvPr id="68" name="Freeform 67">
              <a:extLst>
                <a:ext uri="{FF2B5EF4-FFF2-40B4-BE49-F238E27FC236}">
                  <a16:creationId xmlns:a16="http://schemas.microsoft.com/office/drawing/2014/main" id="{E259BC59-DB09-CD49-8CE5-08A309894180}"/>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grpSp>
      <p:grpSp>
        <p:nvGrpSpPr>
          <p:cNvPr id="69" name="Graphic 43">
            <a:extLst>
              <a:ext uri="{FF2B5EF4-FFF2-40B4-BE49-F238E27FC236}">
                <a16:creationId xmlns:a16="http://schemas.microsoft.com/office/drawing/2014/main" id="{88B4B94C-1E81-A941-B417-DD44CE71F4DB}"/>
              </a:ext>
            </a:extLst>
          </p:cNvPr>
          <p:cNvGrpSpPr/>
          <p:nvPr/>
        </p:nvGrpSpPr>
        <p:grpSpPr>
          <a:xfrm rot="417027" flipH="1" flipV="1">
            <a:off x="3858043" y="2373351"/>
            <a:ext cx="1396237" cy="528243"/>
            <a:chOff x="5270499" y="2952750"/>
            <a:chExt cx="1652160" cy="946643"/>
          </a:xfrm>
          <a:solidFill>
            <a:schemeClr val="tx1">
              <a:lumMod val="75000"/>
              <a:lumOff val="25000"/>
            </a:schemeClr>
          </a:solidFill>
        </p:grpSpPr>
        <p:sp>
          <p:nvSpPr>
            <p:cNvPr id="70" name="Freeform 69">
              <a:extLst>
                <a:ext uri="{FF2B5EF4-FFF2-40B4-BE49-F238E27FC236}">
                  <a16:creationId xmlns:a16="http://schemas.microsoft.com/office/drawing/2014/main" id="{17F6B65E-7FA2-2F43-9A86-D82E0B49D0C3}"/>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sp>
          <p:nvSpPr>
            <p:cNvPr id="71" name="Freeform 70">
              <a:extLst>
                <a:ext uri="{FF2B5EF4-FFF2-40B4-BE49-F238E27FC236}">
                  <a16:creationId xmlns:a16="http://schemas.microsoft.com/office/drawing/2014/main" id="{41A9B240-D818-684D-9CD8-53DC49A3B806}"/>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grpSp>
      <p:grpSp>
        <p:nvGrpSpPr>
          <p:cNvPr id="72" name="Graphic 43">
            <a:extLst>
              <a:ext uri="{FF2B5EF4-FFF2-40B4-BE49-F238E27FC236}">
                <a16:creationId xmlns:a16="http://schemas.microsoft.com/office/drawing/2014/main" id="{0E1CEEB8-505A-9A41-B08E-D0ADDF49106D}"/>
              </a:ext>
            </a:extLst>
          </p:cNvPr>
          <p:cNvGrpSpPr/>
          <p:nvPr/>
        </p:nvGrpSpPr>
        <p:grpSpPr>
          <a:xfrm rot="19028394" flipH="1" flipV="1">
            <a:off x="4061834" y="4110037"/>
            <a:ext cx="1356455" cy="777212"/>
            <a:chOff x="5270499" y="2952750"/>
            <a:chExt cx="1652160" cy="946643"/>
          </a:xfrm>
          <a:solidFill>
            <a:schemeClr val="tx1">
              <a:lumMod val="75000"/>
              <a:lumOff val="25000"/>
            </a:schemeClr>
          </a:solidFill>
        </p:grpSpPr>
        <p:sp>
          <p:nvSpPr>
            <p:cNvPr id="73" name="Freeform 72">
              <a:extLst>
                <a:ext uri="{FF2B5EF4-FFF2-40B4-BE49-F238E27FC236}">
                  <a16:creationId xmlns:a16="http://schemas.microsoft.com/office/drawing/2014/main" id="{99F00883-B817-AE4E-B02D-226AC4C53D61}"/>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sp>
          <p:nvSpPr>
            <p:cNvPr id="74" name="Freeform 73">
              <a:extLst>
                <a:ext uri="{FF2B5EF4-FFF2-40B4-BE49-F238E27FC236}">
                  <a16:creationId xmlns:a16="http://schemas.microsoft.com/office/drawing/2014/main" id="{39F0C199-375F-ED43-833A-3A364BAAA48A}"/>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solidFill>
                  <a:schemeClr val="tx1">
                    <a:lumMod val="75000"/>
                    <a:lumOff val="25000"/>
                  </a:schemeClr>
                </a:solidFill>
              </a:endParaRPr>
            </a:p>
          </p:txBody>
        </p:sp>
      </p:grpSp>
      <p:pic>
        <p:nvPicPr>
          <p:cNvPr id="75" name="Graphic 74">
            <a:extLst>
              <a:ext uri="{FF2B5EF4-FFF2-40B4-BE49-F238E27FC236}">
                <a16:creationId xmlns:a16="http://schemas.microsoft.com/office/drawing/2014/main" id="{BA831943-99BF-AE40-962A-929257399ED1}"/>
              </a:ext>
            </a:extLst>
          </p:cNvPr>
          <p:cNvPicPr>
            <a:picLocks noChangeAspect="1"/>
          </p:cNvPicPr>
          <p:nvPr/>
        </p:nvPicPr>
        <p:blipFill>
          <a:blip r:embed="rId27">
            <a:extLst>
              <a:ext uri="{96DAC541-7B7A-43D3-8B79-37D633B846F1}">
                <asvg:svgBlip xmlns="" xmlns:asvg="http://schemas.microsoft.com/office/drawing/2016/SVG/main" r:embed="rId28"/>
              </a:ext>
            </a:extLst>
          </a:blip>
          <a:stretch>
            <a:fillRect/>
          </a:stretch>
        </p:blipFill>
        <p:spPr>
          <a:xfrm rot="21480000">
            <a:off x="4967136" y="1099264"/>
            <a:ext cx="2900823" cy="123865"/>
          </a:xfrm>
          <a:prstGeom prst="rect">
            <a:avLst/>
          </a:prstGeom>
        </p:spPr>
      </p:pic>
      <p:grpSp>
        <p:nvGrpSpPr>
          <p:cNvPr id="76" name="!!lamp">
            <a:extLst>
              <a:ext uri="{FF2B5EF4-FFF2-40B4-BE49-F238E27FC236}">
                <a16:creationId xmlns:a16="http://schemas.microsoft.com/office/drawing/2014/main" id="{64B4A710-062B-BA45-97F7-EB1BF5AFEE21}"/>
              </a:ext>
            </a:extLst>
          </p:cNvPr>
          <p:cNvGrpSpPr/>
          <p:nvPr/>
        </p:nvGrpSpPr>
        <p:grpSpPr>
          <a:xfrm>
            <a:off x="5454272" y="1900169"/>
            <a:ext cx="1832745" cy="3262051"/>
            <a:chOff x="5429256" y="2247889"/>
            <a:chExt cx="1325619" cy="2359432"/>
          </a:xfrm>
          <a:solidFill>
            <a:schemeClr val="tx1">
              <a:lumMod val="75000"/>
              <a:lumOff val="25000"/>
            </a:schemeClr>
          </a:solidFill>
        </p:grpSpPr>
        <p:sp>
          <p:nvSpPr>
            <p:cNvPr id="77" name="Freeform 76">
              <a:extLst>
                <a:ext uri="{FF2B5EF4-FFF2-40B4-BE49-F238E27FC236}">
                  <a16:creationId xmlns:a16="http://schemas.microsoft.com/office/drawing/2014/main" id="{85684E59-001B-F94D-ADBF-700163FC2519}"/>
                </a:ext>
              </a:extLst>
            </p:cNvPr>
            <p:cNvSpPr/>
            <p:nvPr/>
          </p:nvSpPr>
          <p:spPr>
            <a:xfrm>
              <a:off x="5698604" y="3544319"/>
              <a:ext cx="282809" cy="544047"/>
            </a:xfrm>
            <a:custGeom>
              <a:avLst/>
              <a:gdLst>
                <a:gd name="connsiteX0" fmla="*/ 44102 w 282809"/>
                <a:gd name="connsiteY0" fmla="*/ 50993 h 544047"/>
                <a:gd name="connsiteX1" fmla="*/ 88988 w 282809"/>
                <a:gd name="connsiteY1" fmla="*/ 55042 h 544047"/>
                <a:gd name="connsiteX2" fmla="*/ 226227 w 282809"/>
                <a:gd name="connsiteY2" fmla="*/ 501725 h 544047"/>
                <a:gd name="connsiteX3" fmla="*/ 151218 w 282809"/>
                <a:gd name="connsiteY3" fmla="*/ 472039 h 544047"/>
                <a:gd name="connsiteX4" fmla="*/ 95060 w 282809"/>
                <a:gd name="connsiteY4" fmla="*/ 357302 h 544047"/>
                <a:gd name="connsiteX5" fmla="*/ 44102 w 282809"/>
                <a:gd name="connsiteY5" fmla="*/ 50993 h 544047"/>
                <a:gd name="connsiteX6" fmla="*/ 121095 w 282809"/>
                <a:gd name="connsiteY6" fmla="*/ 501288 h 544047"/>
                <a:gd name="connsiteX7" fmla="*/ 218488 w 282809"/>
                <a:gd name="connsiteY7" fmla="*/ 544111 h 544047"/>
                <a:gd name="connsiteX8" fmla="*/ 273217 w 282809"/>
                <a:gd name="connsiteY8" fmla="*/ 528395 h 544047"/>
                <a:gd name="connsiteX9" fmla="*/ 282623 w 282809"/>
                <a:gd name="connsiteY9" fmla="*/ 513472 h 544047"/>
                <a:gd name="connsiteX10" fmla="*/ 277266 w 282809"/>
                <a:gd name="connsiteY10" fmla="*/ 496724 h 544047"/>
                <a:gd name="connsiteX11" fmla="*/ 134073 w 282809"/>
                <a:gd name="connsiteY11" fmla="*/ 30674 h 544047"/>
                <a:gd name="connsiteX12" fmla="*/ 126215 w 282809"/>
                <a:gd name="connsiteY12" fmla="*/ 11147 h 544047"/>
                <a:gd name="connsiteX13" fmla="*/ 105379 w 282809"/>
                <a:gd name="connsiteY13" fmla="*/ 8250 h 544047"/>
                <a:gd name="connsiteX14" fmla="*/ 38029 w 282809"/>
                <a:gd name="connsiteY14" fmla="*/ 3051 h 544047"/>
                <a:gd name="connsiteX15" fmla="*/ 18582 w 282809"/>
                <a:gd name="connsiteY15" fmla="*/ 1940 h 544047"/>
                <a:gd name="connsiteX16" fmla="*/ 6597 w 282809"/>
                <a:gd name="connsiteY16" fmla="*/ 17299 h 544047"/>
                <a:gd name="connsiteX17" fmla="*/ 55055 w 282809"/>
                <a:gd name="connsiteY17" fmla="*/ 369843 h 544047"/>
                <a:gd name="connsiteX18" fmla="*/ 121095 w 282809"/>
                <a:gd name="connsiteY18" fmla="*/ 501288 h 54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2809" h="544047">
                  <a:moveTo>
                    <a:pt x="44102" y="50993"/>
                  </a:moveTo>
                  <a:cubicBezTo>
                    <a:pt x="58468" y="55121"/>
                    <a:pt x="74105" y="56510"/>
                    <a:pt x="88988" y="55042"/>
                  </a:cubicBezTo>
                  <a:cubicBezTo>
                    <a:pt x="74423" y="214744"/>
                    <a:pt x="124508" y="377781"/>
                    <a:pt x="226227" y="501725"/>
                  </a:cubicBezTo>
                  <a:cubicBezTo>
                    <a:pt x="201304" y="504622"/>
                    <a:pt x="171260" y="492756"/>
                    <a:pt x="151218" y="472039"/>
                  </a:cubicBezTo>
                  <a:cubicBezTo>
                    <a:pt x="123556" y="443622"/>
                    <a:pt x="109983" y="404927"/>
                    <a:pt x="95060" y="357302"/>
                  </a:cubicBezTo>
                  <a:cubicBezTo>
                    <a:pt x="60929" y="248320"/>
                    <a:pt x="33505" y="149260"/>
                    <a:pt x="44102" y="50993"/>
                  </a:cubicBezTo>
                  <a:close/>
                  <a:moveTo>
                    <a:pt x="121095" y="501288"/>
                  </a:moveTo>
                  <a:cubicBezTo>
                    <a:pt x="147130" y="528117"/>
                    <a:pt x="183563" y="544111"/>
                    <a:pt x="218488" y="544111"/>
                  </a:cubicBezTo>
                  <a:cubicBezTo>
                    <a:pt x="238531" y="544111"/>
                    <a:pt x="257462" y="538674"/>
                    <a:pt x="273217" y="528395"/>
                  </a:cubicBezTo>
                  <a:cubicBezTo>
                    <a:pt x="278377" y="525061"/>
                    <a:pt x="281830" y="519584"/>
                    <a:pt x="282623" y="513472"/>
                  </a:cubicBezTo>
                  <a:cubicBezTo>
                    <a:pt x="283378" y="507400"/>
                    <a:pt x="281472" y="501249"/>
                    <a:pt x="277266" y="496724"/>
                  </a:cubicBezTo>
                  <a:cubicBezTo>
                    <a:pt x="163600" y="371907"/>
                    <a:pt x="110062" y="197758"/>
                    <a:pt x="134073" y="30674"/>
                  </a:cubicBezTo>
                  <a:cubicBezTo>
                    <a:pt x="135145" y="23212"/>
                    <a:pt x="132168" y="15751"/>
                    <a:pt x="126215" y="11147"/>
                  </a:cubicBezTo>
                  <a:cubicBezTo>
                    <a:pt x="120301" y="6504"/>
                    <a:pt x="112404" y="5393"/>
                    <a:pt x="105379" y="8250"/>
                  </a:cubicBezTo>
                  <a:cubicBezTo>
                    <a:pt x="84225" y="16862"/>
                    <a:pt x="57595" y="14759"/>
                    <a:pt x="38029" y="3051"/>
                  </a:cubicBezTo>
                  <a:cubicBezTo>
                    <a:pt x="32155" y="-481"/>
                    <a:pt x="24853" y="-918"/>
                    <a:pt x="18582" y="1940"/>
                  </a:cubicBezTo>
                  <a:cubicBezTo>
                    <a:pt x="12312" y="4757"/>
                    <a:pt x="7827" y="10552"/>
                    <a:pt x="6597" y="17299"/>
                  </a:cubicBezTo>
                  <a:cubicBezTo>
                    <a:pt x="-14279" y="133464"/>
                    <a:pt x="17590" y="250344"/>
                    <a:pt x="55055" y="369843"/>
                  </a:cubicBezTo>
                  <a:cubicBezTo>
                    <a:pt x="68073" y="411555"/>
                    <a:pt x="84345" y="463387"/>
                    <a:pt x="121095" y="501288"/>
                  </a:cubicBezTo>
                  <a:close/>
                </a:path>
              </a:pathLst>
            </a:custGeom>
            <a:grpFill/>
            <a:ln w="39688" cap="flat">
              <a:noFill/>
              <a:prstDash val="solid"/>
              <a:round/>
            </a:ln>
          </p:spPr>
          <p:txBody>
            <a:bodyPr rtlCol="0" anchor="ctr"/>
            <a:lstStyle/>
            <a:p>
              <a:endParaRPr lang="en-LT"/>
            </a:p>
          </p:txBody>
        </p:sp>
        <p:sp>
          <p:nvSpPr>
            <p:cNvPr id="78" name="Freeform 77">
              <a:extLst>
                <a:ext uri="{FF2B5EF4-FFF2-40B4-BE49-F238E27FC236}">
                  <a16:creationId xmlns:a16="http://schemas.microsoft.com/office/drawing/2014/main" id="{DD38751F-C508-CA4D-B971-1721A4FF628A}"/>
                </a:ext>
              </a:extLst>
            </p:cNvPr>
            <p:cNvSpPr/>
            <p:nvPr/>
          </p:nvSpPr>
          <p:spPr>
            <a:xfrm>
              <a:off x="5429256" y="3190991"/>
              <a:ext cx="1325619" cy="1416330"/>
            </a:xfrm>
            <a:custGeom>
              <a:avLst/>
              <a:gdLst>
                <a:gd name="connsiteX0" fmla="*/ 298468 w 1325619"/>
                <a:gd name="connsiteY0" fmla="*/ 855377 h 1416330"/>
                <a:gd name="connsiteX1" fmla="*/ 304977 w 1325619"/>
                <a:gd name="connsiteY1" fmla="*/ 870537 h 1416330"/>
                <a:gd name="connsiteX2" fmla="*/ 241596 w 1325619"/>
                <a:gd name="connsiteY2" fmla="*/ 1101162 h 1416330"/>
                <a:gd name="connsiteX3" fmla="*/ 690859 w 1325619"/>
                <a:gd name="connsiteY3" fmla="*/ 1259872 h 1416330"/>
                <a:gd name="connsiteX4" fmla="*/ 1090473 w 1325619"/>
                <a:gd name="connsiteY4" fmla="*/ 1110290 h 1416330"/>
                <a:gd name="connsiteX5" fmla="*/ 979030 w 1325619"/>
                <a:gd name="connsiteY5" fmla="*/ 885896 h 1416330"/>
                <a:gd name="connsiteX6" fmla="*/ 1000382 w 1325619"/>
                <a:gd name="connsiteY6" fmla="*/ 810411 h 1416330"/>
                <a:gd name="connsiteX7" fmla="*/ 1011415 w 1325619"/>
                <a:gd name="connsiteY7" fmla="*/ 813030 h 1416330"/>
                <a:gd name="connsiteX8" fmla="*/ 1124167 w 1325619"/>
                <a:gd name="connsiteY8" fmla="*/ 1255784 h 1416330"/>
                <a:gd name="connsiteX9" fmla="*/ 614500 w 1325619"/>
                <a:gd name="connsiteY9" fmla="*/ 1372227 h 1416330"/>
                <a:gd name="connsiteX10" fmla="*/ 104674 w 1325619"/>
                <a:gd name="connsiteY10" fmla="*/ 1234432 h 1416330"/>
                <a:gd name="connsiteX11" fmla="*/ 298468 w 1325619"/>
                <a:gd name="connsiteY11" fmla="*/ 855377 h 1416330"/>
                <a:gd name="connsiteX12" fmla="*/ 361095 w 1325619"/>
                <a:gd name="connsiteY12" fmla="*/ 969478 h 1416330"/>
                <a:gd name="connsiteX13" fmla="*/ 408561 w 1325619"/>
                <a:gd name="connsiteY13" fmla="*/ 1005793 h 1416330"/>
                <a:gd name="connsiteX14" fmla="*/ 531593 w 1325619"/>
                <a:gd name="connsiteY14" fmla="*/ 1038058 h 1416330"/>
                <a:gd name="connsiteX15" fmla="*/ 692248 w 1325619"/>
                <a:gd name="connsiteY15" fmla="*/ 1047623 h 1416330"/>
                <a:gd name="connsiteX16" fmla="*/ 769837 w 1325619"/>
                <a:gd name="connsiteY16" fmla="*/ 1045361 h 1416330"/>
                <a:gd name="connsiteX17" fmla="*/ 922951 w 1325619"/>
                <a:gd name="connsiteY17" fmla="*/ 1000514 h 1416330"/>
                <a:gd name="connsiteX18" fmla="*/ 799523 w 1325619"/>
                <a:gd name="connsiteY18" fmla="*/ 1077865 h 1416330"/>
                <a:gd name="connsiteX19" fmla="*/ 553818 w 1325619"/>
                <a:gd name="connsiteY19" fmla="*/ 1078738 h 1416330"/>
                <a:gd name="connsiteX20" fmla="*/ 542705 w 1325619"/>
                <a:gd name="connsiteY20" fmla="*/ 1077349 h 1416330"/>
                <a:gd name="connsiteX21" fmla="*/ 361095 w 1325619"/>
                <a:gd name="connsiteY21" fmla="*/ 969478 h 1416330"/>
                <a:gd name="connsiteX22" fmla="*/ 323273 w 1325619"/>
                <a:gd name="connsiteY22" fmla="*/ 998847 h 1416330"/>
                <a:gd name="connsiteX23" fmla="*/ 359944 w 1325619"/>
                <a:gd name="connsiteY23" fmla="*/ 1054568 h 1416330"/>
                <a:gd name="connsiteX24" fmla="*/ 537546 w 1325619"/>
                <a:gd name="connsiteY24" fmla="*/ 1118942 h 1416330"/>
                <a:gd name="connsiteX25" fmla="*/ 548619 w 1325619"/>
                <a:gd name="connsiteY25" fmla="*/ 1120331 h 1416330"/>
                <a:gd name="connsiteX26" fmla="*/ 696018 w 1325619"/>
                <a:gd name="connsiteY26" fmla="*/ 1132515 h 1416330"/>
                <a:gd name="connsiteX27" fmla="*/ 810914 w 1325619"/>
                <a:gd name="connsiteY27" fmla="*/ 1118267 h 1416330"/>
                <a:gd name="connsiteX28" fmla="*/ 970537 w 1325619"/>
                <a:gd name="connsiteY28" fmla="*/ 911773 h 1416330"/>
                <a:gd name="connsiteX29" fmla="*/ 1028044 w 1325619"/>
                <a:gd name="connsiteY29" fmla="*/ 947412 h 1416330"/>
                <a:gd name="connsiteX30" fmla="*/ 1058524 w 1325619"/>
                <a:gd name="connsiteY30" fmla="*/ 1004364 h 1416330"/>
                <a:gd name="connsiteX31" fmla="*/ 1020424 w 1325619"/>
                <a:gd name="connsiteY31" fmla="*/ 1134340 h 1416330"/>
                <a:gd name="connsiteX32" fmla="*/ 908902 w 1325619"/>
                <a:gd name="connsiteY32" fmla="*/ 1193554 h 1416330"/>
                <a:gd name="connsiteX33" fmla="*/ 690859 w 1325619"/>
                <a:gd name="connsiteY33" fmla="*/ 1217922 h 1416330"/>
                <a:gd name="connsiteX34" fmla="*/ 476268 w 1325619"/>
                <a:gd name="connsiteY34" fmla="*/ 1189188 h 1416330"/>
                <a:gd name="connsiteX35" fmla="*/ 355063 w 1325619"/>
                <a:gd name="connsiteY35" fmla="*/ 1145810 h 1416330"/>
                <a:gd name="connsiteX36" fmla="*/ 306247 w 1325619"/>
                <a:gd name="connsiteY36" fmla="*/ 1112711 h 1416330"/>
                <a:gd name="connsiteX37" fmla="*/ 253423 w 1325619"/>
                <a:gd name="connsiteY37" fmla="*/ 989918 h 1416330"/>
                <a:gd name="connsiteX38" fmla="*/ 286681 w 1325619"/>
                <a:gd name="connsiteY38" fmla="*/ 935387 h 1416330"/>
                <a:gd name="connsiteX39" fmla="*/ 322360 w 1325619"/>
                <a:gd name="connsiteY39" fmla="*/ 919829 h 1416330"/>
                <a:gd name="connsiteX40" fmla="*/ 324344 w 1325619"/>
                <a:gd name="connsiteY40" fmla="*/ 934871 h 1416330"/>
                <a:gd name="connsiteX41" fmla="*/ 315693 w 1325619"/>
                <a:gd name="connsiteY41" fmla="*/ 960747 h 1416330"/>
                <a:gd name="connsiteX42" fmla="*/ 323273 w 1325619"/>
                <a:gd name="connsiteY42" fmla="*/ 998847 h 1416330"/>
                <a:gd name="connsiteX43" fmla="*/ 260686 w 1325619"/>
                <a:gd name="connsiteY43" fmla="*/ 587883 h 1416330"/>
                <a:gd name="connsiteX44" fmla="*/ 231238 w 1325619"/>
                <a:gd name="connsiteY44" fmla="*/ 410757 h 1416330"/>
                <a:gd name="connsiteX45" fmla="*/ 223776 w 1325619"/>
                <a:gd name="connsiteY45" fmla="*/ 321183 h 1416330"/>
                <a:gd name="connsiteX46" fmla="*/ 221236 w 1325619"/>
                <a:gd name="connsiteY46" fmla="*/ 235378 h 1416330"/>
                <a:gd name="connsiteX47" fmla="*/ 585409 w 1325619"/>
                <a:gd name="connsiteY47" fmla="*/ 315507 h 1416330"/>
                <a:gd name="connsiteX48" fmla="*/ 669308 w 1325619"/>
                <a:gd name="connsiteY48" fmla="*/ 313999 h 1416330"/>
                <a:gd name="connsiteX49" fmla="*/ 914419 w 1325619"/>
                <a:gd name="connsiteY49" fmla="*/ 286932 h 1416330"/>
                <a:gd name="connsiteX50" fmla="*/ 994310 w 1325619"/>
                <a:gd name="connsiteY50" fmla="*/ 260024 h 1416330"/>
                <a:gd name="connsiteX51" fmla="*/ 1032489 w 1325619"/>
                <a:gd name="connsiteY51" fmla="*/ 334795 h 1416330"/>
                <a:gd name="connsiteX52" fmla="*/ 1011772 w 1325619"/>
                <a:gd name="connsiteY52" fmla="*/ 530574 h 1416330"/>
                <a:gd name="connsiteX53" fmla="*/ 959940 w 1325619"/>
                <a:gd name="connsiteY53" fmla="*/ 801521 h 1416330"/>
                <a:gd name="connsiteX54" fmla="*/ 911799 w 1325619"/>
                <a:gd name="connsiteY54" fmla="*/ 938641 h 1416330"/>
                <a:gd name="connsiteX55" fmla="*/ 822939 w 1325619"/>
                <a:gd name="connsiteY55" fmla="*/ 990870 h 1416330"/>
                <a:gd name="connsiteX56" fmla="*/ 717092 w 1325619"/>
                <a:gd name="connsiteY56" fmla="*/ 1005435 h 1416330"/>
                <a:gd name="connsiteX57" fmla="*/ 536593 w 1325619"/>
                <a:gd name="connsiteY57" fmla="*/ 996426 h 1416330"/>
                <a:gd name="connsiteX58" fmla="*/ 427850 w 1325619"/>
                <a:gd name="connsiteY58" fmla="*/ 968526 h 1416330"/>
                <a:gd name="connsiteX59" fmla="*/ 340100 w 1325619"/>
                <a:gd name="connsiteY59" fmla="*/ 845098 h 1416330"/>
                <a:gd name="connsiteX60" fmla="*/ 309065 w 1325619"/>
                <a:gd name="connsiteY60" fmla="*/ 760841 h 1416330"/>
                <a:gd name="connsiteX61" fmla="*/ 260686 w 1325619"/>
                <a:gd name="connsiteY61" fmla="*/ 587883 h 1416330"/>
                <a:gd name="connsiteX62" fmla="*/ 1047253 w 1325619"/>
                <a:gd name="connsiteY62" fmla="*/ 613481 h 1416330"/>
                <a:gd name="connsiteX63" fmla="*/ 1209496 w 1325619"/>
                <a:gd name="connsiteY63" fmla="*/ 318841 h 1416330"/>
                <a:gd name="connsiteX64" fmla="*/ 1068367 w 1325619"/>
                <a:gd name="connsiteY64" fmla="*/ 290226 h 1416330"/>
                <a:gd name="connsiteX65" fmla="*/ 1067692 w 1325619"/>
                <a:gd name="connsiteY65" fmla="*/ 262405 h 1416330"/>
                <a:gd name="connsiteX66" fmla="*/ 1238944 w 1325619"/>
                <a:gd name="connsiteY66" fmla="*/ 237243 h 1416330"/>
                <a:gd name="connsiteX67" fmla="*/ 1272956 w 1325619"/>
                <a:gd name="connsiteY67" fmla="*/ 400280 h 1416330"/>
                <a:gd name="connsiteX68" fmla="*/ 1186358 w 1325619"/>
                <a:gd name="connsiteY68" fmla="*/ 542004 h 1416330"/>
                <a:gd name="connsiteX69" fmla="*/ 1030386 w 1325619"/>
                <a:gd name="connsiteY69" fmla="*/ 681029 h 1416330"/>
                <a:gd name="connsiteX70" fmla="*/ 1041498 w 1325619"/>
                <a:gd name="connsiteY70" fmla="*/ 616696 h 1416330"/>
                <a:gd name="connsiteX71" fmla="*/ 1047253 w 1325619"/>
                <a:gd name="connsiteY71" fmla="*/ 613481 h 1416330"/>
                <a:gd name="connsiteX72" fmla="*/ 1063842 w 1325619"/>
                <a:gd name="connsiteY72" fmla="*/ 375356 h 1416330"/>
                <a:gd name="connsiteX73" fmla="*/ 1094441 w 1325619"/>
                <a:gd name="connsiteY73" fmla="*/ 308840 h 1416330"/>
                <a:gd name="connsiteX74" fmla="*/ 1167943 w 1325619"/>
                <a:gd name="connsiteY74" fmla="*/ 399922 h 1416330"/>
                <a:gd name="connsiteX75" fmla="*/ 1126072 w 1325619"/>
                <a:gd name="connsiteY75" fmla="*/ 476242 h 1416330"/>
                <a:gd name="connsiteX76" fmla="*/ 1050706 w 1325619"/>
                <a:gd name="connsiteY76" fmla="*/ 554863 h 1416330"/>
                <a:gd name="connsiteX77" fmla="*/ 1063842 w 1325619"/>
                <a:gd name="connsiteY77" fmla="*/ 375356 h 1416330"/>
                <a:gd name="connsiteX78" fmla="*/ 13155 w 1325619"/>
                <a:gd name="connsiteY78" fmla="*/ 1159740 h 1416330"/>
                <a:gd name="connsiteX79" fmla="*/ 614500 w 1325619"/>
                <a:gd name="connsiteY79" fmla="*/ 1414177 h 1416330"/>
                <a:gd name="connsiteX80" fmla="*/ 1251168 w 1325619"/>
                <a:gd name="connsiteY80" fmla="*/ 1155137 h 1416330"/>
                <a:gd name="connsiteX81" fmla="*/ 1010780 w 1325619"/>
                <a:gd name="connsiteY81" fmla="*/ 771279 h 1416330"/>
                <a:gd name="connsiteX82" fmla="*/ 1016932 w 1325619"/>
                <a:gd name="connsiteY82" fmla="*/ 743577 h 1416330"/>
                <a:gd name="connsiteX83" fmla="*/ 1029473 w 1325619"/>
                <a:gd name="connsiteY83" fmla="*/ 738140 h 1416330"/>
                <a:gd name="connsiteX84" fmla="*/ 1304785 w 1325619"/>
                <a:gd name="connsiteY84" fmla="*/ 261413 h 1416330"/>
                <a:gd name="connsiteX85" fmla="*/ 1066978 w 1325619"/>
                <a:gd name="connsiteY85" fmla="*/ 192238 h 1416330"/>
                <a:gd name="connsiteX86" fmla="*/ 1073169 w 1325619"/>
                <a:gd name="connsiteY86" fmla="*/ 168108 h 1416330"/>
                <a:gd name="connsiteX87" fmla="*/ 784244 w 1325619"/>
                <a:gd name="connsiteY87" fmla="*/ 8286 h 1416330"/>
                <a:gd name="connsiteX88" fmla="*/ 725784 w 1325619"/>
                <a:gd name="connsiteY88" fmla="*/ 4317 h 1416330"/>
                <a:gd name="connsiteX89" fmla="*/ 661649 w 1325619"/>
                <a:gd name="connsiteY89" fmla="*/ 71 h 1416330"/>
                <a:gd name="connsiteX90" fmla="*/ 640694 w 1325619"/>
                <a:gd name="connsiteY90" fmla="*/ 21065 h 1416330"/>
                <a:gd name="connsiteX91" fmla="*/ 661649 w 1325619"/>
                <a:gd name="connsiteY91" fmla="*/ 42060 h 1416330"/>
                <a:gd name="connsiteX92" fmla="*/ 721617 w 1325619"/>
                <a:gd name="connsiteY92" fmla="*/ 46068 h 1416330"/>
                <a:gd name="connsiteX93" fmla="*/ 782021 w 1325619"/>
                <a:gd name="connsiteY93" fmla="*/ 50117 h 1416330"/>
                <a:gd name="connsiteX94" fmla="*/ 1031457 w 1325619"/>
                <a:gd name="connsiteY94" fmla="*/ 163861 h 1416330"/>
                <a:gd name="connsiteX95" fmla="*/ 666292 w 1325619"/>
                <a:gd name="connsiteY95" fmla="*/ 272089 h 1416330"/>
                <a:gd name="connsiteX96" fmla="*/ 232230 w 1325619"/>
                <a:gd name="connsiteY96" fmla="*/ 181879 h 1416330"/>
                <a:gd name="connsiteX97" fmla="*/ 230404 w 1325619"/>
                <a:gd name="connsiteY97" fmla="*/ 138223 h 1416330"/>
                <a:gd name="connsiteX98" fmla="*/ 427215 w 1325619"/>
                <a:gd name="connsiteY98" fmla="*/ 57578 h 1416330"/>
                <a:gd name="connsiteX99" fmla="*/ 444638 w 1325619"/>
                <a:gd name="connsiteY99" fmla="*/ 33567 h 1416330"/>
                <a:gd name="connsiteX100" fmla="*/ 420626 w 1325619"/>
                <a:gd name="connsiteY100" fmla="*/ 16104 h 1416330"/>
                <a:gd name="connsiteX101" fmla="*/ 190240 w 1325619"/>
                <a:gd name="connsiteY101" fmla="*/ 126039 h 1416330"/>
                <a:gd name="connsiteX102" fmla="*/ 196749 w 1325619"/>
                <a:gd name="connsiteY102" fmla="*/ 470567 h 1416330"/>
                <a:gd name="connsiteX103" fmla="*/ 232071 w 1325619"/>
                <a:gd name="connsiteY103" fmla="*/ 647811 h 1416330"/>
                <a:gd name="connsiteX104" fmla="*/ 282990 w 1325619"/>
                <a:gd name="connsiteY104" fmla="*/ 812752 h 1416330"/>
                <a:gd name="connsiteX105" fmla="*/ 13155 w 1325619"/>
                <a:gd name="connsiteY105" fmla="*/ 1159740 h 141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325619" h="1416330">
                  <a:moveTo>
                    <a:pt x="298468" y="855377"/>
                  </a:moveTo>
                  <a:cubicBezTo>
                    <a:pt x="300492" y="860496"/>
                    <a:pt x="302913" y="865418"/>
                    <a:pt x="304977" y="870537"/>
                  </a:cubicBezTo>
                  <a:cubicBezTo>
                    <a:pt x="209489" y="901375"/>
                    <a:pt x="183216" y="1013571"/>
                    <a:pt x="241596" y="1101162"/>
                  </a:cubicBezTo>
                  <a:cubicBezTo>
                    <a:pt x="329901" y="1233758"/>
                    <a:pt x="545999" y="1257649"/>
                    <a:pt x="690859" y="1259872"/>
                  </a:cubicBezTo>
                  <a:cubicBezTo>
                    <a:pt x="826034" y="1261936"/>
                    <a:pt x="1018996" y="1246934"/>
                    <a:pt x="1090473" y="1110290"/>
                  </a:cubicBezTo>
                  <a:cubicBezTo>
                    <a:pt x="1141590" y="1012698"/>
                    <a:pt x="1089441" y="893199"/>
                    <a:pt x="979030" y="885896"/>
                  </a:cubicBezTo>
                  <a:cubicBezTo>
                    <a:pt x="986690" y="860933"/>
                    <a:pt x="993715" y="835771"/>
                    <a:pt x="1000382" y="810411"/>
                  </a:cubicBezTo>
                  <a:cubicBezTo>
                    <a:pt x="1003398" y="812157"/>
                    <a:pt x="1006891" y="813387"/>
                    <a:pt x="1011415" y="813030"/>
                  </a:cubicBezTo>
                  <a:cubicBezTo>
                    <a:pt x="1275734" y="793147"/>
                    <a:pt x="1278552" y="1120609"/>
                    <a:pt x="1124167" y="1255784"/>
                  </a:cubicBezTo>
                  <a:cubicBezTo>
                    <a:pt x="987245" y="1375601"/>
                    <a:pt x="786546" y="1381475"/>
                    <a:pt x="614500" y="1372227"/>
                  </a:cubicBezTo>
                  <a:cubicBezTo>
                    <a:pt x="461584" y="1364012"/>
                    <a:pt x="219411" y="1353773"/>
                    <a:pt x="104674" y="1234432"/>
                  </a:cubicBezTo>
                  <a:cubicBezTo>
                    <a:pt x="-48480" y="1075047"/>
                    <a:pt x="97094" y="840772"/>
                    <a:pt x="298468" y="855377"/>
                  </a:cubicBezTo>
                  <a:close/>
                  <a:moveTo>
                    <a:pt x="361095" y="969478"/>
                  </a:moveTo>
                  <a:cubicBezTo>
                    <a:pt x="374470" y="983528"/>
                    <a:pt x="390067" y="996267"/>
                    <a:pt x="408561" y="1005793"/>
                  </a:cubicBezTo>
                  <a:cubicBezTo>
                    <a:pt x="447257" y="1025795"/>
                    <a:pt x="490556" y="1033137"/>
                    <a:pt x="531593" y="1038058"/>
                  </a:cubicBezTo>
                  <a:cubicBezTo>
                    <a:pt x="584774" y="1044448"/>
                    <a:pt x="638551" y="1047623"/>
                    <a:pt x="692248" y="1047623"/>
                  </a:cubicBezTo>
                  <a:cubicBezTo>
                    <a:pt x="718164" y="1047623"/>
                    <a:pt x="744040" y="1046829"/>
                    <a:pt x="769837" y="1045361"/>
                  </a:cubicBezTo>
                  <a:cubicBezTo>
                    <a:pt x="816549" y="1042662"/>
                    <a:pt x="878105" y="1034367"/>
                    <a:pt x="922951" y="1000514"/>
                  </a:cubicBezTo>
                  <a:cubicBezTo>
                    <a:pt x="900052" y="1037661"/>
                    <a:pt x="848339" y="1064133"/>
                    <a:pt x="799523" y="1077865"/>
                  </a:cubicBezTo>
                  <a:cubicBezTo>
                    <a:pt x="721934" y="1099812"/>
                    <a:pt x="636447" y="1089057"/>
                    <a:pt x="553818" y="1078738"/>
                  </a:cubicBezTo>
                  <a:lnTo>
                    <a:pt x="542705" y="1077349"/>
                  </a:lnTo>
                  <a:cubicBezTo>
                    <a:pt x="475078" y="1068935"/>
                    <a:pt x="365064" y="1043654"/>
                    <a:pt x="361095" y="969478"/>
                  </a:cubicBezTo>
                  <a:close/>
                  <a:moveTo>
                    <a:pt x="323273" y="998847"/>
                  </a:moveTo>
                  <a:cubicBezTo>
                    <a:pt x="329782" y="1020715"/>
                    <a:pt x="342958" y="1039448"/>
                    <a:pt x="359944" y="1054568"/>
                  </a:cubicBezTo>
                  <a:cubicBezTo>
                    <a:pt x="407331" y="1096796"/>
                    <a:pt x="476467" y="1111361"/>
                    <a:pt x="537546" y="1118942"/>
                  </a:cubicBezTo>
                  <a:lnTo>
                    <a:pt x="548619" y="1120331"/>
                  </a:lnTo>
                  <a:cubicBezTo>
                    <a:pt x="595331" y="1126204"/>
                    <a:pt x="645615" y="1132515"/>
                    <a:pt x="696018" y="1132515"/>
                  </a:cubicBezTo>
                  <a:cubicBezTo>
                    <a:pt x="734753" y="1132515"/>
                    <a:pt x="773568" y="1128784"/>
                    <a:pt x="810914" y="1118267"/>
                  </a:cubicBezTo>
                  <a:cubicBezTo>
                    <a:pt x="891043" y="1095685"/>
                    <a:pt x="1024274" y="1014127"/>
                    <a:pt x="970537" y="911773"/>
                  </a:cubicBezTo>
                  <a:cubicBezTo>
                    <a:pt x="1002485" y="917607"/>
                    <a:pt x="1016535" y="936260"/>
                    <a:pt x="1028044" y="947412"/>
                  </a:cubicBezTo>
                  <a:cubicBezTo>
                    <a:pt x="1044594" y="963406"/>
                    <a:pt x="1054158" y="981663"/>
                    <a:pt x="1058524" y="1004364"/>
                  </a:cubicBezTo>
                  <a:cubicBezTo>
                    <a:pt x="1067057" y="1048734"/>
                    <a:pt x="1052492" y="1102074"/>
                    <a:pt x="1020424" y="1134340"/>
                  </a:cubicBezTo>
                  <a:cubicBezTo>
                    <a:pt x="990738" y="1164146"/>
                    <a:pt x="948113" y="1181926"/>
                    <a:pt x="908902" y="1193554"/>
                  </a:cubicBezTo>
                  <a:cubicBezTo>
                    <a:pt x="839211" y="1214192"/>
                    <a:pt x="763249" y="1218914"/>
                    <a:pt x="690859" y="1217922"/>
                  </a:cubicBezTo>
                  <a:cubicBezTo>
                    <a:pt x="618746" y="1216930"/>
                    <a:pt x="546119" y="1207286"/>
                    <a:pt x="476268" y="1189188"/>
                  </a:cubicBezTo>
                  <a:cubicBezTo>
                    <a:pt x="435628" y="1178711"/>
                    <a:pt x="391853" y="1165971"/>
                    <a:pt x="355063" y="1145810"/>
                  </a:cubicBezTo>
                  <a:cubicBezTo>
                    <a:pt x="338791" y="1134777"/>
                    <a:pt x="322519" y="1123744"/>
                    <a:pt x="306247" y="1112711"/>
                  </a:cubicBezTo>
                  <a:cubicBezTo>
                    <a:pt x="270012" y="1088144"/>
                    <a:pt x="246438" y="1032740"/>
                    <a:pt x="253423" y="989918"/>
                  </a:cubicBezTo>
                  <a:cubicBezTo>
                    <a:pt x="257034" y="967851"/>
                    <a:pt x="268742" y="948682"/>
                    <a:pt x="286681" y="935387"/>
                  </a:cubicBezTo>
                  <a:cubicBezTo>
                    <a:pt x="292555" y="931021"/>
                    <a:pt x="315018" y="915344"/>
                    <a:pt x="322360" y="919829"/>
                  </a:cubicBezTo>
                  <a:cubicBezTo>
                    <a:pt x="326448" y="922330"/>
                    <a:pt x="326131" y="928203"/>
                    <a:pt x="324344" y="934871"/>
                  </a:cubicBezTo>
                  <a:cubicBezTo>
                    <a:pt x="321725" y="944475"/>
                    <a:pt x="315931" y="955707"/>
                    <a:pt x="315693" y="960747"/>
                  </a:cubicBezTo>
                  <a:cubicBezTo>
                    <a:pt x="314978" y="972336"/>
                    <a:pt x="319939" y="987616"/>
                    <a:pt x="323273" y="998847"/>
                  </a:cubicBezTo>
                  <a:close/>
                  <a:moveTo>
                    <a:pt x="260686" y="587883"/>
                  </a:moveTo>
                  <a:cubicBezTo>
                    <a:pt x="247708" y="529383"/>
                    <a:pt x="237865" y="470249"/>
                    <a:pt x="231238" y="410757"/>
                  </a:cubicBezTo>
                  <a:cubicBezTo>
                    <a:pt x="227943" y="380952"/>
                    <a:pt x="225443" y="351107"/>
                    <a:pt x="223776" y="321183"/>
                  </a:cubicBezTo>
                  <a:cubicBezTo>
                    <a:pt x="223022" y="308006"/>
                    <a:pt x="229412" y="242998"/>
                    <a:pt x="221236" y="235378"/>
                  </a:cubicBezTo>
                  <a:cubicBezTo>
                    <a:pt x="296127" y="304673"/>
                    <a:pt x="468490" y="315507"/>
                    <a:pt x="585409" y="315507"/>
                  </a:cubicBezTo>
                  <a:cubicBezTo>
                    <a:pt x="619262" y="315507"/>
                    <a:pt x="648433" y="314595"/>
                    <a:pt x="669308" y="313999"/>
                  </a:cubicBezTo>
                  <a:cubicBezTo>
                    <a:pt x="751144" y="311459"/>
                    <a:pt x="834567" y="306260"/>
                    <a:pt x="914419" y="286932"/>
                  </a:cubicBezTo>
                  <a:cubicBezTo>
                    <a:pt x="942041" y="280304"/>
                    <a:pt x="967362" y="267604"/>
                    <a:pt x="994310" y="260024"/>
                  </a:cubicBezTo>
                  <a:cubicBezTo>
                    <a:pt x="1050309" y="244308"/>
                    <a:pt x="1040585" y="299037"/>
                    <a:pt x="1032489" y="334795"/>
                  </a:cubicBezTo>
                  <a:cubicBezTo>
                    <a:pt x="1018122" y="398335"/>
                    <a:pt x="1019630" y="465606"/>
                    <a:pt x="1011772" y="530574"/>
                  </a:cubicBezTo>
                  <a:cubicBezTo>
                    <a:pt x="1000739" y="621935"/>
                    <a:pt x="983475" y="712541"/>
                    <a:pt x="959940" y="801521"/>
                  </a:cubicBezTo>
                  <a:cubicBezTo>
                    <a:pt x="947518" y="848630"/>
                    <a:pt x="937596" y="896493"/>
                    <a:pt x="911799" y="938641"/>
                  </a:cubicBezTo>
                  <a:cubicBezTo>
                    <a:pt x="890686" y="973209"/>
                    <a:pt x="859888" y="978646"/>
                    <a:pt x="822939" y="990870"/>
                  </a:cubicBezTo>
                  <a:cubicBezTo>
                    <a:pt x="788411" y="1002300"/>
                    <a:pt x="753248" y="1004761"/>
                    <a:pt x="717092" y="1005435"/>
                  </a:cubicBezTo>
                  <a:cubicBezTo>
                    <a:pt x="656847" y="1006586"/>
                    <a:pt x="596482" y="1003610"/>
                    <a:pt x="536593" y="996426"/>
                  </a:cubicBezTo>
                  <a:cubicBezTo>
                    <a:pt x="499486" y="991981"/>
                    <a:pt x="460632" y="985512"/>
                    <a:pt x="427850" y="968526"/>
                  </a:cubicBezTo>
                  <a:cubicBezTo>
                    <a:pt x="380264" y="943999"/>
                    <a:pt x="355182" y="894112"/>
                    <a:pt x="340100" y="845098"/>
                  </a:cubicBezTo>
                  <a:cubicBezTo>
                    <a:pt x="331409" y="816642"/>
                    <a:pt x="318629" y="789059"/>
                    <a:pt x="309065" y="760841"/>
                  </a:cubicBezTo>
                  <a:cubicBezTo>
                    <a:pt x="289856" y="704088"/>
                    <a:pt x="273703" y="646303"/>
                    <a:pt x="260686" y="587883"/>
                  </a:cubicBezTo>
                  <a:close/>
                  <a:moveTo>
                    <a:pt x="1047253" y="613481"/>
                  </a:moveTo>
                  <a:cubicBezTo>
                    <a:pt x="1122580" y="548592"/>
                    <a:pt x="1253390" y="434530"/>
                    <a:pt x="1209496" y="318841"/>
                  </a:cubicBezTo>
                  <a:cubicBezTo>
                    <a:pt x="1183143" y="249388"/>
                    <a:pt x="1108491" y="249229"/>
                    <a:pt x="1068367" y="290226"/>
                  </a:cubicBezTo>
                  <a:cubicBezTo>
                    <a:pt x="1068367" y="280939"/>
                    <a:pt x="1067851" y="271692"/>
                    <a:pt x="1067692" y="262405"/>
                  </a:cubicBezTo>
                  <a:cubicBezTo>
                    <a:pt x="1109602" y="188904"/>
                    <a:pt x="1166593" y="180053"/>
                    <a:pt x="1238944" y="237243"/>
                  </a:cubicBezTo>
                  <a:cubicBezTo>
                    <a:pt x="1279385" y="284749"/>
                    <a:pt x="1290696" y="339082"/>
                    <a:pt x="1272956" y="400280"/>
                  </a:cubicBezTo>
                  <a:cubicBezTo>
                    <a:pt x="1259978" y="453937"/>
                    <a:pt x="1223267" y="503071"/>
                    <a:pt x="1186358" y="542004"/>
                  </a:cubicBezTo>
                  <a:cubicBezTo>
                    <a:pt x="1138455" y="592566"/>
                    <a:pt x="1082694" y="635032"/>
                    <a:pt x="1030386" y="681029"/>
                  </a:cubicBezTo>
                  <a:cubicBezTo>
                    <a:pt x="1034553" y="659678"/>
                    <a:pt x="1038006" y="638207"/>
                    <a:pt x="1041498" y="616696"/>
                  </a:cubicBezTo>
                  <a:cubicBezTo>
                    <a:pt x="1043443" y="615862"/>
                    <a:pt x="1045387" y="615069"/>
                    <a:pt x="1047253" y="613481"/>
                  </a:cubicBezTo>
                  <a:close/>
                  <a:moveTo>
                    <a:pt x="1063842" y="375356"/>
                  </a:moveTo>
                  <a:cubicBezTo>
                    <a:pt x="1064477" y="348011"/>
                    <a:pt x="1065231" y="322691"/>
                    <a:pt x="1094441" y="308840"/>
                  </a:cubicBezTo>
                  <a:cubicBezTo>
                    <a:pt x="1155362" y="279868"/>
                    <a:pt x="1183818" y="352496"/>
                    <a:pt x="1167943" y="399922"/>
                  </a:cubicBezTo>
                  <a:cubicBezTo>
                    <a:pt x="1159529" y="428180"/>
                    <a:pt x="1143654" y="453025"/>
                    <a:pt x="1126072" y="476242"/>
                  </a:cubicBezTo>
                  <a:cubicBezTo>
                    <a:pt x="1104046" y="505333"/>
                    <a:pt x="1077892" y="530653"/>
                    <a:pt x="1050706" y="554863"/>
                  </a:cubicBezTo>
                  <a:cubicBezTo>
                    <a:pt x="1058484" y="495292"/>
                    <a:pt x="1062334" y="436038"/>
                    <a:pt x="1063842" y="375356"/>
                  </a:cubicBezTo>
                  <a:close/>
                  <a:moveTo>
                    <a:pt x="13155" y="1159740"/>
                  </a:moveTo>
                  <a:cubicBezTo>
                    <a:pt x="86140" y="1387944"/>
                    <a:pt x="417015" y="1403978"/>
                    <a:pt x="614500" y="1414177"/>
                  </a:cubicBezTo>
                  <a:cubicBezTo>
                    <a:pt x="843219" y="1426044"/>
                    <a:pt x="1146234" y="1397389"/>
                    <a:pt x="1251168" y="1155137"/>
                  </a:cubicBezTo>
                  <a:cubicBezTo>
                    <a:pt x="1328241" y="977218"/>
                    <a:pt x="1221402" y="755285"/>
                    <a:pt x="1010780" y="771279"/>
                  </a:cubicBezTo>
                  <a:cubicBezTo>
                    <a:pt x="1013003" y="762111"/>
                    <a:pt x="1014868" y="752824"/>
                    <a:pt x="1016932" y="743577"/>
                  </a:cubicBezTo>
                  <a:cubicBezTo>
                    <a:pt x="1021218" y="743299"/>
                    <a:pt x="1025544" y="741870"/>
                    <a:pt x="1029473" y="738140"/>
                  </a:cubicBezTo>
                  <a:cubicBezTo>
                    <a:pt x="1151274" y="622054"/>
                    <a:pt x="1398766" y="466320"/>
                    <a:pt x="1304785" y="261413"/>
                  </a:cubicBezTo>
                  <a:cubicBezTo>
                    <a:pt x="1259145" y="161917"/>
                    <a:pt x="1138971" y="131754"/>
                    <a:pt x="1066978" y="192238"/>
                  </a:cubicBezTo>
                  <a:cubicBezTo>
                    <a:pt x="1069994" y="184538"/>
                    <a:pt x="1072296" y="176601"/>
                    <a:pt x="1073169" y="168108"/>
                  </a:cubicBezTo>
                  <a:cubicBezTo>
                    <a:pt x="1081900" y="82700"/>
                    <a:pt x="985380" y="28963"/>
                    <a:pt x="784244" y="8286"/>
                  </a:cubicBezTo>
                  <a:cubicBezTo>
                    <a:pt x="764876" y="8286"/>
                    <a:pt x="745866" y="6381"/>
                    <a:pt x="725784" y="4317"/>
                  </a:cubicBezTo>
                  <a:cubicBezTo>
                    <a:pt x="705146" y="2293"/>
                    <a:pt x="683834" y="71"/>
                    <a:pt x="661649" y="71"/>
                  </a:cubicBezTo>
                  <a:cubicBezTo>
                    <a:pt x="650060" y="71"/>
                    <a:pt x="640694" y="9477"/>
                    <a:pt x="640694" y="21065"/>
                  </a:cubicBezTo>
                  <a:cubicBezTo>
                    <a:pt x="640694" y="32654"/>
                    <a:pt x="650060" y="42060"/>
                    <a:pt x="661649" y="42060"/>
                  </a:cubicBezTo>
                  <a:cubicBezTo>
                    <a:pt x="681691" y="42060"/>
                    <a:pt x="701059" y="44005"/>
                    <a:pt x="721617" y="46068"/>
                  </a:cubicBezTo>
                  <a:cubicBezTo>
                    <a:pt x="741818" y="48093"/>
                    <a:pt x="763685" y="49521"/>
                    <a:pt x="782021" y="50117"/>
                  </a:cubicBezTo>
                  <a:cubicBezTo>
                    <a:pt x="946169" y="67103"/>
                    <a:pt x="1037093" y="108576"/>
                    <a:pt x="1031457" y="163861"/>
                  </a:cubicBezTo>
                  <a:cubicBezTo>
                    <a:pt x="1028481" y="193150"/>
                    <a:pt x="987047" y="262247"/>
                    <a:pt x="666292" y="272089"/>
                  </a:cubicBezTo>
                  <a:cubicBezTo>
                    <a:pt x="347959" y="282209"/>
                    <a:pt x="254494" y="228472"/>
                    <a:pt x="232230" y="181879"/>
                  </a:cubicBezTo>
                  <a:cubicBezTo>
                    <a:pt x="221633" y="159734"/>
                    <a:pt x="226118" y="146359"/>
                    <a:pt x="230404" y="138223"/>
                  </a:cubicBezTo>
                  <a:cubicBezTo>
                    <a:pt x="248660" y="103457"/>
                    <a:pt x="318550" y="74802"/>
                    <a:pt x="427215" y="57578"/>
                  </a:cubicBezTo>
                  <a:cubicBezTo>
                    <a:pt x="438645" y="55713"/>
                    <a:pt x="446423" y="44997"/>
                    <a:pt x="444638" y="33567"/>
                  </a:cubicBezTo>
                  <a:cubicBezTo>
                    <a:pt x="442812" y="22137"/>
                    <a:pt x="432255" y="14517"/>
                    <a:pt x="420626" y="16104"/>
                  </a:cubicBezTo>
                  <a:cubicBezTo>
                    <a:pt x="346292" y="26304"/>
                    <a:pt x="225165" y="47974"/>
                    <a:pt x="190240" y="126039"/>
                  </a:cubicBezTo>
                  <a:cubicBezTo>
                    <a:pt x="146068" y="224742"/>
                    <a:pt x="182065" y="368847"/>
                    <a:pt x="196749" y="470567"/>
                  </a:cubicBezTo>
                  <a:cubicBezTo>
                    <a:pt x="205401" y="530217"/>
                    <a:pt x="217188" y="589431"/>
                    <a:pt x="232071" y="647811"/>
                  </a:cubicBezTo>
                  <a:cubicBezTo>
                    <a:pt x="236317" y="664480"/>
                    <a:pt x="270211" y="812475"/>
                    <a:pt x="282990" y="812752"/>
                  </a:cubicBezTo>
                  <a:cubicBezTo>
                    <a:pt x="100626" y="808546"/>
                    <a:pt x="-45543" y="976225"/>
                    <a:pt x="13155" y="1159740"/>
                  </a:cubicBezTo>
                  <a:close/>
                </a:path>
              </a:pathLst>
            </a:custGeom>
            <a:grpFill/>
            <a:ln w="39688" cap="flat">
              <a:noFill/>
              <a:prstDash val="solid"/>
              <a:round/>
            </a:ln>
          </p:spPr>
          <p:txBody>
            <a:bodyPr rtlCol="0" anchor="ctr"/>
            <a:lstStyle/>
            <a:p>
              <a:endParaRPr lang="en-LT"/>
            </a:p>
          </p:txBody>
        </p:sp>
        <p:sp>
          <p:nvSpPr>
            <p:cNvPr id="79" name="Freeform 78">
              <a:extLst>
                <a:ext uri="{FF2B5EF4-FFF2-40B4-BE49-F238E27FC236}">
                  <a16:creationId xmlns:a16="http://schemas.microsoft.com/office/drawing/2014/main" id="{72D2A168-88FE-2049-9CDD-A84A27967E80}"/>
                </a:ext>
              </a:extLst>
            </p:cNvPr>
            <p:cNvSpPr/>
            <p:nvPr/>
          </p:nvSpPr>
          <p:spPr>
            <a:xfrm>
              <a:off x="5819802" y="2247889"/>
              <a:ext cx="394997" cy="1114173"/>
            </a:xfrm>
            <a:custGeom>
              <a:avLst/>
              <a:gdLst>
                <a:gd name="connsiteX0" fmla="*/ 236926 w 394997"/>
                <a:gd name="connsiteY0" fmla="*/ 668289 h 1114173"/>
                <a:gd name="connsiteX1" fmla="*/ 218312 w 394997"/>
                <a:gd name="connsiteY1" fmla="*/ 1037026 h 1114173"/>
                <a:gd name="connsiteX2" fmla="*/ 120522 w 394997"/>
                <a:gd name="connsiteY2" fmla="*/ 426790 h 1114173"/>
                <a:gd name="connsiteX3" fmla="*/ 334875 w 394997"/>
                <a:gd name="connsiteY3" fmla="*/ 117942 h 1114173"/>
                <a:gd name="connsiteX4" fmla="*/ 236926 w 394997"/>
                <a:gd name="connsiteY4" fmla="*/ 668289 h 1114173"/>
                <a:gd name="connsiteX5" fmla="*/ 327691 w 394997"/>
                <a:gd name="connsiteY5" fmla="*/ 507 h 1114173"/>
                <a:gd name="connsiteX6" fmla="*/ 302093 w 394997"/>
                <a:gd name="connsiteY6" fmla="*/ 34241 h 1114173"/>
                <a:gd name="connsiteX7" fmla="*/ 117149 w 394997"/>
                <a:gd name="connsiteY7" fmla="*/ 361306 h 1114173"/>
                <a:gd name="connsiteX8" fmla="*/ 3166 w 394997"/>
                <a:gd name="connsiteY8" fmla="*/ 623005 h 1114173"/>
                <a:gd name="connsiteX9" fmla="*/ 221130 w 394997"/>
                <a:gd name="connsiteY9" fmla="*/ 1099454 h 1114173"/>
                <a:gd name="connsiteX10" fmla="*/ 232997 w 394997"/>
                <a:gd name="connsiteY10" fmla="*/ 1106836 h 1114173"/>
                <a:gd name="connsiteX11" fmla="*/ 279431 w 394997"/>
                <a:gd name="connsiteY11" fmla="*/ 1107908 h 1114173"/>
                <a:gd name="connsiteX12" fmla="*/ 242006 w 394997"/>
                <a:gd name="connsiteY12" fmla="*/ 978765 h 1114173"/>
                <a:gd name="connsiteX13" fmla="*/ 240815 w 394997"/>
                <a:gd name="connsiteY13" fmla="*/ 807195 h 1114173"/>
                <a:gd name="connsiteX14" fmla="*/ 360513 w 394997"/>
                <a:gd name="connsiteY14" fmla="*/ 468780 h 1114173"/>
                <a:gd name="connsiteX15" fmla="*/ 392461 w 394997"/>
                <a:gd name="connsiteY15" fmla="*/ 205850 h 1114173"/>
                <a:gd name="connsiteX16" fmla="*/ 327691 w 394997"/>
                <a:gd name="connsiteY16" fmla="*/ 507 h 111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4997" h="1114173">
                  <a:moveTo>
                    <a:pt x="236926" y="668289"/>
                  </a:moveTo>
                  <a:cubicBezTo>
                    <a:pt x="192198" y="788185"/>
                    <a:pt x="169219" y="919948"/>
                    <a:pt x="218312" y="1037026"/>
                  </a:cubicBezTo>
                  <a:cubicBezTo>
                    <a:pt x="34162" y="888594"/>
                    <a:pt x="-14058" y="628840"/>
                    <a:pt x="120522" y="426790"/>
                  </a:cubicBezTo>
                  <a:cubicBezTo>
                    <a:pt x="191206" y="320706"/>
                    <a:pt x="293600" y="233790"/>
                    <a:pt x="334875" y="117942"/>
                  </a:cubicBezTo>
                  <a:cubicBezTo>
                    <a:pt x="380436" y="309077"/>
                    <a:pt x="308205" y="477313"/>
                    <a:pt x="236926" y="668289"/>
                  </a:cubicBezTo>
                  <a:close/>
                  <a:moveTo>
                    <a:pt x="327691" y="507"/>
                  </a:moveTo>
                  <a:cubicBezTo>
                    <a:pt x="313404" y="4753"/>
                    <a:pt x="304236" y="19477"/>
                    <a:pt x="302093" y="34241"/>
                  </a:cubicBezTo>
                  <a:cubicBezTo>
                    <a:pt x="281693" y="172076"/>
                    <a:pt x="202080" y="252324"/>
                    <a:pt x="117149" y="361306"/>
                  </a:cubicBezTo>
                  <a:cubicBezTo>
                    <a:pt x="56625" y="438974"/>
                    <a:pt x="15271" y="524422"/>
                    <a:pt x="3166" y="623005"/>
                  </a:cubicBezTo>
                  <a:cubicBezTo>
                    <a:pt x="-18225" y="797591"/>
                    <a:pt x="69960" y="1001982"/>
                    <a:pt x="221130" y="1099454"/>
                  </a:cubicBezTo>
                  <a:cubicBezTo>
                    <a:pt x="225020" y="1101994"/>
                    <a:pt x="228988" y="1104455"/>
                    <a:pt x="232997" y="1106836"/>
                  </a:cubicBezTo>
                  <a:cubicBezTo>
                    <a:pt x="247086" y="1115210"/>
                    <a:pt x="266096" y="1117472"/>
                    <a:pt x="279431" y="1107908"/>
                  </a:cubicBezTo>
                  <a:cubicBezTo>
                    <a:pt x="309514" y="1086278"/>
                    <a:pt x="249586" y="1007340"/>
                    <a:pt x="242006" y="978765"/>
                  </a:cubicBezTo>
                  <a:cubicBezTo>
                    <a:pt x="227123" y="922567"/>
                    <a:pt x="229584" y="863790"/>
                    <a:pt x="240815" y="807195"/>
                  </a:cubicBezTo>
                  <a:cubicBezTo>
                    <a:pt x="264152" y="689164"/>
                    <a:pt x="322452" y="582088"/>
                    <a:pt x="360513" y="468780"/>
                  </a:cubicBezTo>
                  <a:cubicBezTo>
                    <a:pt x="388850" y="384325"/>
                    <a:pt x="400597" y="294671"/>
                    <a:pt x="392461" y="205850"/>
                  </a:cubicBezTo>
                  <a:cubicBezTo>
                    <a:pt x="389366" y="172115"/>
                    <a:pt x="366625" y="-11043"/>
                    <a:pt x="327691" y="507"/>
                  </a:cubicBezTo>
                  <a:close/>
                </a:path>
              </a:pathLst>
            </a:custGeom>
            <a:grpFill/>
            <a:ln w="39688" cap="flat">
              <a:noFill/>
              <a:prstDash val="solid"/>
              <a:round/>
            </a:ln>
          </p:spPr>
          <p:txBody>
            <a:bodyPr rtlCol="0" anchor="ctr"/>
            <a:lstStyle/>
            <a:p>
              <a:endParaRPr lang="en-LT"/>
            </a:p>
          </p:txBody>
        </p:sp>
        <p:sp>
          <p:nvSpPr>
            <p:cNvPr id="80" name="Freeform 79">
              <a:extLst>
                <a:ext uri="{FF2B5EF4-FFF2-40B4-BE49-F238E27FC236}">
                  <a16:creationId xmlns:a16="http://schemas.microsoft.com/office/drawing/2014/main" id="{E5B8A53E-EAEA-CF47-8D84-7557330C7F27}"/>
                </a:ext>
              </a:extLst>
            </p:cNvPr>
            <p:cNvSpPr/>
            <p:nvPr/>
          </p:nvSpPr>
          <p:spPr>
            <a:xfrm>
              <a:off x="6070157" y="2642622"/>
              <a:ext cx="252150" cy="512904"/>
            </a:xfrm>
            <a:custGeom>
              <a:avLst/>
              <a:gdLst>
                <a:gd name="connsiteX0" fmla="*/ 203200 w 252150"/>
                <a:gd name="connsiteY0" fmla="*/ 112075 h 512904"/>
                <a:gd name="connsiteX1" fmla="*/ 49728 w 252150"/>
                <a:gd name="connsiteY1" fmla="*/ 460532 h 512904"/>
                <a:gd name="connsiteX2" fmla="*/ 203200 w 252150"/>
                <a:gd name="connsiteY2" fmla="*/ 112075 h 512904"/>
                <a:gd name="connsiteX3" fmla="*/ 5080 w 252150"/>
                <a:gd name="connsiteY3" fmla="*/ 450293 h 512904"/>
                <a:gd name="connsiteX4" fmla="*/ 39211 w 252150"/>
                <a:gd name="connsiteY4" fmla="*/ 499267 h 512904"/>
                <a:gd name="connsiteX5" fmla="*/ 79255 w 252150"/>
                <a:gd name="connsiteY5" fmla="*/ 510380 h 512904"/>
                <a:gd name="connsiteX6" fmla="*/ 141208 w 252150"/>
                <a:gd name="connsiteY6" fmla="*/ 367663 h 512904"/>
                <a:gd name="connsiteX7" fmla="*/ 234077 w 252150"/>
                <a:gd name="connsiteY7" fmla="*/ 228003 h 512904"/>
                <a:gd name="connsiteX8" fmla="*/ 227012 w 252150"/>
                <a:gd name="connsiteY8" fmla="*/ 21231 h 512904"/>
                <a:gd name="connsiteX9" fmla="*/ 182007 w 252150"/>
                <a:gd name="connsiteY9" fmla="*/ 45916 h 512904"/>
                <a:gd name="connsiteX10" fmla="*/ 120888 w 252150"/>
                <a:gd name="connsiteY10" fmla="*/ 160534 h 512904"/>
                <a:gd name="connsiteX11" fmla="*/ 56594 w 252150"/>
                <a:gd name="connsiteY11" fmla="*/ 259912 h 512904"/>
                <a:gd name="connsiteX12" fmla="*/ 5080 w 252150"/>
                <a:gd name="connsiteY12" fmla="*/ 450293 h 512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150" h="512904">
                  <a:moveTo>
                    <a:pt x="203200" y="112075"/>
                  </a:moveTo>
                  <a:cubicBezTo>
                    <a:pt x="222924" y="248918"/>
                    <a:pt x="80764" y="331786"/>
                    <a:pt x="49728" y="460532"/>
                  </a:cubicBezTo>
                  <a:cubicBezTo>
                    <a:pt x="29567" y="333969"/>
                    <a:pt x="146288" y="227328"/>
                    <a:pt x="203200" y="112075"/>
                  </a:cubicBezTo>
                  <a:close/>
                  <a:moveTo>
                    <a:pt x="5080" y="450293"/>
                  </a:moveTo>
                  <a:cubicBezTo>
                    <a:pt x="8929" y="462874"/>
                    <a:pt x="22661" y="484980"/>
                    <a:pt x="39211" y="499267"/>
                  </a:cubicBezTo>
                  <a:cubicBezTo>
                    <a:pt x="51990" y="510340"/>
                    <a:pt x="66436" y="516730"/>
                    <a:pt x="79255" y="510380"/>
                  </a:cubicBezTo>
                  <a:cubicBezTo>
                    <a:pt x="100369" y="499942"/>
                    <a:pt x="123269" y="392468"/>
                    <a:pt x="141208" y="367663"/>
                  </a:cubicBezTo>
                  <a:cubicBezTo>
                    <a:pt x="174029" y="322340"/>
                    <a:pt x="213399" y="280946"/>
                    <a:pt x="234077" y="228003"/>
                  </a:cubicBezTo>
                  <a:cubicBezTo>
                    <a:pt x="255666" y="172718"/>
                    <a:pt x="263049" y="72031"/>
                    <a:pt x="227012" y="21231"/>
                  </a:cubicBezTo>
                  <a:cubicBezTo>
                    <a:pt x="193794" y="-25680"/>
                    <a:pt x="193238" y="15397"/>
                    <a:pt x="182007" y="45916"/>
                  </a:cubicBezTo>
                  <a:cubicBezTo>
                    <a:pt x="168275" y="83302"/>
                    <a:pt x="142160" y="126403"/>
                    <a:pt x="120888" y="160534"/>
                  </a:cubicBezTo>
                  <a:cubicBezTo>
                    <a:pt x="100012" y="193991"/>
                    <a:pt x="77509" y="226495"/>
                    <a:pt x="56594" y="259912"/>
                  </a:cubicBezTo>
                  <a:cubicBezTo>
                    <a:pt x="24447" y="311188"/>
                    <a:pt x="-13971" y="388182"/>
                    <a:pt x="5080" y="450293"/>
                  </a:cubicBezTo>
                  <a:close/>
                </a:path>
              </a:pathLst>
            </a:custGeom>
            <a:grpFill/>
            <a:ln w="39688" cap="flat">
              <a:noFill/>
              <a:prstDash val="solid"/>
              <a:round/>
            </a:ln>
          </p:spPr>
          <p:txBody>
            <a:bodyPr rtlCol="0" anchor="ctr"/>
            <a:lstStyle/>
            <a:p>
              <a:endParaRPr lang="en-LT"/>
            </a:p>
          </p:txBody>
        </p:sp>
        <p:sp>
          <p:nvSpPr>
            <p:cNvPr id="81" name="Freeform 80">
              <a:extLst>
                <a:ext uri="{FF2B5EF4-FFF2-40B4-BE49-F238E27FC236}">
                  <a16:creationId xmlns:a16="http://schemas.microsoft.com/office/drawing/2014/main" id="{5AE3C3F8-5A7F-F441-9453-71EA1D113E9C}"/>
                </a:ext>
              </a:extLst>
            </p:cNvPr>
            <p:cNvSpPr/>
            <p:nvPr/>
          </p:nvSpPr>
          <p:spPr>
            <a:xfrm>
              <a:off x="5730990" y="3275193"/>
              <a:ext cx="644030" cy="181705"/>
            </a:xfrm>
            <a:custGeom>
              <a:avLst/>
              <a:gdLst>
                <a:gd name="connsiteX0" fmla="*/ 54357 w 644030"/>
                <a:gd name="connsiteY0" fmla="*/ 41795 h 181705"/>
                <a:gd name="connsiteX1" fmla="*/ 72851 w 644030"/>
                <a:gd name="connsiteY1" fmla="*/ 18617 h 181705"/>
                <a:gd name="connsiteX2" fmla="*/ 49714 w 644030"/>
                <a:gd name="connsiteY2" fmla="*/ 123 h 181705"/>
                <a:gd name="connsiteX3" fmla="*/ 6692 w 644030"/>
                <a:gd name="connsiteY3" fmla="*/ 32548 h 181705"/>
                <a:gd name="connsiteX4" fmla="*/ 11376 w 644030"/>
                <a:gd name="connsiteY4" fmla="*/ 103112 h 181705"/>
                <a:gd name="connsiteX5" fmla="*/ 100117 w 644030"/>
                <a:gd name="connsiteY5" fmla="*/ 153476 h 181705"/>
                <a:gd name="connsiteX6" fmla="*/ 338440 w 644030"/>
                <a:gd name="connsiteY6" fmla="*/ 181733 h 181705"/>
                <a:gd name="connsiteX7" fmla="*/ 523980 w 644030"/>
                <a:gd name="connsiteY7" fmla="*/ 164628 h 181705"/>
                <a:gd name="connsiteX8" fmla="*/ 642407 w 644030"/>
                <a:gd name="connsiteY8" fmla="*/ 91166 h 181705"/>
                <a:gd name="connsiteX9" fmla="*/ 631136 w 644030"/>
                <a:gd name="connsiteY9" fmla="*/ 63782 h 181705"/>
                <a:gd name="connsiteX10" fmla="*/ 603712 w 644030"/>
                <a:gd name="connsiteY10" fmla="*/ 75053 h 181705"/>
                <a:gd name="connsiteX11" fmla="*/ 516241 w 644030"/>
                <a:gd name="connsiteY11" fmla="*/ 123393 h 181705"/>
                <a:gd name="connsiteX12" fmla="*/ 109999 w 644030"/>
                <a:gd name="connsiteY12" fmla="*/ 112677 h 181705"/>
                <a:gd name="connsiteX13" fmla="*/ 46221 w 644030"/>
                <a:gd name="connsiteY13" fmla="*/ 79776 h 181705"/>
                <a:gd name="connsiteX14" fmla="*/ 44713 w 644030"/>
                <a:gd name="connsiteY14" fmla="*/ 50249 h 181705"/>
                <a:gd name="connsiteX15" fmla="*/ 54357 w 644030"/>
                <a:gd name="connsiteY15" fmla="*/ 41795 h 18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4030" h="181705">
                  <a:moveTo>
                    <a:pt x="54357" y="41795"/>
                  </a:moveTo>
                  <a:cubicBezTo>
                    <a:pt x="65867" y="40565"/>
                    <a:pt x="74161" y="30167"/>
                    <a:pt x="72851" y="18617"/>
                  </a:cubicBezTo>
                  <a:cubicBezTo>
                    <a:pt x="71582" y="7148"/>
                    <a:pt x="61541" y="-948"/>
                    <a:pt x="49714" y="123"/>
                  </a:cubicBezTo>
                  <a:cubicBezTo>
                    <a:pt x="30981" y="2187"/>
                    <a:pt x="15305" y="14014"/>
                    <a:pt x="6692" y="32548"/>
                  </a:cubicBezTo>
                  <a:cubicBezTo>
                    <a:pt x="-3745" y="54971"/>
                    <a:pt x="-1840" y="83308"/>
                    <a:pt x="11376" y="103112"/>
                  </a:cubicBezTo>
                  <a:cubicBezTo>
                    <a:pt x="31577" y="133315"/>
                    <a:pt x="65986" y="145141"/>
                    <a:pt x="100117" y="153476"/>
                  </a:cubicBezTo>
                  <a:cubicBezTo>
                    <a:pt x="177746" y="172327"/>
                    <a:pt x="258073" y="181733"/>
                    <a:pt x="338440" y="181733"/>
                  </a:cubicBezTo>
                  <a:cubicBezTo>
                    <a:pt x="400790" y="181733"/>
                    <a:pt x="463020" y="176058"/>
                    <a:pt x="523980" y="164628"/>
                  </a:cubicBezTo>
                  <a:cubicBezTo>
                    <a:pt x="564858" y="156929"/>
                    <a:pt x="621651" y="140935"/>
                    <a:pt x="642407" y="91166"/>
                  </a:cubicBezTo>
                  <a:cubicBezTo>
                    <a:pt x="646852" y="80530"/>
                    <a:pt x="641812" y="68227"/>
                    <a:pt x="631136" y="63782"/>
                  </a:cubicBezTo>
                  <a:cubicBezTo>
                    <a:pt x="620540" y="59297"/>
                    <a:pt x="608197" y="64258"/>
                    <a:pt x="603712" y="75053"/>
                  </a:cubicBezTo>
                  <a:cubicBezTo>
                    <a:pt x="593830" y="98667"/>
                    <a:pt x="566049" y="114027"/>
                    <a:pt x="516241" y="123393"/>
                  </a:cubicBezTo>
                  <a:cubicBezTo>
                    <a:pt x="382653" y="148436"/>
                    <a:pt x="242198" y="144784"/>
                    <a:pt x="109999" y="112677"/>
                  </a:cubicBezTo>
                  <a:cubicBezTo>
                    <a:pt x="84123" y="106407"/>
                    <a:pt x="58485" y="98033"/>
                    <a:pt x="46221" y="79776"/>
                  </a:cubicBezTo>
                  <a:cubicBezTo>
                    <a:pt x="41102" y="72077"/>
                    <a:pt x="40427" y="59377"/>
                    <a:pt x="44713" y="50249"/>
                  </a:cubicBezTo>
                  <a:cubicBezTo>
                    <a:pt x="47094" y="45089"/>
                    <a:pt x="50349" y="42271"/>
                    <a:pt x="54357" y="41795"/>
                  </a:cubicBezTo>
                  <a:close/>
                </a:path>
              </a:pathLst>
            </a:custGeom>
            <a:grpFill/>
            <a:ln w="39688" cap="flat">
              <a:noFill/>
              <a:prstDash val="solid"/>
              <a:round/>
            </a:ln>
          </p:spPr>
          <p:txBody>
            <a:bodyPr rtlCol="0" anchor="ctr"/>
            <a:lstStyle/>
            <a:p>
              <a:endParaRPr lang="en-LT"/>
            </a:p>
          </p:txBody>
        </p:sp>
      </p:grpSp>
      <p:grpSp>
        <p:nvGrpSpPr>
          <p:cNvPr id="82" name="Graphic 2">
            <a:extLst>
              <a:ext uri="{FF2B5EF4-FFF2-40B4-BE49-F238E27FC236}">
                <a16:creationId xmlns:a16="http://schemas.microsoft.com/office/drawing/2014/main" id="{5FF2F2B6-AC37-E040-AF2B-91F1AECBBCF5}"/>
              </a:ext>
            </a:extLst>
          </p:cNvPr>
          <p:cNvGrpSpPr/>
          <p:nvPr/>
        </p:nvGrpSpPr>
        <p:grpSpPr>
          <a:xfrm>
            <a:off x="2917145" y="1226661"/>
            <a:ext cx="738468" cy="1314379"/>
            <a:chOff x="5429256" y="2247889"/>
            <a:chExt cx="1325619" cy="2359432"/>
          </a:xfrm>
          <a:solidFill>
            <a:schemeClr val="tx1">
              <a:lumMod val="75000"/>
              <a:lumOff val="25000"/>
            </a:schemeClr>
          </a:solidFill>
        </p:grpSpPr>
        <p:sp>
          <p:nvSpPr>
            <p:cNvPr id="83" name="Freeform 82">
              <a:extLst>
                <a:ext uri="{FF2B5EF4-FFF2-40B4-BE49-F238E27FC236}">
                  <a16:creationId xmlns:a16="http://schemas.microsoft.com/office/drawing/2014/main" id="{628E997D-2DDA-4841-8B08-9BA0901ED35E}"/>
                </a:ext>
              </a:extLst>
            </p:cNvPr>
            <p:cNvSpPr/>
            <p:nvPr/>
          </p:nvSpPr>
          <p:spPr>
            <a:xfrm>
              <a:off x="5698604" y="3544319"/>
              <a:ext cx="282809" cy="544047"/>
            </a:xfrm>
            <a:custGeom>
              <a:avLst/>
              <a:gdLst>
                <a:gd name="connsiteX0" fmla="*/ 44102 w 282809"/>
                <a:gd name="connsiteY0" fmla="*/ 50993 h 544047"/>
                <a:gd name="connsiteX1" fmla="*/ 88988 w 282809"/>
                <a:gd name="connsiteY1" fmla="*/ 55042 h 544047"/>
                <a:gd name="connsiteX2" fmla="*/ 226227 w 282809"/>
                <a:gd name="connsiteY2" fmla="*/ 501725 h 544047"/>
                <a:gd name="connsiteX3" fmla="*/ 151218 w 282809"/>
                <a:gd name="connsiteY3" fmla="*/ 472039 h 544047"/>
                <a:gd name="connsiteX4" fmla="*/ 95060 w 282809"/>
                <a:gd name="connsiteY4" fmla="*/ 357302 h 544047"/>
                <a:gd name="connsiteX5" fmla="*/ 44102 w 282809"/>
                <a:gd name="connsiteY5" fmla="*/ 50993 h 544047"/>
                <a:gd name="connsiteX6" fmla="*/ 121095 w 282809"/>
                <a:gd name="connsiteY6" fmla="*/ 501288 h 544047"/>
                <a:gd name="connsiteX7" fmla="*/ 218488 w 282809"/>
                <a:gd name="connsiteY7" fmla="*/ 544111 h 544047"/>
                <a:gd name="connsiteX8" fmla="*/ 273217 w 282809"/>
                <a:gd name="connsiteY8" fmla="*/ 528395 h 544047"/>
                <a:gd name="connsiteX9" fmla="*/ 282623 w 282809"/>
                <a:gd name="connsiteY9" fmla="*/ 513472 h 544047"/>
                <a:gd name="connsiteX10" fmla="*/ 277266 w 282809"/>
                <a:gd name="connsiteY10" fmla="*/ 496724 h 544047"/>
                <a:gd name="connsiteX11" fmla="*/ 134073 w 282809"/>
                <a:gd name="connsiteY11" fmla="*/ 30674 h 544047"/>
                <a:gd name="connsiteX12" fmla="*/ 126215 w 282809"/>
                <a:gd name="connsiteY12" fmla="*/ 11147 h 544047"/>
                <a:gd name="connsiteX13" fmla="*/ 105379 w 282809"/>
                <a:gd name="connsiteY13" fmla="*/ 8250 h 544047"/>
                <a:gd name="connsiteX14" fmla="*/ 38029 w 282809"/>
                <a:gd name="connsiteY14" fmla="*/ 3051 h 544047"/>
                <a:gd name="connsiteX15" fmla="*/ 18582 w 282809"/>
                <a:gd name="connsiteY15" fmla="*/ 1940 h 544047"/>
                <a:gd name="connsiteX16" fmla="*/ 6597 w 282809"/>
                <a:gd name="connsiteY16" fmla="*/ 17299 h 544047"/>
                <a:gd name="connsiteX17" fmla="*/ 55055 w 282809"/>
                <a:gd name="connsiteY17" fmla="*/ 369843 h 544047"/>
                <a:gd name="connsiteX18" fmla="*/ 121095 w 282809"/>
                <a:gd name="connsiteY18" fmla="*/ 501288 h 54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2809" h="544047">
                  <a:moveTo>
                    <a:pt x="44102" y="50993"/>
                  </a:moveTo>
                  <a:cubicBezTo>
                    <a:pt x="58468" y="55121"/>
                    <a:pt x="74105" y="56510"/>
                    <a:pt x="88988" y="55042"/>
                  </a:cubicBezTo>
                  <a:cubicBezTo>
                    <a:pt x="74423" y="214744"/>
                    <a:pt x="124508" y="377781"/>
                    <a:pt x="226227" y="501725"/>
                  </a:cubicBezTo>
                  <a:cubicBezTo>
                    <a:pt x="201304" y="504622"/>
                    <a:pt x="171260" y="492756"/>
                    <a:pt x="151218" y="472039"/>
                  </a:cubicBezTo>
                  <a:cubicBezTo>
                    <a:pt x="123556" y="443622"/>
                    <a:pt x="109983" y="404927"/>
                    <a:pt x="95060" y="357302"/>
                  </a:cubicBezTo>
                  <a:cubicBezTo>
                    <a:pt x="60929" y="248320"/>
                    <a:pt x="33505" y="149260"/>
                    <a:pt x="44102" y="50993"/>
                  </a:cubicBezTo>
                  <a:close/>
                  <a:moveTo>
                    <a:pt x="121095" y="501288"/>
                  </a:moveTo>
                  <a:cubicBezTo>
                    <a:pt x="147130" y="528117"/>
                    <a:pt x="183563" y="544111"/>
                    <a:pt x="218488" y="544111"/>
                  </a:cubicBezTo>
                  <a:cubicBezTo>
                    <a:pt x="238531" y="544111"/>
                    <a:pt x="257462" y="538674"/>
                    <a:pt x="273217" y="528395"/>
                  </a:cubicBezTo>
                  <a:cubicBezTo>
                    <a:pt x="278377" y="525061"/>
                    <a:pt x="281830" y="519584"/>
                    <a:pt x="282623" y="513472"/>
                  </a:cubicBezTo>
                  <a:cubicBezTo>
                    <a:pt x="283378" y="507400"/>
                    <a:pt x="281472" y="501249"/>
                    <a:pt x="277266" y="496724"/>
                  </a:cubicBezTo>
                  <a:cubicBezTo>
                    <a:pt x="163600" y="371907"/>
                    <a:pt x="110062" y="197758"/>
                    <a:pt x="134073" y="30674"/>
                  </a:cubicBezTo>
                  <a:cubicBezTo>
                    <a:pt x="135145" y="23212"/>
                    <a:pt x="132168" y="15751"/>
                    <a:pt x="126215" y="11147"/>
                  </a:cubicBezTo>
                  <a:cubicBezTo>
                    <a:pt x="120301" y="6504"/>
                    <a:pt x="112404" y="5393"/>
                    <a:pt x="105379" y="8250"/>
                  </a:cubicBezTo>
                  <a:cubicBezTo>
                    <a:pt x="84225" y="16862"/>
                    <a:pt x="57595" y="14759"/>
                    <a:pt x="38029" y="3051"/>
                  </a:cubicBezTo>
                  <a:cubicBezTo>
                    <a:pt x="32155" y="-481"/>
                    <a:pt x="24853" y="-918"/>
                    <a:pt x="18582" y="1940"/>
                  </a:cubicBezTo>
                  <a:cubicBezTo>
                    <a:pt x="12312" y="4757"/>
                    <a:pt x="7827" y="10552"/>
                    <a:pt x="6597" y="17299"/>
                  </a:cubicBezTo>
                  <a:cubicBezTo>
                    <a:pt x="-14279" y="133464"/>
                    <a:pt x="17590" y="250344"/>
                    <a:pt x="55055" y="369843"/>
                  </a:cubicBezTo>
                  <a:cubicBezTo>
                    <a:pt x="68073" y="411555"/>
                    <a:pt x="84345" y="463387"/>
                    <a:pt x="121095" y="501288"/>
                  </a:cubicBezTo>
                  <a:close/>
                </a:path>
              </a:pathLst>
            </a:custGeom>
            <a:grpFill/>
            <a:ln w="39688" cap="flat">
              <a:noFill/>
              <a:prstDash val="solid"/>
              <a:round/>
            </a:ln>
          </p:spPr>
          <p:txBody>
            <a:bodyPr rtlCol="0" anchor="ctr"/>
            <a:lstStyle/>
            <a:p>
              <a:endParaRPr lang="en-LT"/>
            </a:p>
          </p:txBody>
        </p:sp>
        <p:sp>
          <p:nvSpPr>
            <p:cNvPr id="84" name="Freeform 83">
              <a:extLst>
                <a:ext uri="{FF2B5EF4-FFF2-40B4-BE49-F238E27FC236}">
                  <a16:creationId xmlns:a16="http://schemas.microsoft.com/office/drawing/2014/main" id="{D835DE91-2CB5-AD4B-A1F8-8B991FCA2199}"/>
                </a:ext>
              </a:extLst>
            </p:cNvPr>
            <p:cNvSpPr/>
            <p:nvPr/>
          </p:nvSpPr>
          <p:spPr>
            <a:xfrm>
              <a:off x="5429256" y="3190991"/>
              <a:ext cx="1325619" cy="1416330"/>
            </a:xfrm>
            <a:custGeom>
              <a:avLst/>
              <a:gdLst>
                <a:gd name="connsiteX0" fmla="*/ 298468 w 1325619"/>
                <a:gd name="connsiteY0" fmla="*/ 855377 h 1416330"/>
                <a:gd name="connsiteX1" fmla="*/ 304977 w 1325619"/>
                <a:gd name="connsiteY1" fmla="*/ 870537 h 1416330"/>
                <a:gd name="connsiteX2" fmla="*/ 241596 w 1325619"/>
                <a:gd name="connsiteY2" fmla="*/ 1101162 h 1416330"/>
                <a:gd name="connsiteX3" fmla="*/ 690859 w 1325619"/>
                <a:gd name="connsiteY3" fmla="*/ 1259872 h 1416330"/>
                <a:gd name="connsiteX4" fmla="*/ 1090473 w 1325619"/>
                <a:gd name="connsiteY4" fmla="*/ 1110290 h 1416330"/>
                <a:gd name="connsiteX5" fmla="*/ 979030 w 1325619"/>
                <a:gd name="connsiteY5" fmla="*/ 885896 h 1416330"/>
                <a:gd name="connsiteX6" fmla="*/ 1000382 w 1325619"/>
                <a:gd name="connsiteY6" fmla="*/ 810411 h 1416330"/>
                <a:gd name="connsiteX7" fmla="*/ 1011415 w 1325619"/>
                <a:gd name="connsiteY7" fmla="*/ 813030 h 1416330"/>
                <a:gd name="connsiteX8" fmla="*/ 1124167 w 1325619"/>
                <a:gd name="connsiteY8" fmla="*/ 1255784 h 1416330"/>
                <a:gd name="connsiteX9" fmla="*/ 614500 w 1325619"/>
                <a:gd name="connsiteY9" fmla="*/ 1372227 h 1416330"/>
                <a:gd name="connsiteX10" fmla="*/ 104674 w 1325619"/>
                <a:gd name="connsiteY10" fmla="*/ 1234432 h 1416330"/>
                <a:gd name="connsiteX11" fmla="*/ 298468 w 1325619"/>
                <a:gd name="connsiteY11" fmla="*/ 855377 h 1416330"/>
                <a:gd name="connsiteX12" fmla="*/ 361095 w 1325619"/>
                <a:gd name="connsiteY12" fmla="*/ 969478 h 1416330"/>
                <a:gd name="connsiteX13" fmla="*/ 408561 w 1325619"/>
                <a:gd name="connsiteY13" fmla="*/ 1005793 h 1416330"/>
                <a:gd name="connsiteX14" fmla="*/ 531593 w 1325619"/>
                <a:gd name="connsiteY14" fmla="*/ 1038058 h 1416330"/>
                <a:gd name="connsiteX15" fmla="*/ 692248 w 1325619"/>
                <a:gd name="connsiteY15" fmla="*/ 1047623 h 1416330"/>
                <a:gd name="connsiteX16" fmla="*/ 769837 w 1325619"/>
                <a:gd name="connsiteY16" fmla="*/ 1045361 h 1416330"/>
                <a:gd name="connsiteX17" fmla="*/ 922951 w 1325619"/>
                <a:gd name="connsiteY17" fmla="*/ 1000514 h 1416330"/>
                <a:gd name="connsiteX18" fmla="*/ 799523 w 1325619"/>
                <a:gd name="connsiteY18" fmla="*/ 1077865 h 1416330"/>
                <a:gd name="connsiteX19" fmla="*/ 553818 w 1325619"/>
                <a:gd name="connsiteY19" fmla="*/ 1078738 h 1416330"/>
                <a:gd name="connsiteX20" fmla="*/ 542705 w 1325619"/>
                <a:gd name="connsiteY20" fmla="*/ 1077349 h 1416330"/>
                <a:gd name="connsiteX21" fmla="*/ 361095 w 1325619"/>
                <a:gd name="connsiteY21" fmla="*/ 969478 h 1416330"/>
                <a:gd name="connsiteX22" fmla="*/ 323273 w 1325619"/>
                <a:gd name="connsiteY22" fmla="*/ 998847 h 1416330"/>
                <a:gd name="connsiteX23" fmla="*/ 359944 w 1325619"/>
                <a:gd name="connsiteY23" fmla="*/ 1054568 h 1416330"/>
                <a:gd name="connsiteX24" fmla="*/ 537546 w 1325619"/>
                <a:gd name="connsiteY24" fmla="*/ 1118942 h 1416330"/>
                <a:gd name="connsiteX25" fmla="*/ 548619 w 1325619"/>
                <a:gd name="connsiteY25" fmla="*/ 1120331 h 1416330"/>
                <a:gd name="connsiteX26" fmla="*/ 696018 w 1325619"/>
                <a:gd name="connsiteY26" fmla="*/ 1132515 h 1416330"/>
                <a:gd name="connsiteX27" fmla="*/ 810914 w 1325619"/>
                <a:gd name="connsiteY27" fmla="*/ 1118267 h 1416330"/>
                <a:gd name="connsiteX28" fmla="*/ 970537 w 1325619"/>
                <a:gd name="connsiteY28" fmla="*/ 911773 h 1416330"/>
                <a:gd name="connsiteX29" fmla="*/ 1028044 w 1325619"/>
                <a:gd name="connsiteY29" fmla="*/ 947412 h 1416330"/>
                <a:gd name="connsiteX30" fmla="*/ 1058524 w 1325619"/>
                <a:gd name="connsiteY30" fmla="*/ 1004364 h 1416330"/>
                <a:gd name="connsiteX31" fmla="*/ 1020424 w 1325619"/>
                <a:gd name="connsiteY31" fmla="*/ 1134340 h 1416330"/>
                <a:gd name="connsiteX32" fmla="*/ 908902 w 1325619"/>
                <a:gd name="connsiteY32" fmla="*/ 1193554 h 1416330"/>
                <a:gd name="connsiteX33" fmla="*/ 690859 w 1325619"/>
                <a:gd name="connsiteY33" fmla="*/ 1217922 h 1416330"/>
                <a:gd name="connsiteX34" fmla="*/ 476268 w 1325619"/>
                <a:gd name="connsiteY34" fmla="*/ 1189188 h 1416330"/>
                <a:gd name="connsiteX35" fmla="*/ 355063 w 1325619"/>
                <a:gd name="connsiteY35" fmla="*/ 1145810 h 1416330"/>
                <a:gd name="connsiteX36" fmla="*/ 306247 w 1325619"/>
                <a:gd name="connsiteY36" fmla="*/ 1112711 h 1416330"/>
                <a:gd name="connsiteX37" fmla="*/ 253423 w 1325619"/>
                <a:gd name="connsiteY37" fmla="*/ 989918 h 1416330"/>
                <a:gd name="connsiteX38" fmla="*/ 286681 w 1325619"/>
                <a:gd name="connsiteY38" fmla="*/ 935387 h 1416330"/>
                <a:gd name="connsiteX39" fmla="*/ 322360 w 1325619"/>
                <a:gd name="connsiteY39" fmla="*/ 919829 h 1416330"/>
                <a:gd name="connsiteX40" fmla="*/ 324344 w 1325619"/>
                <a:gd name="connsiteY40" fmla="*/ 934871 h 1416330"/>
                <a:gd name="connsiteX41" fmla="*/ 315693 w 1325619"/>
                <a:gd name="connsiteY41" fmla="*/ 960747 h 1416330"/>
                <a:gd name="connsiteX42" fmla="*/ 323273 w 1325619"/>
                <a:gd name="connsiteY42" fmla="*/ 998847 h 1416330"/>
                <a:gd name="connsiteX43" fmla="*/ 260686 w 1325619"/>
                <a:gd name="connsiteY43" fmla="*/ 587883 h 1416330"/>
                <a:gd name="connsiteX44" fmla="*/ 231238 w 1325619"/>
                <a:gd name="connsiteY44" fmla="*/ 410757 h 1416330"/>
                <a:gd name="connsiteX45" fmla="*/ 223776 w 1325619"/>
                <a:gd name="connsiteY45" fmla="*/ 321183 h 1416330"/>
                <a:gd name="connsiteX46" fmla="*/ 221236 w 1325619"/>
                <a:gd name="connsiteY46" fmla="*/ 235378 h 1416330"/>
                <a:gd name="connsiteX47" fmla="*/ 585409 w 1325619"/>
                <a:gd name="connsiteY47" fmla="*/ 315507 h 1416330"/>
                <a:gd name="connsiteX48" fmla="*/ 669308 w 1325619"/>
                <a:gd name="connsiteY48" fmla="*/ 313999 h 1416330"/>
                <a:gd name="connsiteX49" fmla="*/ 914419 w 1325619"/>
                <a:gd name="connsiteY49" fmla="*/ 286932 h 1416330"/>
                <a:gd name="connsiteX50" fmla="*/ 994310 w 1325619"/>
                <a:gd name="connsiteY50" fmla="*/ 260024 h 1416330"/>
                <a:gd name="connsiteX51" fmla="*/ 1032489 w 1325619"/>
                <a:gd name="connsiteY51" fmla="*/ 334795 h 1416330"/>
                <a:gd name="connsiteX52" fmla="*/ 1011772 w 1325619"/>
                <a:gd name="connsiteY52" fmla="*/ 530574 h 1416330"/>
                <a:gd name="connsiteX53" fmla="*/ 959940 w 1325619"/>
                <a:gd name="connsiteY53" fmla="*/ 801521 h 1416330"/>
                <a:gd name="connsiteX54" fmla="*/ 911799 w 1325619"/>
                <a:gd name="connsiteY54" fmla="*/ 938641 h 1416330"/>
                <a:gd name="connsiteX55" fmla="*/ 822939 w 1325619"/>
                <a:gd name="connsiteY55" fmla="*/ 990870 h 1416330"/>
                <a:gd name="connsiteX56" fmla="*/ 717092 w 1325619"/>
                <a:gd name="connsiteY56" fmla="*/ 1005435 h 1416330"/>
                <a:gd name="connsiteX57" fmla="*/ 536593 w 1325619"/>
                <a:gd name="connsiteY57" fmla="*/ 996426 h 1416330"/>
                <a:gd name="connsiteX58" fmla="*/ 427850 w 1325619"/>
                <a:gd name="connsiteY58" fmla="*/ 968526 h 1416330"/>
                <a:gd name="connsiteX59" fmla="*/ 340100 w 1325619"/>
                <a:gd name="connsiteY59" fmla="*/ 845098 h 1416330"/>
                <a:gd name="connsiteX60" fmla="*/ 309065 w 1325619"/>
                <a:gd name="connsiteY60" fmla="*/ 760841 h 1416330"/>
                <a:gd name="connsiteX61" fmla="*/ 260686 w 1325619"/>
                <a:gd name="connsiteY61" fmla="*/ 587883 h 1416330"/>
                <a:gd name="connsiteX62" fmla="*/ 1047253 w 1325619"/>
                <a:gd name="connsiteY62" fmla="*/ 613481 h 1416330"/>
                <a:gd name="connsiteX63" fmla="*/ 1209496 w 1325619"/>
                <a:gd name="connsiteY63" fmla="*/ 318841 h 1416330"/>
                <a:gd name="connsiteX64" fmla="*/ 1068367 w 1325619"/>
                <a:gd name="connsiteY64" fmla="*/ 290226 h 1416330"/>
                <a:gd name="connsiteX65" fmla="*/ 1067692 w 1325619"/>
                <a:gd name="connsiteY65" fmla="*/ 262405 h 1416330"/>
                <a:gd name="connsiteX66" fmla="*/ 1238944 w 1325619"/>
                <a:gd name="connsiteY66" fmla="*/ 237243 h 1416330"/>
                <a:gd name="connsiteX67" fmla="*/ 1272956 w 1325619"/>
                <a:gd name="connsiteY67" fmla="*/ 400280 h 1416330"/>
                <a:gd name="connsiteX68" fmla="*/ 1186358 w 1325619"/>
                <a:gd name="connsiteY68" fmla="*/ 542004 h 1416330"/>
                <a:gd name="connsiteX69" fmla="*/ 1030386 w 1325619"/>
                <a:gd name="connsiteY69" fmla="*/ 681029 h 1416330"/>
                <a:gd name="connsiteX70" fmla="*/ 1041498 w 1325619"/>
                <a:gd name="connsiteY70" fmla="*/ 616696 h 1416330"/>
                <a:gd name="connsiteX71" fmla="*/ 1047253 w 1325619"/>
                <a:gd name="connsiteY71" fmla="*/ 613481 h 1416330"/>
                <a:gd name="connsiteX72" fmla="*/ 1063842 w 1325619"/>
                <a:gd name="connsiteY72" fmla="*/ 375356 h 1416330"/>
                <a:gd name="connsiteX73" fmla="*/ 1094441 w 1325619"/>
                <a:gd name="connsiteY73" fmla="*/ 308840 h 1416330"/>
                <a:gd name="connsiteX74" fmla="*/ 1167943 w 1325619"/>
                <a:gd name="connsiteY74" fmla="*/ 399922 h 1416330"/>
                <a:gd name="connsiteX75" fmla="*/ 1126072 w 1325619"/>
                <a:gd name="connsiteY75" fmla="*/ 476242 h 1416330"/>
                <a:gd name="connsiteX76" fmla="*/ 1050706 w 1325619"/>
                <a:gd name="connsiteY76" fmla="*/ 554863 h 1416330"/>
                <a:gd name="connsiteX77" fmla="*/ 1063842 w 1325619"/>
                <a:gd name="connsiteY77" fmla="*/ 375356 h 1416330"/>
                <a:gd name="connsiteX78" fmla="*/ 13155 w 1325619"/>
                <a:gd name="connsiteY78" fmla="*/ 1159740 h 1416330"/>
                <a:gd name="connsiteX79" fmla="*/ 614500 w 1325619"/>
                <a:gd name="connsiteY79" fmla="*/ 1414177 h 1416330"/>
                <a:gd name="connsiteX80" fmla="*/ 1251168 w 1325619"/>
                <a:gd name="connsiteY80" fmla="*/ 1155137 h 1416330"/>
                <a:gd name="connsiteX81" fmla="*/ 1010780 w 1325619"/>
                <a:gd name="connsiteY81" fmla="*/ 771279 h 1416330"/>
                <a:gd name="connsiteX82" fmla="*/ 1016932 w 1325619"/>
                <a:gd name="connsiteY82" fmla="*/ 743577 h 1416330"/>
                <a:gd name="connsiteX83" fmla="*/ 1029473 w 1325619"/>
                <a:gd name="connsiteY83" fmla="*/ 738140 h 1416330"/>
                <a:gd name="connsiteX84" fmla="*/ 1304785 w 1325619"/>
                <a:gd name="connsiteY84" fmla="*/ 261413 h 1416330"/>
                <a:gd name="connsiteX85" fmla="*/ 1066978 w 1325619"/>
                <a:gd name="connsiteY85" fmla="*/ 192238 h 1416330"/>
                <a:gd name="connsiteX86" fmla="*/ 1073169 w 1325619"/>
                <a:gd name="connsiteY86" fmla="*/ 168108 h 1416330"/>
                <a:gd name="connsiteX87" fmla="*/ 784244 w 1325619"/>
                <a:gd name="connsiteY87" fmla="*/ 8286 h 1416330"/>
                <a:gd name="connsiteX88" fmla="*/ 725784 w 1325619"/>
                <a:gd name="connsiteY88" fmla="*/ 4317 h 1416330"/>
                <a:gd name="connsiteX89" fmla="*/ 661649 w 1325619"/>
                <a:gd name="connsiteY89" fmla="*/ 71 h 1416330"/>
                <a:gd name="connsiteX90" fmla="*/ 640694 w 1325619"/>
                <a:gd name="connsiteY90" fmla="*/ 21065 h 1416330"/>
                <a:gd name="connsiteX91" fmla="*/ 661649 w 1325619"/>
                <a:gd name="connsiteY91" fmla="*/ 42060 h 1416330"/>
                <a:gd name="connsiteX92" fmla="*/ 721617 w 1325619"/>
                <a:gd name="connsiteY92" fmla="*/ 46068 h 1416330"/>
                <a:gd name="connsiteX93" fmla="*/ 782021 w 1325619"/>
                <a:gd name="connsiteY93" fmla="*/ 50117 h 1416330"/>
                <a:gd name="connsiteX94" fmla="*/ 1031457 w 1325619"/>
                <a:gd name="connsiteY94" fmla="*/ 163861 h 1416330"/>
                <a:gd name="connsiteX95" fmla="*/ 666292 w 1325619"/>
                <a:gd name="connsiteY95" fmla="*/ 272089 h 1416330"/>
                <a:gd name="connsiteX96" fmla="*/ 232230 w 1325619"/>
                <a:gd name="connsiteY96" fmla="*/ 181879 h 1416330"/>
                <a:gd name="connsiteX97" fmla="*/ 230404 w 1325619"/>
                <a:gd name="connsiteY97" fmla="*/ 138223 h 1416330"/>
                <a:gd name="connsiteX98" fmla="*/ 427215 w 1325619"/>
                <a:gd name="connsiteY98" fmla="*/ 57578 h 1416330"/>
                <a:gd name="connsiteX99" fmla="*/ 444638 w 1325619"/>
                <a:gd name="connsiteY99" fmla="*/ 33567 h 1416330"/>
                <a:gd name="connsiteX100" fmla="*/ 420626 w 1325619"/>
                <a:gd name="connsiteY100" fmla="*/ 16104 h 1416330"/>
                <a:gd name="connsiteX101" fmla="*/ 190240 w 1325619"/>
                <a:gd name="connsiteY101" fmla="*/ 126039 h 1416330"/>
                <a:gd name="connsiteX102" fmla="*/ 196749 w 1325619"/>
                <a:gd name="connsiteY102" fmla="*/ 470567 h 1416330"/>
                <a:gd name="connsiteX103" fmla="*/ 232071 w 1325619"/>
                <a:gd name="connsiteY103" fmla="*/ 647811 h 1416330"/>
                <a:gd name="connsiteX104" fmla="*/ 282990 w 1325619"/>
                <a:gd name="connsiteY104" fmla="*/ 812752 h 1416330"/>
                <a:gd name="connsiteX105" fmla="*/ 13155 w 1325619"/>
                <a:gd name="connsiteY105" fmla="*/ 1159740 h 141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325619" h="1416330">
                  <a:moveTo>
                    <a:pt x="298468" y="855377"/>
                  </a:moveTo>
                  <a:cubicBezTo>
                    <a:pt x="300492" y="860496"/>
                    <a:pt x="302913" y="865418"/>
                    <a:pt x="304977" y="870537"/>
                  </a:cubicBezTo>
                  <a:cubicBezTo>
                    <a:pt x="209489" y="901375"/>
                    <a:pt x="183216" y="1013571"/>
                    <a:pt x="241596" y="1101162"/>
                  </a:cubicBezTo>
                  <a:cubicBezTo>
                    <a:pt x="329901" y="1233758"/>
                    <a:pt x="545999" y="1257649"/>
                    <a:pt x="690859" y="1259872"/>
                  </a:cubicBezTo>
                  <a:cubicBezTo>
                    <a:pt x="826034" y="1261936"/>
                    <a:pt x="1018996" y="1246934"/>
                    <a:pt x="1090473" y="1110290"/>
                  </a:cubicBezTo>
                  <a:cubicBezTo>
                    <a:pt x="1141590" y="1012698"/>
                    <a:pt x="1089441" y="893199"/>
                    <a:pt x="979030" y="885896"/>
                  </a:cubicBezTo>
                  <a:cubicBezTo>
                    <a:pt x="986690" y="860933"/>
                    <a:pt x="993715" y="835771"/>
                    <a:pt x="1000382" y="810411"/>
                  </a:cubicBezTo>
                  <a:cubicBezTo>
                    <a:pt x="1003398" y="812157"/>
                    <a:pt x="1006891" y="813387"/>
                    <a:pt x="1011415" y="813030"/>
                  </a:cubicBezTo>
                  <a:cubicBezTo>
                    <a:pt x="1275734" y="793147"/>
                    <a:pt x="1278552" y="1120609"/>
                    <a:pt x="1124167" y="1255784"/>
                  </a:cubicBezTo>
                  <a:cubicBezTo>
                    <a:pt x="987245" y="1375601"/>
                    <a:pt x="786546" y="1381475"/>
                    <a:pt x="614500" y="1372227"/>
                  </a:cubicBezTo>
                  <a:cubicBezTo>
                    <a:pt x="461584" y="1364012"/>
                    <a:pt x="219411" y="1353773"/>
                    <a:pt x="104674" y="1234432"/>
                  </a:cubicBezTo>
                  <a:cubicBezTo>
                    <a:pt x="-48480" y="1075047"/>
                    <a:pt x="97094" y="840772"/>
                    <a:pt x="298468" y="855377"/>
                  </a:cubicBezTo>
                  <a:close/>
                  <a:moveTo>
                    <a:pt x="361095" y="969478"/>
                  </a:moveTo>
                  <a:cubicBezTo>
                    <a:pt x="374470" y="983528"/>
                    <a:pt x="390067" y="996267"/>
                    <a:pt x="408561" y="1005793"/>
                  </a:cubicBezTo>
                  <a:cubicBezTo>
                    <a:pt x="447257" y="1025795"/>
                    <a:pt x="490556" y="1033137"/>
                    <a:pt x="531593" y="1038058"/>
                  </a:cubicBezTo>
                  <a:cubicBezTo>
                    <a:pt x="584774" y="1044448"/>
                    <a:pt x="638551" y="1047623"/>
                    <a:pt x="692248" y="1047623"/>
                  </a:cubicBezTo>
                  <a:cubicBezTo>
                    <a:pt x="718164" y="1047623"/>
                    <a:pt x="744040" y="1046829"/>
                    <a:pt x="769837" y="1045361"/>
                  </a:cubicBezTo>
                  <a:cubicBezTo>
                    <a:pt x="816549" y="1042662"/>
                    <a:pt x="878105" y="1034367"/>
                    <a:pt x="922951" y="1000514"/>
                  </a:cubicBezTo>
                  <a:cubicBezTo>
                    <a:pt x="900052" y="1037661"/>
                    <a:pt x="848339" y="1064133"/>
                    <a:pt x="799523" y="1077865"/>
                  </a:cubicBezTo>
                  <a:cubicBezTo>
                    <a:pt x="721934" y="1099812"/>
                    <a:pt x="636447" y="1089057"/>
                    <a:pt x="553818" y="1078738"/>
                  </a:cubicBezTo>
                  <a:lnTo>
                    <a:pt x="542705" y="1077349"/>
                  </a:lnTo>
                  <a:cubicBezTo>
                    <a:pt x="475078" y="1068935"/>
                    <a:pt x="365064" y="1043654"/>
                    <a:pt x="361095" y="969478"/>
                  </a:cubicBezTo>
                  <a:close/>
                  <a:moveTo>
                    <a:pt x="323273" y="998847"/>
                  </a:moveTo>
                  <a:cubicBezTo>
                    <a:pt x="329782" y="1020715"/>
                    <a:pt x="342958" y="1039448"/>
                    <a:pt x="359944" y="1054568"/>
                  </a:cubicBezTo>
                  <a:cubicBezTo>
                    <a:pt x="407331" y="1096796"/>
                    <a:pt x="476467" y="1111361"/>
                    <a:pt x="537546" y="1118942"/>
                  </a:cubicBezTo>
                  <a:lnTo>
                    <a:pt x="548619" y="1120331"/>
                  </a:lnTo>
                  <a:cubicBezTo>
                    <a:pt x="595331" y="1126204"/>
                    <a:pt x="645615" y="1132515"/>
                    <a:pt x="696018" y="1132515"/>
                  </a:cubicBezTo>
                  <a:cubicBezTo>
                    <a:pt x="734753" y="1132515"/>
                    <a:pt x="773568" y="1128784"/>
                    <a:pt x="810914" y="1118267"/>
                  </a:cubicBezTo>
                  <a:cubicBezTo>
                    <a:pt x="891043" y="1095685"/>
                    <a:pt x="1024274" y="1014127"/>
                    <a:pt x="970537" y="911773"/>
                  </a:cubicBezTo>
                  <a:cubicBezTo>
                    <a:pt x="1002485" y="917607"/>
                    <a:pt x="1016535" y="936260"/>
                    <a:pt x="1028044" y="947412"/>
                  </a:cubicBezTo>
                  <a:cubicBezTo>
                    <a:pt x="1044594" y="963406"/>
                    <a:pt x="1054158" y="981663"/>
                    <a:pt x="1058524" y="1004364"/>
                  </a:cubicBezTo>
                  <a:cubicBezTo>
                    <a:pt x="1067057" y="1048734"/>
                    <a:pt x="1052492" y="1102074"/>
                    <a:pt x="1020424" y="1134340"/>
                  </a:cubicBezTo>
                  <a:cubicBezTo>
                    <a:pt x="990738" y="1164146"/>
                    <a:pt x="948113" y="1181926"/>
                    <a:pt x="908902" y="1193554"/>
                  </a:cubicBezTo>
                  <a:cubicBezTo>
                    <a:pt x="839211" y="1214192"/>
                    <a:pt x="763249" y="1218914"/>
                    <a:pt x="690859" y="1217922"/>
                  </a:cubicBezTo>
                  <a:cubicBezTo>
                    <a:pt x="618746" y="1216930"/>
                    <a:pt x="546119" y="1207286"/>
                    <a:pt x="476268" y="1189188"/>
                  </a:cubicBezTo>
                  <a:cubicBezTo>
                    <a:pt x="435628" y="1178711"/>
                    <a:pt x="391853" y="1165971"/>
                    <a:pt x="355063" y="1145810"/>
                  </a:cubicBezTo>
                  <a:cubicBezTo>
                    <a:pt x="338791" y="1134777"/>
                    <a:pt x="322519" y="1123744"/>
                    <a:pt x="306247" y="1112711"/>
                  </a:cubicBezTo>
                  <a:cubicBezTo>
                    <a:pt x="270012" y="1088144"/>
                    <a:pt x="246438" y="1032740"/>
                    <a:pt x="253423" y="989918"/>
                  </a:cubicBezTo>
                  <a:cubicBezTo>
                    <a:pt x="257034" y="967851"/>
                    <a:pt x="268742" y="948682"/>
                    <a:pt x="286681" y="935387"/>
                  </a:cubicBezTo>
                  <a:cubicBezTo>
                    <a:pt x="292555" y="931021"/>
                    <a:pt x="315018" y="915344"/>
                    <a:pt x="322360" y="919829"/>
                  </a:cubicBezTo>
                  <a:cubicBezTo>
                    <a:pt x="326448" y="922330"/>
                    <a:pt x="326131" y="928203"/>
                    <a:pt x="324344" y="934871"/>
                  </a:cubicBezTo>
                  <a:cubicBezTo>
                    <a:pt x="321725" y="944475"/>
                    <a:pt x="315931" y="955707"/>
                    <a:pt x="315693" y="960747"/>
                  </a:cubicBezTo>
                  <a:cubicBezTo>
                    <a:pt x="314978" y="972336"/>
                    <a:pt x="319939" y="987616"/>
                    <a:pt x="323273" y="998847"/>
                  </a:cubicBezTo>
                  <a:close/>
                  <a:moveTo>
                    <a:pt x="260686" y="587883"/>
                  </a:moveTo>
                  <a:cubicBezTo>
                    <a:pt x="247708" y="529383"/>
                    <a:pt x="237865" y="470249"/>
                    <a:pt x="231238" y="410757"/>
                  </a:cubicBezTo>
                  <a:cubicBezTo>
                    <a:pt x="227943" y="380952"/>
                    <a:pt x="225443" y="351107"/>
                    <a:pt x="223776" y="321183"/>
                  </a:cubicBezTo>
                  <a:cubicBezTo>
                    <a:pt x="223022" y="308006"/>
                    <a:pt x="229412" y="242998"/>
                    <a:pt x="221236" y="235378"/>
                  </a:cubicBezTo>
                  <a:cubicBezTo>
                    <a:pt x="296127" y="304673"/>
                    <a:pt x="468490" y="315507"/>
                    <a:pt x="585409" y="315507"/>
                  </a:cubicBezTo>
                  <a:cubicBezTo>
                    <a:pt x="619262" y="315507"/>
                    <a:pt x="648433" y="314595"/>
                    <a:pt x="669308" y="313999"/>
                  </a:cubicBezTo>
                  <a:cubicBezTo>
                    <a:pt x="751144" y="311459"/>
                    <a:pt x="834567" y="306260"/>
                    <a:pt x="914419" y="286932"/>
                  </a:cubicBezTo>
                  <a:cubicBezTo>
                    <a:pt x="942041" y="280304"/>
                    <a:pt x="967362" y="267604"/>
                    <a:pt x="994310" y="260024"/>
                  </a:cubicBezTo>
                  <a:cubicBezTo>
                    <a:pt x="1050309" y="244308"/>
                    <a:pt x="1040585" y="299037"/>
                    <a:pt x="1032489" y="334795"/>
                  </a:cubicBezTo>
                  <a:cubicBezTo>
                    <a:pt x="1018122" y="398335"/>
                    <a:pt x="1019630" y="465606"/>
                    <a:pt x="1011772" y="530574"/>
                  </a:cubicBezTo>
                  <a:cubicBezTo>
                    <a:pt x="1000739" y="621935"/>
                    <a:pt x="983475" y="712541"/>
                    <a:pt x="959940" y="801521"/>
                  </a:cubicBezTo>
                  <a:cubicBezTo>
                    <a:pt x="947518" y="848630"/>
                    <a:pt x="937596" y="896493"/>
                    <a:pt x="911799" y="938641"/>
                  </a:cubicBezTo>
                  <a:cubicBezTo>
                    <a:pt x="890686" y="973209"/>
                    <a:pt x="859888" y="978646"/>
                    <a:pt x="822939" y="990870"/>
                  </a:cubicBezTo>
                  <a:cubicBezTo>
                    <a:pt x="788411" y="1002300"/>
                    <a:pt x="753248" y="1004761"/>
                    <a:pt x="717092" y="1005435"/>
                  </a:cubicBezTo>
                  <a:cubicBezTo>
                    <a:pt x="656847" y="1006586"/>
                    <a:pt x="596482" y="1003610"/>
                    <a:pt x="536593" y="996426"/>
                  </a:cubicBezTo>
                  <a:cubicBezTo>
                    <a:pt x="499486" y="991981"/>
                    <a:pt x="460632" y="985512"/>
                    <a:pt x="427850" y="968526"/>
                  </a:cubicBezTo>
                  <a:cubicBezTo>
                    <a:pt x="380264" y="943999"/>
                    <a:pt x="355182" y="894112"/>
                    <a:pt x="340100" y="845098"/>
                  </a:cubicBezTo>
                  <a:cubicBezTo>
                    <a:pt x="331409" y="816642"/>
                    <a:pt x="318629" y="789059"/>
                    <a:pt x="309065" y="760841"/>
                  </a:cubicBezTo>
                  <a:cubicBezTo>
                    <a:pt x="289856" y="704088"/>
                    <a:pt x="273703" y="646303"/>
                    <a:pt x="260686" y="587883"/>
                  </a:cubicBezTo>
                  <a:close/>
                  <a:moveTo>
                    <a:pt x="1047253" y="613481"/>
                  </a:moveTo>
                  <a:cubicBezTo>
                    <a:pt x="1122580" y="548592"/>
                    <a:pt x="1253390" y="434530"/>
                    <a:pt x="1209496" y="318841"/>
                  </a:cubicBezTo>
                  <a:cubicBezTo>
                    <a:pt x="1183143" y="249388"/>
                    <a:pt x="1108491" y="249229"/>
                    <a:pt x="1068367" y="290226"/>
                  </a:cubicBezTo>
                  <a:cubicBezTo>
                    <a:pt x="1068367" y="280939"/>
                    <a:pt x="1067851" y="271692"/>
                    <a:pt x="1067692" y="262405"/>
                  </a:cubicBezTo>
                  <a:cubicBezTo>
                    <a:pt x="1109602" y="188904"/>
                    <a:pt x="1166593" y="180053"/>
                    <a:pt x="1238944" y="237243"/>
                  </a:cubicBezTo>
                  <a:cubicBezTo>
                    <a:pt x="1279385" y="284749"/>
                    <a:pt x="1290696" y="339082"/>
                    <a:pt x="1272956" y="400280"/>
                  </a:cubicBezTo>
                  <a:cubicBezTo>
                    <a:pt x="1259978" y="453937"/>
                    <a:pt x="1223267" y="503071"/>
                    <a:pt x="1186358" y="542004"/>
                  </a:cubicBezTo>
                  <a:cubicBezTo>
                    <a:pt x="1138455" y="592566"/>
                    <a:pt x="1082694" y="635032"/>
                    <a:pt x="1030386" y="681029"/>
                  </a:cubicBezTo>
                  <a:cubicBezTo>
                    <a:pt x="1034553" y="659678"/>
                    <a:pt x="1038006" y="638207"/>
                    <a:pt x="1041498" y="616696"/>
                  </a:cubicBezTo>
                  <a:cubicBezTo>
                    <a:pt x="1043443" y="615862"/>
                    <a:pt x="1045387" y="615069"/>
                    <a:pt x="1047253" y="613481"/>
                  </a:cubicBezTo>
                  <a:close/>
                  <a:moveTo>
                    <a:pt x="1063842" y="375356"/>
                  </a:moveTo>
                  <a:cubicBezTo>
                    <a:pt x="1064477" y="348011"/>
                    <a:pt x="1065231" y="322691"/>
                    <a:pt x="1094441" y="308840"/>
                  </a:cubicBezTo>
                  <a:cubicBezTo>
                    <a:pt x="1155362" y="279868"/>
                    <a:pt x="1183818" y="352496"/>
                    <a:pt x="1167943" y="399922"/>
                  </a:cubicBezTo>
                  <a:cubicBezTo>
                    <a:pt x="1159529" y="428180"/>
                    <a:pt x="1143654" y="453025"/>
                    <a:pt x="1126072" y="476242"/>
                  </a:cubicBezTo>
                  <a:cubicBezTo>
                    <a:pt x="1104046" y="505333"/>
                    <a:pt x="1077892" y="530653"/>
                    <a:pt x="1050706" y="554863"/>
                  </a:cubicBezTo>
                  <a:cubicBezTo>
                    <a:pt x="1058484" y="495292"/>
                    <a:pt x="1062334" y="436038"/>
                    <a:pt x="1063842" y="375356"/>
                  </a:cubicBezTo>
                  <a:close/>
                  <a:moveTo>
                    <a:pt x="13155" y="1159740"/>
                  </a:moveTo>
                  <a:cubicBezTo>
                    <a:pt x="86140" y="1387944"/>
                    <a:pt x="417015" y="1403978"/>
                    <a:pt x="614500" y="1414177"/>
                  </a:cubicBezTo>
                  <a:cubicBezTo>
                    <a:pt x="843219" y="1426044"/>
                    <a:pt x="1146234" y="1397389"/>
                    <a:pt x="1251168" y="1155137"/>
                  </a:cubicBezTo>
                  <a:cubicBezTo>
                    <a:pt x="1328241" y="977218"/>
                    <a:pt x="1221402" y="755285"/>
                    <a:pt x="1010780" y="771279"/>
                  </a:cubicBezTo>
                  <a:cubicBezTo>
                    <a:pt x="1013003" y="762111"/>
                    <a:pt x="1014868" y="752824"/>
                    <a:pt x="1016932" y="743577"/>
                  </a:cubicBezTo>
                  <a:cubicBezTo>
                    <a:pt x="1021218" y="743299"/>
                    <a:pt x="1025544" y="741870"/>
                    <a:pt x="1029473" y="738140"/>
                  </a:cubicBezTo>
                  <a:cubicBezTo>
                    <a:pt x="1151274" y="622054"/>
                    <a:pt x="1398766" y="466320"/>
                    <a:pt x="1304785" y="261413"/>
                  </a:cubicBezTo>
                  <a:cubicBezTo>
                    <a:pt x="1259145" y="161917"/>
                    <a:pt x="1138971" y="131754"/>
                    <a:pt x="1066978" y="192238"/>
                  </a:cubicBezTo>
                  <a:cubicBezTo>
                    <a:pt x="1069994" y="184538"/>
                    <a:pt x="1072296" y="176601"/>
                    <a:pt x="1073169" y="168108"/>
                  </a:cubicBezTo>
                  <a:cubicBezTo>
                    <a:pt x="1081900" y="82700"/>
                    <a:pt x="985380" y="28963"/>
                    <a:pt x="784244" y="8286"/>
                  </a:cubicBezTo>
                  <a:cubicBezTo>
                    <a:pt x="764876" y="8286"/>
                    <a:pt x="745866" y="6381"/>
                    <a:pt x="725784" y="4317"/>
                  </a:cubicBezTo>
                  <a:cubicBezTo>
                    <a:pt x="705146" y="2293"/>
                    <a:pt x="683834" y="71"/>
                    <a:pt x="661649" y="71"/>
                  </a:cubicBezTo>
                  <a:cubicBezTo>
                    <a:pt x="650060" y="71"/>
                    <a:pt x="640694" y="9477"/>
                    <a:pt x="640694" y="21065"/>
                  </a:cubicBezTo>
                  <a:cubicBezTo>
                    <a:pt x="640694" y="32654"/>
                    <a:pt x="650060" y="42060"/>
                    <a:pt x="661649" y="42060"/>
                  </a:cubicBezTo>
                  <a:cubicBezTo>
                    <a:pt x="681691" y="42060"/>
                    <a:pt x="701059" y="44005"/>
                    <a:pt x="721617" y="46068"/>
                  </a:cubicBezTo>
                  <a:cubicBezTo>
                    <a:pt x="741818" y="48093"/>
                    <a:pt x="763685" y="49521"/>
                    <a:pt x="782021" y="50117"/>
                  </a:cubicBezTo>
                  <a:cubicBezTo>
                    <a:pt x="946169" y="67103"/>
                    <a:pt x="1037093" y="108576"/>
                    <a:pt x="1031457" y="163861"/>
                  </a:cubicBezTo>
                  <a:cubicBezTo>
                    <a:pt x="1028481" y="193150"/>
                    <a:pt x="987047" y="262247"/>
                    <a:pt x="666292" y="272089"/>
                  </a:cubicBezTo>
                  <a:cubicBezTo>
                    <a:pt x="347959" y="282209"/>
                    <a:pt x="254494" y="228472"/>
                    <a:pt x="232230" y="181879"/>
                  </a:cubicBezTo>
                  <a:cubicBezTo>
                    <a:pt x="221633" y="159734"/>
                    <a:pt x="226118" y="146359"/>
                    <a:pt x="230404" y="138223"/>
                  </a:cubicBezTo>
                  <a:cubicBezTo>
                    <a:pt x="248660" y="103457"/>
                    <a:pt x="318550" y="74802"/>
                    <a:pt x="427215" y="57578"/>
                  </a:cubicBezTo>
                  <a:cubicBezTo>
                    <a:pt x="438645" y="55713"/>
                    <a:pt x="446423" y="44997"/>
                    <a:pt x="444638" y="33567"/>
                  </a:cubicBezTo>
                  <a:cubicBezTo>
                    <a:pt x="442812" y="22137"/>
                    <a:pt x="432255" y="14517"/>
                    <a:pt x="420626" y="16104"/>
                  </a:cubicBezTo>
                  <a:cubicBezTo>
                    <a:pt x="346292" y="26304"/>
                    <a:pt x="225165" y="47974"/>
                    <a:pt x="190240" y="126039"/>
                  </a:cubicBezTo>
                  <a:cubicBezTo>
                    <a:pt x="146068" y="224742"/>
                    <a:pt x="182065" y="368847"/>
                    <a:pt x="196749" y="470567"/>
                  </a:cubicBezTo>
                  <a:cubicBezTo>
                    <a:pt x="205401" y="530217"/>
                    <a:pt x="217188" y="589431"/>
                    <a:pt x="232071" y="647811"/>
                  </a:cubicBezTo>
                  <a:cubicBezTo>
                    <a:pt x="236317" y="664480"/>
                    <a:pt x="270211" y="812475"/>
                    <a:pt x="282990" y="812752"/>
                  </a:cubicBezTo>
                  <a:cubicBezTo>
                    <a:pt x="100626" y="808546"/>
                    <a:pt x="-45543" y="976225"/>
                    <a:pt x="13155" y="1159740"/>
                  </a:cubicBezTo>
                  <a:close/>
                </a:path>
              </a:pathLst>
            </a:custGeom>
            <a:grpFill/>
            <a:ln w="39688" cap="flat">
              <a:noFill/>
              <a:prstDash val="solid"/>
              <a:round/>
            </a:ln>
          </p:spPr>
          <p:txBody>
            <a:bodyPr rtlCol="0" anchor="ctr"/>
            <a:lstStyle/>
            <a:p>
              <a:endParaRPr lang="en-LT"/>
            </a:p>
          </p:txBody>
        </p:sp>
        <p:sp>
          <p:nvSpPr>
            <p:cNvPr id="85" name="Freeform 84">
              <a:extLst>
                <a:ext uri="{FF2B5EF4-FFF2-40B4-BE49-F238E27FC236}">
                  <a16:creationId xmlns:a16="http://schemas.microsoft.com/office/drawing/2014/main" id="{B2D49A77-BA00-6B40-88A1-28187E1B64A3}"/>
                </a:ext>
              </a:extLst>
            </p:cNvPr>
            <p:cNvSpPr/>
            <p:nvPr/>
          </p:nvSpPr>
          <p:spPr>
            <a:xfrm>
              <a:off x="5819802" y="2247889"/>
              <a:ext cx="394997" cy="1114173"/>
            </a:xfrm>
            <a:custGeom>
              <a:avLst/>
              <a:gdLst>
                <a:gd name="connsiteX0" fmla="*/ 236926 w 394997"/>
                <a:gd name="connsiteY0" fmla="*/ 668289 h 1114173"/>
                <a:gd name="connsiteX1" fmla="*/ 218312 w 394997"/>
                <a:gd name="connsiteY1" fmla="*/ 1037026 h 1114173"/>
                <a:gd name="connsiteX2" fmla="*/ 120522 w 394997"/>
                <a:gd name="connsiteY2" fmla="*/ 426790 h 1114173"/>
                <a:gd name="connsiteX3" fmla="*/ 334875 w 394997"/>
                <a:gd name="connsiteY3" fmla="*/ 117942 h 1114173"/>
                <a:gd name="connsiteX4" fmla="*/ 236926 w 394997"/>
                <a:gd name="connsiteY4" fmla="*/ 668289 h 1114173"/>
                <a:gd name="connsiteX5" fmla="*/ 327691 w 394997"/>
                <a:gd name="connsiteY5" fmla="*/ 507 h 1114173"/>
                <a:gd name="connsiteX6" fmla="*/ 302093 w 394997"/>
                <a:gd name="connsiteY6" fmla="*/ 34241 h 1114173"/>
                <a:gd name="connsiteX7" fmla="*/ 117149 w 394997"/>
                <a:gd name="connsiteY7" fmla="*/ 361306 h 1114173"/>
                <a:gd name="connsiteX8" fmla="*/ 3166 w 394997"/>
                <a:gd name="connsiteY8" fmla="*/ 623005 h 1114173"/>
                <a:gd name="connsiteX9" fmla="*/ 221130 w 394997"/>
                <a:gd name="connsiteY9" fmla="*/ 1099454 h 1114173"/>
                <a:gd name="connsiteX10" fmla="*/ 232997 w 394997"/>
                <a:gd name="connsiteY10" fmla="*/ 1106836 h 1114173"/>
                <a:gd name="connsiteX11" fmla="*/ 279431 w 394997"/>
                <a:gd name="connsiteY11" fmla="*/ 1107908 h 1114173"/>
                <a:gd name="connsiteX12" fmla="*/ 242006 w 394997"/>
                <a:gd name="connsiteY12" fmla="*/ 978765 h 1114173"/>
                <a:gd name="connsiteX13" fmla="*/ 240815 w 394997"/>
                <a:gd name="connsiteY13" fmla="*/ 807195 h 1114173"/>
                <a:gd name="connsiteX14" fmla="*/ 360513 w 394997"/>
                <a:gd name="connsiteY14" fmla="*/ 468780 h 1114173"/>
                <a:gd name="connsiteX15" fmla="*/ 392461 w 394997"/>
                <a:gd name="connsiteY15" fmla="*/ 205850 h 1114173"/>
                <a:gd name="connsiteX16" fmla="*/ 327691 w 394997"/>
                <a:gd name="connsiteY16" fmla="*/ 507 h 111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4997" h="1114173">
                  <a:moveTo>
                    <a:pt x="236926" y="668289"/>
                  </a:moveTo>
                  <a:cubicBezTo>
                    <a:pt x="192198" y="788185"/>
                    <a:pt x="169219" y="919948"/>
                    <a:pt x="218312" y="1037026"/>
                  </a:cubicBezTo>
                  <a:cubicBezTo>
                    <a:pt x="34162" y="888594"/>
                    <a:pt x="-14058" y="628840"/>
                    <a:pt x="120522" y="426790"/>
                  </a:cubicBezTo>
                  <a:cubicBezTo>
                    <a:pt x="191206" y="320706"/>
                    <a:pt x="293600" y="233790"/>
                    <a:pt x="334875" y="117942"/>
                  </a:cubicBezTo>
                  <a:cubicBezTo>
                    <a:pt x="380436" y="309077"/>
                    <a:pt x="308205" y="477313"/>
                    <a:pt x="236926" y="668289"/>
                  </a:cubicBezTo>
                  <a:close/>
                  <a:moveTo>
                    <a:pt x="327691" y="507"/>
                  </a:moveTo>
                  <a:cubicBezTo>
                    <a:pt x="313404" y="4753"/>
                    <a:pt x="304236" y="19477"/>
                    <a:pt x="302093" y="34241"/>
                  </a:cubicBezTo>
                  <a:cubicBezTo>
                    <a:pt x="281693" y="172076"/>
                    <a:pt x="202080" y="252324"/>
                    <a:pt x="117149" y="361306"/>
                  </a:cubicBezTo>
                  <a:cubicBezTo>
                    <a:pt x="56625" y="438974"/>
                    <a:pt x="15271" y="524422"/>
                    <a:pt x="3166" y="623005"/>
                  </a:cubicBezTo>
                  <a:cubicBezTo>
                    <a:pt x="-18225" y="797591"/>
                    <a:pt x="69960" y="1001982"/>
                    <a:pt x="221130" y="1099454"/>
                  </a:cubicBezTo>
                  <a:cubicBezTo>
                    <a:pt x="225020" y="1101994"/>
                    <a:pt x="228988" y="1104455"/>
                    <a:pt x="232997" y="1106836"/>
                  </a:cubicBezTo>
                  <a:cubicBezTo>
                    <a:pt x="247086" y="1115210"/>
                    <a:pt x="266096" y="1117472"/>
                    <a:pt x="279431" y="1107908"/>
                  </a:cubicBezTo>
                  <a:cubicBezTo>
                    <a:pt x="309514" y="1086278"/>
                    <a:pt x="249586" y="1007340"/>
                    <a:pt x="242006" y="978765"/>
                  </a:cubicBezTo>
                  <a:cubicBezTo>
                    <a:pt x="227123" y="922567"/>
                    <a:pt x="229584" y="863790"/>
                    <a:pt x="240815" y="807195"/>
                  </a:cubicBezTo>
                  <a:cubicBezTo>
                    <a:pt x="264152" y="689164"/>
                    <a:pt x="322452" y="582088"/>
                    <a:pt x="360513" y="468780"/>
                  </a:cubicBezTo>
                  <a:cubicBezTo>
                    <a:pt x="388850" y="384325"/>
                    <a:pt x="400597" y="294671"/>
                    <a:pt x="392461" y="205850"/>
                  </a:cubicBezTo>
                  <a:cubicBezTo>
                    <a:pt x="389366" y="172115"/>
                    <a:pt x="366625" y="-11043"/>
                    <a:pt x="327691" y="507"/>
                  </a:cubicBezTo>
                  <a:close/>
                </a:path>
              </a:pathLst>
            </a:custGeom>
            <a:grpFill/>
            <a:ln w="39688" cap="flat">
              <a:noFill/>
              <a:prstDash val="solid"/>
              <a:round/>
            </a:ln>
          </p:spPr>
          <p:txBody>
            <a:bodyPr rtlCol="0" anchor="ctr"/>
            <a:lstStyle/>
            <a:p>
              <a:endParaRPr lang="en-LT"/>
            </a:p>
          </p:txBody>
        </p:sp>
        <p:sp>
          <p:nvSpPr>
            <p:cNvPr id="86" name="Freeform 85">
              <a:extLst>
                <a:ext uri="{FF2B5EF4-FFF2-40B4-BE49-F238E27FC236}">
                  <a16:creationId xmlns:a16="http://schemas.microsoft.com/office/drawing/2014/main" id="{F8DE282F-714F-D647-8314-12D5BE833F67}"/>
                </a:ext>
              </a:extLst>
            </p:cNvPr>
            <p:cNvSpPr/>
            <p:nvPr/>
          </p:nvSpPr>
          <p:spPr>
            <a:xfrm>
              <a:off x="6070157" y="2642622"/>
              <a:ext cx="252150" cy="512904"/>
            </a:xfrm>
            <a:custGeom>
              <a:avLst/>
              <a:gdLst>
                <a:gd name="connsiteX0" fmla="*/ 203200 w 252150"/>
                <a:gd name="connsiteY0" fmla="*/ 112075 h 512904"/>
                <a:gd name="connsiteX1" fmla="*/ 49728 w 252150"/>
                <a:gd name="connsiteY1" fmla="*/ 460532 h 512904"/>
                <a:gd name="connsiteX2" fmla="*/ 203200 w 252150"/>
                <a:gd name="connsiteY2" fmla="*/ 112075 h 512904"/>
                <a:gd name="connsiteX3" fmla="*/ 5080 w 252150"/>
                <a:gd name="connsiteY3" fmla="*/ 450293 h 512904"/>
                <a:gd name="connsiteX4" fmla="*/ 39211 w 252150"/>
                <a:gd name="connsiteY4" fmla="*/ 499267 h 512904"/>
                <a:gd name="connsiteX5" fmla="*/ 79255 w 252150"/>
                <a:gd name="connsiteY5" fmla="*/ 510380 h 512904"/>
                <a:gd name="connsiteX6" fmla="*/ 141208 w 252150"/>
                <a:gd name="connsiteY6" fmla="*/ 367663 h 512904"/>
                <a:gd name="connsiteX7" fmla="*/ 234077 w 252150"/>
                <a:gd name="connsiteY7" fmla="*/ 228003 h 512904"/>
                <a:gd name="connsiteX8" fmla="*/ 227012 w 252150"/>
                <a:gd name="connsiteY8" fmla="*/ 21231 h 512904"/>
                <a:gd name="connsiteX9" fmla="*/ 182007 w 252150"/>
                <a:gd name="connsiteY9" fmla="*/ 45916 h 512904"/>
                <a:gd name="connsiteX10" fmla="*/ 120888 w 252150"/>
                <a:gd name="connsiteY10" fmla="*/ 160534 h 512904"/>
                <a:gd name="connsiteX11" fmla="*/ 56594 w 252150"/>
                <a:gd name="connsiteY11" fmla="*/ 259912 h 512904"/>
                <a:gd name="connsiteX12" fmla="*/ 5080 w 252150"/>
                <a:gd name="connsiteY12" fmla="*/ 450293 h 512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150" h="512904">
                  <a:moveTo>
                    <a:pt x="203200" y="112075"/>
                  </a:moveTo>
                  <a:cubicBezTo>
                    <a:pt x="222924" y="248918"/>
                    <a:pt x="80764" y="331786"/>
                    <a:pt x="49728" y="460532"/>
                  </a:cubicBezTo>
                  <a:cubicBezTo>
                    <a:pt x="29567" y="333969"/>
                    <a:pt x="146288" y="227328"/>
                    <a:pt x="203200" y="112075"/>
                  </a:cubicBezTo>
                  <a:close/>
                  <a:moveTo>
                    <a:pt x="5080" y="450293"/>
                  </a:moveTo>
                  <a:cubicBezTo>
                    <a:pt x="8929" y="462874"/>
                    <a:pt x="22661" y="484980"/>
                    <a:pt x="39211" y="499267"/>
                  </a:cubicBezTo>
                  <a:cubicBezTo>
                    <a:pt x="51990" y="510340"/>
                    <a:pt x="66436" y="516730"/>
                    <a:pt x="79255" y="510380"/>
                  </a:cubicBezTo>
                  <a:cubicBezTo>
                    <a:pt x="100369" y="499942"/>
                    <a:pt x="123269" y="392468"/>
                    <a:pt x="141208" y="367663"/>
                  </a:cubicBezTo>
                  <a:cubicBezTo>
                    <a:pt x="174029" y="322340"/>
                    <a:pt x="213399" y="280946"/>
                    <a:pt x="234077" y="228003"/>
                  </a:cubicBezTo>
                  <a:cubicBezTo>
                    <a:pt x="255666" y="172718"/>
                    <a:pt x="263049" y="72031"/>
                    <a:pt x="227012" y="21231"/>
                  </a:cubicBezTo>
                  <a:cubicBezTo>
                    <a:pt x="193794" y="-25680"/>
                    <a:pt x="193238" y="15397"/>
                    <a:pt x="182007" y="45916"/>
                  </a:cubicBezTo>
                  <a:cubicBezTo>
                    <a:pt x="168275" y="83302"/>
                    <a:pt x="142160" y="126403"/>
                    <a:pt x="120888" y="160534"/>
                  </a:cubicBezTo>
                  <a:cubicBezTo>
                    <a:pt x="100012" y="193991"/>
                    <a:pt x="77509" y="226495"/>
                    <a:pt x="56594" y="259912"/>
                  </a:cubicBezTo>
                  <a:cubicBezTo>
                    <a:pt x="24447" y="311188"/>
                    <a:pt x="-13971" y="388182"/>
                    <a:pt x="5080" y="450293"/>
                  </a:cubicBezTo>
                  <a:close/>
                </a:path>
              </a:pathLst>
            </a:custGeom>
            <a:grpFill/>
            <a:ln w="39688" cap="flat">
              <a:noFill/>
              <a:prstDash val="solid"/>
              <a:round/>
            </a:ln>
          </p:spPr>
          <p:txBody>
            <a:bodyPr rtlCol="0" anchor="ctr"/>
            <a:lstStyle/>
            <a:p>
              <a:endParaRPr lang="en-LT"/>
            </a:p>
          </p:txBody>
        </p:sp>
        <p:sp>
          <p:nvSpPr>
            <p:cNvPr id="87" name="Freeform 86">
              <a:extLst>
                <a:ext uri="{FF2B5EF4-FFF2-40B4-BE49-F238E27FC236}">
                  <a16:creationId xmlns:a16="http://schemas.microsoft.com/office/drawing/2014/main" id="{65248DE3-864C-4E4A-A389-74365B3AB855}"/>
                </a:ext>
              </a:extLst>
            </p:cNvPr>
            <p:cNvSpPr/>
            <p:nvPr/>
          </p:nvSpPr>
          <p:spPr>
            <a:xfrm>
              <a:off x="5730990" y="3275193"/>
              <a:ext cx="644030" cy="181705"/>
            </a:xfrm>
            <a:custGeom>
              <a:avLst/>
              <a:gdLst>
                <a:gd name="connsiteX0" fmla="*/ 54357 w 644030"/>
                <a:gd name="connsiteY0" fmla="*/ 41795 h 181705"/>
                <a:gd name="connsiteX1" fmla="*/ 72851 w 644030"/>
                <a:gd name="connsiteY1" fmla="*/ 18617 h 181705"/>
                <a:gd name="connsiteX2" fmla="*/ 49714 w 644030"/>
                <a:gd name="connsiteY2" fmla="*/ 123 h 181705"/>
                <a:gd name="connsiteX3" fmla="*/ 6692 w 644030"/>
                <a:gd name="connsiteY3" fmla="*/ 32548 h 181705"/>
                <a:gd name="connsiteX4" fmla="*/ 11376 w 644030"/>
                <a:gd name="connsiteY4" fmla="*/ 103112 h 181705"/>
                <a:gd name="connsiteX5" fmla="*/ 100117 w 644030"/>
                <a:gd name="connsiteY5" fmla="*/ 153476 h 181705"/>
                <a:gd name="connsiteX6" fmla="*/ 338440 w 644030"/>
                <a:gd name="connsiteY6" fmla="*/ 181733 h 181705"/>
                <a:gd name="connsiteX7" fmla="*/ 523980 w 644030"/>
                <a:gd name="connsiteY7" fmla="*/ 164628 h 181705"/>
                <a:gd name="connsiteX8" fmla="*/ 642407 w 644030"/>
                <a:gd name="connsiteY8" fmla="*/ 91166 h 181705"/>
                <a:gd name="connsiteX9" fmla="*/ 631136 w 644030"/>
                <a:gd name="connsiteY9" fmla="*/ 63782 h 181705"/>
                <a:gd name="connsiteX10" fmla="*/ 603712 w 644030"/>
                <a:gd name="connsiteY10" fmla="*/ 75053 h 181705"/>
                <a:gd name="connsiteX11" fmla="*/ 516241 w 644030"/>
                <a:gd name="connsiteY11" fmla="*/ 123393 h 181705"/>
                <a:gd name="connsiteX12" fmla="*/ 109999 w 644030"/>
                <a:gd name="connsiteY12" fmla="*/ 112677 h 181705"/>
                <a:gd name="connsiteX13" fmla="*/ 46221 w 644030"/>
                <a:gd name="connsiteY13" fmla="*/ 79776 h 181705"/>
                <a:gd name="connsiteX14" fmla="*/ 44713 w 644030"/>
                <a:gd name="connsiteY14" fmla="*/ 50249 h 181705"/>
                <a:gd name="connsiteX15" fmla="*/ 54357 w 644030"/>
                <a:gd name="connsiteY15" fmla="*/ 41795 h 18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4030" h="181705">
                  <a:moveTo>
                    <a:pt x="54357" y="41795"/>
                  </a:moveTo>
                  <a:cubicBezTo>
                    <a:pt x="65867" y="40565"/>
                    <a:pt x="74161" y="30167"/>
                    <a:pt x="72851" y="18617"/>
                  </a:cubicBezTo>
                  <a:cubicBezTo>
                    <a:pt x="71582" y="7148"/>
                    <a:pt x="61541" y="-948"/>
                    <a:pt x="49714" y="123"/>
                  </a:cubicBezTo>
                  <a:cubicBezTo>
                    <a:pt x="30981" y="2187"/>
                    <a:pt x="15305" y="14014"/>
                    <a:pt x="6692" y="32548"/>
                  </a:cubicBezTo>
                  <a:cubicBezTo>
                    <a:pt x="-3745" y="54971"/>
                    <a:pt x="-1840" y="83308"/>
                    <a:pt x="11376" y="103112"/>
                  </a:cubicBezTo>
                  <a:cubicBezTo>
                    <a:pt x="31577" y="133315"/>
                    <a:pt x="65986" y="145141"/>
                    <a:pt x="100117" y="153476"/>
                  </a:cubicBezTo>
                  <a:cubicBezTo>
                    <a:pt x="177746" y="172327"/>
                    <a:pt x="258073" y="181733"/>
                    <a:pt x="338440" y="181733"/>
                  </a:cubicBezTo>
                  <a:cubicBezTo>
                    <a:pt x="400790" y="181733"/>
                    <a:pt x="463020" y="176058"/>
                    <a:pt x="523980" y="164628"/>
                  </a:cubicBezTo>
                  <a:cubicBezTo>
                    <a:pt x="564858" y="156929"/>
                    <a:pt x="621651" y="140935"/>
                    <a:pt x="642407" y="91166"/>
                  </a:cubicBezTo>
                  <a:cubicBezTo>
                    <a:pt x="646852" y="80530"/>
                    <a:pt x="641812" y="68227"/>
                    <a:pt x="631136" y="63782"/>
                  </a:cubicBezTo>
                  <a:cubicBezTo>
                    <a:pt x="620540" y="59297"/>
                    <a:pt x="608197" y="64258"/>
                    <a:pt x="603712" y="75053"/>
                  </a:cubicBezTo>
                  <a:cubicBezTo>
                    <a:pt x="593830" y="98667"/>
                    <a:pt x="566049" y="114027"/>
                    <a:pt x="516241" y="123393"/>
                  </a:cubicBezTo>
                  <a:cubicBezTo>
                    <a:pt x="382653" y="148436"/>
                    <a:pt x="242198" y="144784"/>
                    <a:pt x="109999" y="112677"/>
                  </a:cubicBezTo>
                  <a:cubicBezTo>
                    <a:pt x="84123" y="106407"/>
                    <a:pt x="58485" y="98033"/>
                    <a:pt x="46221" y="79776"/>
                  </a:cubicBezTo>
                  <a:cubicBezTo>
                    <a:pt x="41102" y="72077"/>
                    <a:pt x="40427" y="59377"/>
                    <a:pt x="44713" y="50249"/>
                  </a:cubicBezTo>
                  <a:cubicBezTo>
                    <a:pt x="47094" y="45089"/>
                    <a:pt x="50349" y="42271"/>
                    <a:pt x="54357" y="41795"/>
                  </a:cubicBezTo>
                  <a:close/>
                </a:path>
              </a:pathLst>
            </a:custGeom>
            <a:grpFill/>
            <a:ln w="39688" cap="flat">
              <a:noFill/>
              <a:prstDash val="solid"/>
              <a:round/>
            </a:ln>
          </p:spPr>
          <p:txBody>
            <a:bodyPr rtlCol="0" anchor="ctr"/>
            <a:lstStyle/>
            <a:p>
              <a:endParaRPr lang="en-LT"/>
            </a:p>
          </p:txBody>
        </p:sp>
      </p:grpSp>
      <p:grpSp>
        <p:nvGrpSpPr>
          <p:cNvPr id="88" name="Graphic 2">
            <a:extLst>
              <a:ext uri="{FF2B5EF4-FFF2-40B4-BE49-F238E27FC236}">
                <a16:creationId xmlns:a16="http://schemas.microsoft.com/office/drawing/2014/main" id="{A2A90DC7-A5BD-4546-8D12-FCCDE8B3FA5F}"/>
              </a:ext>
            </a:extLst>
          </p:cNvPr>
          <p:cNvGrpSpPr/>
          <p:nvPr/>
        </p:nvGrpSpPr>
        <p:grpSpPr>
          <a:xfrm>
            <a:off x="2917145" y="3713829"/>
            <a:ext cx="738468" cy="1314379"/>
            <a:chOff x="5429256" y="2247889"/>
            <a:chExt cx="1325619" cy="2359432"/>
          </a:xfrm>
          <a:solidFill>
            <a:schemeClr val="tx1">
              <a:lumMod val="75000"/>
              <a:lumOff val="25000"/>
            </a:schemeClr>
          </a:solidFill>
        </p:grpSpPr>
        <p:sp>
          <p:nvSpPr>
            <p:cNvPr id="89" name="Freeform 88">
              <a:extLst>
                <a:ext uri="{FF2B5EF4-FFF2-40B4-BE49-F238E27FC236}">
                  <a16:creationId xmlns:a16="http://schemas.microsoft.com/office/drawing/2014/main" id="{4D1AD086-03D1-8A4C-8C21-42DC30E47D7C}"/>
                </a:ext>
              </a:extLst>
            </p:cNvPr>
            <p:cNvSpPr/>
            <p:nvPr/>
          </p:nvSpPr>
          <p:spPr>
            <a:xfrm>
              <a:off x="5698604" y="3544319"/>
              <a:ext cx="282809" cy="544047"/>
            </a:xfrm>
            <a:custGeom>
              <a:avLst/>
              <a:gdLst>
                <a:gd name="connsiteX0" fmla="*/ 44102 w 282809"/>
                <a:gd name="connsiteY0" fmla="*/ 50993 h 544047"/>
                <a:gd name="connsiteX1" fmla="*/ 88988 w 282809"/>
                <a:gd name="connsiteY1" fmla="*/ 55042 h 544047"/>
                <a:gd name="connsiteX2" fmla="*/ 226227 w 282809"/>
                <a:gd name="connsiteY2" fmla="*/ 501725 h 544047"/>
                <a:gd name="connsiteX3" fmla="*/ 151218 w 282809"/>
                <a:gd name="connsiteY3" fmla="*/ 472039 h 544047"/>
                <a:gd name="connsiteX4" fmla="*/ 95060 w 282809"/>
                <a:gd name="connsiteY4" fmla="*/ 357302 h 544047"/>
                <a:gd name="connsiteX5" fmla="*/ 44102 w 282809"/>
                <a:gd name="connsiteY5" fmla="*/ 50993 h 544047"/>
                <a:gd name="connsiteX6" fmla="*/ 121095 w 282809"/>
                <a:gd name="connsiteY6" fmla="*/ 501288 h 544047"/>
                <a:gd name="connsiteX7" fmla="*/ 218488 w 282809"/>
                <a:gd name="connsiteY7" fmla="*/ 544111 h 544047"/>
                <a:gd name="connsiteX8" fmla="*/ 273217 w 282809"/>
                <a:gd name="connsiteY8" fmla="*/ 528395 h 544047"/>
                <a:gd name="connsiteX9" fmla="*/ 282623 w 282809"/>
                <a:gd name="connsiteY9" fmla="*/ 513472 h 544047"/>
                <a:gd name="connsiteX10" fmla="*/ 277266 w 282809"/>
                <a:gd name="connsiteY10" fmla="*/ 496724 h 544047"/>
                <a:gd name="connsiteX11" fmla="*/ 134073 w 282809"/>
                <a:gd name="connsiteY11" fmla="*/ 30674 h 544047"/>
                <a:gd name="connsiteX12" fmla="*/ 126215 w 282809"/>
                <a:gd name="connsiteY12" fmla="*/ 11147 h 544047"/>
                <a:gd name="connsiteX13" fmla="*/ 105379 w 282809"/>
                <a:gd name="connsiteY13" fmla="*/ 8250 h 544047"/>
                <a:gd name="connsiteX14" fmla="*/ 38029 w 282809"/>
                <a:gd name="connsiteY14" fmla="*/ 3051 h 544047"/>
                <a:gd name="connsiteX15" fmla="*/ 18582 w 282809"/>
                <a:gd name="connsiteY15" fmla="*/ 1940 h 544047"/>
                <a:gd name="connsiteX16" fmla="*/ 6597 w 282809"/>
                <a:gd name="connsiteY16" fmla="*/ 17299 h 544047"/>
                <a:gd name="connsiteX17" fmla="*/ 55055 w 282809"/>
                <a:gd name="connsiteY17" fmla="*/ 369843 h 544047"/>
                <a:gd name="connsiteX18" fmla="*/ 121095 w 282809"/>
                <a:gd name="connsiteY18" fmla="*/ 501288 h 54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2809" h="544047">
                  <a:moveTo>
                    <a:pt x="44102" y="50993"/>
                  </a:moveTo>
                  <a:cubicBezTo>
                    <a:pt x="58468" y="55121"/>
                    <a:pt x="74105" y="56510"/>
                    <a:pt x="88988" y="55042"/>
                  </a:cubicBezTo>
                  <a:cubicBezTo>
                    <a:pt x="74423" y="214744"/>
                    <a:pt x="124508" y="377781"/>
                    <a:pt x="226227" y="501725"/>
                  </a:cubicBezTo>
                  <a:cubicBezTo>
                    <a:pt x="201304" y="504622"/>
                    <a:pt x="171260" y="492756"/>
                    <a:pt x="151218" y="472039"/>
                  </a:cubicBezTo>
                  <a:cubicBezTo>
                    <a:pt x="123556" y="443622"/>
                    <a:pt x="109983" y="404927"/>
                    <a:pt x="95060" y="357302"/>
                  </a:cubicBezTo>
                  <a:cubicBezTo>
                    <a:pt x="60929" y="248320"/>
                    <a:pt x="33505" y="149260"/>
                    <a:pt x="44102" y="50993"/>
                  </a:cubicBezTo>
                  <a:close/>
                  <a:moveTo>
                    <a:pt x="121095" y="501288"/>
                  </a:moveTo>
                  <a:cubicBezTo>
                    <a:pt x="147130" y="528117"/>
                    <a:pt x="183563" y="544111"/>
                    <a:pt x="218488" y="544111"/>
                  </a:cubicBezTo>
                  <a:cubicBezTo>
                    <a:pt x="238531" y="544111"/>
                    <a:pt x="257462" y="538674"/>
                    <a:pt x="273217" y="528395"/>
                  </a:cubicBezTo>
                  <a:cubicBezTo>
                    <a:pt x="278377" y="525061"/>
                    <a:pt x="281830" y="519584"/>
                    <a:pt x="282623" y="513472"/>
                  </a:cubicBezTo>
                  <a:cubicBezTo>
                    <a:pt x="283378" y="507400"/>
                    <a:pt x="281472" y="501249"/>
                    <a:pt x="277266" y="496724"/>
                  </a:cubicBezTo>
                  <a:cubicBezTo>
                    <a:pt x="163600" y="371907"/>
                    <a:pt x="110062" y="197758"/>
                    <a:pt x="134073" y="30674"/>
                  </a:cubicBezTo>
                  <a:cubicBezTo>
                    <a:pt x="135145" y="23212"/>
                    <a:pt x="132168" y="15751"/>
                    <a:pt x="126215" y="11147"/>
                  </a:cubicBezTo>
                  <a:cubicBezTo>
                    <a:pt x="120301" y="6504"/>
                    <a:pt x="112404" y="5393"/>
                    <a:pt x="105379" y="8250"/>
                  </a:cubicBezTo>
                  <a:cubicBezTo>
                    <a:pt x="84225" y="16862"/>
                    <a:pt x="57595" y="14759"/>
                    <a:pt x="38029" y="3051"/>
                  </a:cubicBezTo>
                  <a:cubicBezTo>
                    <a:pt x="32155" y="-481"/>
                    <a:pt x="24853" y="-918"/>
                    <a:pt x="18582" y="1940"/>
                  </a:cubicBezTo>
                  <a:cubicBezTo>
                    <a:pt x="12312" y="4757"/>
                    <a:pt x="7827" y="10552"/>
                    <a:pt x="6597" y="17299"/>
                  </a:cubicBezTo>
                  <a:cubicBezTo>
                    <a:pt x="-14279" y="133464"/>
                    <a:pt x="17590" y="250344"/>
                    <a:pt x="55055" y="369843"/>
                  </a:cubicBezTo>
                  <a:cubicBezTo>
                    <a:pt x="68073" y="411555"/>
                    <a:pt x="84345" y="463387"/>
                    <a:pt x="121095" y="501288"/>
                  </a:cubicBezTo>
                  <a:close/>
                </a:path>
              </a:pathLst>
            </a:custGeom>
            <a:grpFill/>
            <a:ln w="39688" cap="flat">
              <a:noFill/>
              <a:prstDash val="solid"/>
              <a:round/>
            </a:ln>
          </p:spPr>
          <p:txBody>
            <a:bodyPr rtlCol="0" anchor="ctr"/>
            <a:lstStyle/>
            <a:p>
              <a:endParaRPr lang="en-LT"/>
            </a:p>
          </p:txBody>
        </p:sp>
        <p:sp>
          <p:nvSpPr>
            <p:cNvPr id="90" name="Freeform 89">
              <a:extLst>
                <a:ext uri="{FF2B5EF4-FFF2-40B4-BE49-F238E27FC236}">
                  <a16:creationId xmlns:a16="http://schemas.microsoft.com/office/drawing/2014/main" id="{30AA2F84-922F-5E4D-8A93-4226195A0AEB}"/>
                </a:ext>
              </a:extLst>
            </p:cNvPr>
            <p:cNvSpPr/>
            <p:nvPr/>
          </p:nvSpPr>
          <p:spPr>
            <a:xfrm>
              <a:off x="5429256" y="3190991"/>
              <a:ext cx="1325619" cy="1416330"/>
            </a:xfrm>
            <a:custGeom>
              <a:avLst/>
              <a:gdLst>
                <a:gd name="connsiteX0" fmla="*/ 298468 w 1325619"/>
                <a:gd name="connsiteY0" fmla="*/ 855377 h 1416330"/>
                <a:gd name="connsiteX1" fmla="*/ 304977 w 1325619"/>
                <a:gd name="connsiteY1" fmla="*/ 870537 h 1416330"/>
                <a:gd name="connsiteX2" fmla="*/ 241596 w 1325619"/>
                <a:gd name="connsiteY2" fmla="*/ 1101162 h 1416330"/>
                <a:gd name="connsiteX3" fmla="*/ 690859 w 1325619"/>
                <a:gd name="connsiteY3" fmla="*/ 1259872 h 1416330"/>
                <a:gd name="connsiteX4" fmla="*/ 1090473 w 1325619"/>
                <a:gd name="connsiteY4" fmla="*/ 1110290 h 1416330"/>
                <a:gd name="connsiteX5" fmla="*/ 979030 w 1325619"/>
                <a:gd name="connsiteY5" fmla="*/ 885896 h 1416330"/>
                <a:gd name="connsiteX6" fmla="*/ 1000382 w 1325619"/>
                <a:gd name="connsiteY6" fmla="*/ 810411 h 1416330"/>
                <a:gd name="connsiteX7" fmla="*/ 1011415 w 1325619"/>
                <a:gd name="connsiteY7" fmla="*/ 813030 h 1416330"/>
                <a:gd name="connsiteX8" fmla="*/ 1124167 w 1325619"/>
                <a:gd name="connsiteY8" fmla="*/ 1255784 h 1416330"/>
                <a:gd name="connsiteX9" fmla="*/ 614500 w 1325619"/>
                <a:gd name="connsiteY9" fmla="*/ 1372227 h 1416330"/>
                <a:gd name="connsiteX10" fmla="*/ 104674 w 1325619"/>
                <a:gd name="connsiteY10" fmla="*/ 1234432 h 1416330"/>
                <a:gd name="connsiteX11" fmla="*/ 298468 w 1325619"/>
                <a:gd name="connsiteY11" fmla="*/ 855377 h 1416330"/>
                <a:gd name="connsiteX12" fmla="*/ 361095 w 1325619"/>
                <a:gd name="connsiteY12" fmla="*/ 969478 h 1416330"/>
                <a:gd name="connsiteX13" fmla="*/ 408561 w 1325619"/>
                <a:gd name="connsiteY13" fmla="*/ 1005793 h 1416330"/>
                <a:gd name="connsiteX14" fmla="*/ 531593 w 1325619"/>
                <a:gd name="connsiteY14" fmla="*/ 1038058 h 1416330"/>
                <a:gd name="connsiteX15" fmla="*/ 692248 w 1325619"/>
                <a:gd name="connsiteY15" fmla="*/ 1047623 h 1416330"/>
                <a:gd name="connsiteX16" fmla="*/ 769837 w 1325619"/>
                <a:gd name="connsiteY16" fmla="*/ 1045361 h 1416330"/>
                <a:gd name="connsiteX17" fmla="*/ 922951 w 1325619"/>
                <a:gd name="connsiteY17" fmla="*/ 1000514 h 1416330"/>
                <a:gd name="connsiteX18" fmla="*/ 799523 w 1325619"/>
                <a:gd name="connsiteY18" fmla="*/ 1077865 h 1416330"/>
                <a:gd name="connsiteX19" fmla="*/ 553818 w 1325619"/>
                <a:gd name="connsiteY19" fmla="*/ 1078738 h 1416330"/>
                <a:gd name="connsiteX20" fmla="*/ 542705 w 1325619"/>
                <a:gd name="connsiteY20" fmla="*/ 1077349 h 1416330"/>
                <a:gd name="connsiteX21" fmla="*/ 361095 w 1325619"/>
                <a:gd name="connsiteY21" fmla="*/ 969478 h 1416330"/>
                <a:gd name="connsiteX22" fmla="*/ 323273 w 1325619"/>
                <a:gd name="connsiteY22" fmla="*/ 998847 h 1416330"/>
                <a:gd name="connsiteX23" fmla="*/ 359944 w 1325619"/>
                <a:gd name="connsiteY23" fmla="*/ 1054568 h 1416330"/>
                <a:gd name="connsiteX24" fmla="*/ 537546 w 1325619"/>
                <a:gd name="connsiteY24" fmla="*/ 1118942 h 1416330"/>
                <a:gd name="connsiteX25" fmla="*/ 548619 w 1325619"/>
                <a:gd name="connsiteY25" fmla="*/ 1120331 h 1416330"/>
                <a:gd name="connsiteX26" fmla="*/ 696018 w 1325619"/>
                <a:gd name="connsiteY26" fmla="*/ 1132515 h 1416330"/>
                <a:gd name="connsiteX27" fmla="*/ 810914 w 1325619"/>
                <a:gd name="connsiteY27" fmla="*/ 1118267 h 1416330"/>
                <a:gd name="connsiteX28" fmla="*/ 970537 w 1325619"/>
                <a:gd name="connsiteY28" fmla="*/ 911773 h 1416330"/>
                <a:gd name="connsiteX29" fmla="*/ 1028044 w 1325619"/>
                <a:gd name="connsiteY29" fmla="*/ 947412 h 1416330"/>
                <a:gd name="connsiteX30" fmla="*/ 1058524 w 1325619"/>
                <a:gd name="connsiteY30" fmla="*/ 1004364 h 1416330"/>
                <a:gd name="connsiteX31" fmla="*/ 1020424 w 1325619"/>
                <a:gd name="connsiteY31" fmla="*/ 1134340 h 1416330"/>
                <a:gd name="connsiteX32" fmla="*/ 908902 w 1325619"/>
                <a:gd name="connsiteY32" fmla="*/ 1193554 h 1416330"/>
                <a:gd name="connsiteX33" fmla="*/ 690859 w 1325619"/>
                <a:gd name="connsiteY33" fmla="*/ 1217922 h 1416330"/>
                <a:gd name="connsiteX34" fmla="*/ 476268 w 1325619"/>
                <a:gd name="connsiteY34" fmla="*/ 1189188 h 1416330"/>
                <a:gd name="connsiteX35" fmla="*/ 355063 w 1325619"/>
                <a:gd name="connsiteY35" fmla="*/ 1145810 h 1416330"/>
                <a:gd name="connsiteX36" fmla="*/ 306247 w 1325619"/>
                <a:gd name="connsiteY36" fmla="*/ 1112711 h 1416330"/>
                <a:gd name="connsiteX37" fmla="*/ 253423 w 1325619"/>
                <a:gd name="connsiteY37" fmla="*/ 989918 h 1416330"/>
                <a:gd name="connsiteX38" fmla="*/ 286681 w 1325619"/>
                <a:gd name="connsiteY38" fmla="*/ 935387 h 1416330"/>
                <a:gd name="connsiteX39" fmla="*/ 322360 w 1325619"/>
                <a:gd name="connsiteY39" fmla="*/ 919829 h 1416330"/>
                <a:gd name="connsiteX40" fmla="*/ 324344 w 1325619"/>
                <a:gd name="connsiteY40" fmla="*/ 934871 h 1416330"/>
                <a:gd name="connsiteX41" fmla="*/ 315693 w 1325619"/>
                <a:gd name="connsiteY41" fmla="*/ 960747 h 1416330"/>
                <a:gd name="connsiteX42" fmla="*/ 323273 w 1325619"/>
                <a:gd name="connsiteY42" fmla="*/ 998847 h 1416330"/>
                <a:gd name="connsiteX43" fmla="*/ 260686 w 1325619"/>
                <a:gd name="connsiteY43" fmla="*/ 587883 h 1416330"/>
                <a:gd name="connsiteX44" fmla="*/ 231238 w 1325619"/>
                <a:gd name="connsiteY44" fmla="*/ 410757 h 1416330"/>
                <a:gd name="connsiteX45" fmla="*/ 223776 w 1325619"/>
                <a:gd name="connsiteY45" fmla="*/ 321183 h 1416330"/>
                <a:gd name="connsiteX46" fmla="*/ 221236 w 1325619"/>
                <a:gd name="connsiteY46" fmla="*/ 235378 h 1416330"/>
                <a:gd name="connsiteX47" fmla="*/ 585409 w 1325619"/>
                <a:gd name="connsiteY47" fmla="*/ 315507 h 1416330"/>
                <a:gd name="connsiteX48" fmla="*/ 669308 w 1325619"/>
                <a:gd name="connsiteY48" fmla="*/ 313999 h 1416330"/>
                <a:gd name="connsiteX49" fmla="*/ 914419 w 1325619"/>
                <a:gd name="connsiteY49" fmla="*/ 286932 h 1416330"/>
                <a:gd name="connsiteX50" fmla="*/ 994310 w 1325619"/>
                <a:gd name="connsiteY50" fmla="*/ 260024 h 1416330"/>
                <a:gd name="connsiteX51" fmla="*/ 1032489 w 1325619"/>
                <a:gd name="connsiteY51" fmla="*/ 334795 h 1416330"/>
                <a:gd name="connsiteX52" fmla="*/ 1011772 w 1325619"/>
                <a:gd name="connsiteY52" fmla="*/ 530574 h 1416330"/>
                <a:gd name="connsiteX53" fmla="*/ 959940 w 1325619"/>
                <a:gd name="connsiteY53" fmla="*/ 801521 h 1416330"/>
                <a:gd name="connsiteX54" fmla="*/ 911799 w 1325619"/>
                <a:gd name="connsiteY54" fmla="*/ 938641 h 1416330"/>
                <a:gd name="connsiteX55" fmla="*/ 822939 w 1325619"/>
                <a:gd name="connsiteY55" fmla="*/ 990870 h 1416330"/>
                <a:gd name="connsiteX56" fmla="*/ 717092 w 1325619"/>
                <a:gd name="connsiteY56" fmla="*/ 1005435 h 1416330"/>
                <a:gd name="connsiteX57" fmla="*/ 536593 w 1325619"/>
                <a:gd name="connsiteY57" fmla="*/ 996426 h 1416330"/>
                <a:gd name="connsiteX58" fmla="*/ 427850 w 1325619"/>
                <a:gd name="connsiteY58" fmla="*/ 968526 h 1416330"/>
                <a:gd name="connsiteX59" fmla="*/ 340100 w 1325619"/>
                <a:gd name="connsiteY59" fmla="*/ 845098 h 1416330"/>
                <a:gd name="connsiteX60" fmla="*/ 309065 w 1325619"/>
                <a:gd name="connsiteY60" fmla="*/ 760841 h 1416330"/>
                <a:gd name="connsiteX61" fmla="*/ 260686 w 1325619"/>
                <a:gd name="connsiteY61" fmla="*/ 587883 h 1416330"/>
                <a:gd name="connsiteX62" fmla="*/ 1047253 w 1325619"/>
                <a:gd name="connsiteY62" fmla="*/ 613481 h 1416330"/>
                <a:gd name="connsiteX63" fmla="*/ 1209496 w 1325619"/>
                <a:gd name="connsiteY63" fmla="*/ 318841 h 1416330"/>
                <a:gd name="connsiteX64" fmla="*/ 1068367 w 1325619"/>
                <a:gd name="connsiteY64" fmla="*/ 290226 h 1416330"/>
                <a:gd name="connsiteX65" fmla="*/ 1067692 w 1325619"/>
                <a:gd name="connsiteY65" fmla="*/ 262405 h 1416330"/>
                <a:gd name="connsiteX66" fmla="*/ 1238944 w 1325619"/>
                <a:gd name="connsiteY66" fmla="*/ 237243 h 1416330"/>
                <a:gd name="connsiteX67" fmla="*/ 1272956 w 1325619"/>
                <a:gd name="connsiteY67" fmla="*/ 400280 h 1416330"/>
                <a:gd name="connsiteX68" fmla="*/ 1186358 w 1325619"/>
                <a:gd name="connsiteY68" fmla="*/ 542004 h 1416330"/>
                <a:gd name="connsiteX69" fmla="*/ 1030386 w 1325619"/>
                <a:gd name="connsiteY69" fmla="*/ 681029 h 1416330"/>
                <a:gd name="connsiteX70" fmla="*/ 1041498 w 1325619"/>
                <a:gd name="connsiteY70" fmla="*/ 616696 h 1416330"/>
                <a:gd name="connsiteX71" fmla="*/ 1047253 w 1325619"/>
                <a:gd name="connsiteY71" fmla="*/ 613481 h 1416330"/>
                <a:gd name="connsiteX72" fmla="*/ 1063842 w 1325619"/>
                <a:gd name="connsiteY72" fmla="*/ 375356 h 1416330"/>
                <a:gd name="connsiteX73" fmla="*/ 1094441 w 1325619"/>
                <a:gd name="connsiteY73" fmla="*/ 308840 h 1416330"/>
                <a:gd name="connsiteX74" fmla="*/ 1167943 w 1325619"/>
                <a:gd name="connsiteY74" fmla="*/ 399922 h 1416330"/>
                <a:gd name="connsiteX75" fmla="*/ 1126072 w 1325619"/>
                <a:gd name="connsiteY75" fmla="*/ 476242 h 1416330"/>
                <a:gd name="connsiteX76" fmla="*/ 1050706 w 1325619"/>
                <a:gd name="connsiteY76" fmla="*/ 554863 h 1416330"/>
                <a:gd name="connsiteX77" fmla="*/ 1063842 w 1325619"/>
                <a:gd name="connsiteY77" fmla="*/ 375356 h 1416330"/>
                <a:gd name="connsiteX78" fmla="*/ 13155 w 1325619"/>
                <a:gd name="connsiteY78" fmla="*/ 1159740 h 1416330"/>
                <a:gd name="connsiteX79" fmla="*/ 614500 w 1325619"/>
                <a:gd name="connsiteY79" fmla="*/ 1414177 h 1416330"/>
                <a:gd name="connsiteX80" fmla="*/ 1251168 w 1325619"/>
                <a:gd name="connsiteY80" fmla="*/ 1155137 h 1416330"/>
                <a:gd name="connsiteX81" fmla="*/ 1010780 w 1325619"/>
                <a:gd name="connsiteY81" fmla="*/ 771279 h 1416330"/>
                <a:gd name="connsiteX82" fmla="*/ 1016932 w 1325619"/>
                <a:gd name="connsiteY82" fmla="*/ 743577 h 1416330"/>
                <a:gd name="connsiteX83" fmla="*/ 1029473 w 1325619"/>
                <a:gd name="connsiteY83" fmla="*/ 738140 h 1416330"/>
                <a:gd name="connsiteX84" fmla="*/ 1304785 w 1325619"/>
                <a:gd name="connsiteY84" fmla="*/ 261413 h 1416330"/>
                <a:gd name="connsiteX85" fmla="*/ 1066978 w 1325619"/>
                <a:gd name="connsiteY85" fmla="*/ 192238 h 1416330"/>
                <a:gd name="connsiteX86" fmla="*/ 1073169 w 1325619"/>
                <a:gd name="connsiteY86" fmla="*/ 168108 h 1416330"/>
                <a:gd name="connsiteX87" fmla="*/ 784244 w 1325619"/>
                <a:gd name="connsiteY87" fmla="*/ 8286 h 1416330"/>
                <a:gd name="connsiteX88" fmla="*/ 725784 w 1325619"/>
                <a:gd name="connsiteY88" fmla="*/ 4317 h 1416330"/>
                <a:gd name="connsiteX89" fmla="*/ 661649 w 1325619"/>
                <a:gd name="connsiteY89" fmla="*/ 71 h 1416330"/>
                <a:gd name="connsiteX90" fmla="*/ 640694 w 1325619"/>
                <a:gd name="connsiteY90" fmla="*/ 21065 h 1416330"/>
                <a:gd name="connsiteX91" fmla="*/ 661649 w 1325619"/>
                <a:gd name="connsiteY91" fmla="*/ 42060 h 1416330"/>
                <a:gd name="connsiteX92" fmla="*/ 721617 w 1325619"/>
                <a:gd name="connsiteY92" fmla="*/ 46068 h 1416330"/>
                <a:gd name="connsiteX93" fmla="*/ 782021 w 1325619"/>
                <a:gd name="connsiteY93" fmla="*/ 50117 h 1416330"/>
                <a:gd name="connsiteX94" fmla="*/ 1031457 w 1325619"/>
                <a:gd name="connsiteY94" fmla="*/ 163861 h 1416330"/>
                <a:gd name="connsiteX95" fmla="*/ 666292 w 1325619"/>
                <a:gd name="connsiteY95" fmla="*/ 272089 h 1416330"/>
                <a:gd name="connsiteX96" fmla="*/ 232230 w 1325619"/>
                <a:gd name="connsiteY96" fmla="*/ 181879 h 1416330"/>
                <a:gd name="connsiteX97" fmla="*/ 230404 w 1325619"/>
                <a:gd name="connsiteY97" fmla="*/ 138223 h 1416330"/>
                <a:gd name="connsiteX98" fmla="*/ 427215 w 1325619"/>
                <a:gd name="connsiteY98" fmla="*/ 57578 h 1416330"/>
                <a:gd name="connsiteX99" fmla="*/ 444638 w 1325619"/>
                <a:gd name="connsiteY99" fmla="*/ 33567 h 1416330"/>
                <a:gd name="connsiteX100" fmla="*/ 420626 w 1325619"/>
                <a:gd name="connsiteY100" fmla="*/ 16104 h 1416330"/>
                <a:gd name="connsiteX101" fmla="*/ 190240 w 1325619"/>
                <a:gd name="connsiteY101" fmla="*/ 126039 h 1416330"/>
                <a:gd name="connsiteX102" fmla="*/ 196749 w 1325619"/>
                <a:gd name="connsiteY102" fmla="*/ 470567 h 1416330"/>
                <a:gd name="connsiteX103" fmla="*/ 232071 w 1325619"/>
                <a:gd name="connsiteY103" fmla="*/ 647811 h 1416330"/>
                <a:gd name="connsiteX104" fmla="*/ 282990 w 1325619"/>
                <a:gd name="connsiteY104" fmla="*/ 812752 h 1416330"/>
                <a:gd name="connsiteX105" fmla="*/ 13155 w 1325619"/>
                <a:gd name="connsiteY105" fmla="*/ 1159740 h 141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325619" h="1416330">
                  <a:moveTo>
                    <a:pt x="298468" y="855377"/>
                  </a:moveTo>
                  <a:cubicBezTo>
                    <a:pt x="300492" y="860496"/>
                    <a:pt x="302913" y="865418"/>
                    <a:pt x="304977" y="870537"/>
                  </a:cubicBezTo>
                  <a:cubicBezTo>
                    <a:pt x="209489" y="901375"/>
                    <a:pt x="183216" y="1013571"/>
                    <a:pt x="241596" y="1101162"/>
                  </a:cubicBezTo>
                  <a:cubicBezTo>
                    <a:pt x="329901" y="1233758"/>
                    <a:pt x="545999" y="1257649"/>
                    <a:pt x="690859" y="1259872"/>
                  </a:cubicBezTo>
                  <a:cubicBezTo>
                    <a:pt x="826034" y="1261936"/>
                    <a:pt x="1018996" y="1246934"/>
                    <a:pt x="1090473" y="1110290"/>
                  </a:cubicBezTo>
                  <a:cubicBezTo>
                    <a:pt x="1141590" y="1012698"/>
                    <a:pt x="1089441" y="893199"/>
                    <a:pt x="979030" y="885896"/>
                  </a:cubicBezTo>
                  <a:cubicBezTo>
                    <a:pt x="986690" y="860933"/>
                    <a:pt x="993715" y="835771"/>
                    <a:pt x="1000382" y="810411"/>
                  </a:cubicBezTo>
                  <a:cubicBezTo>
                    <a:pt x="1003398" y="812157"/>
                    <a:pt x="1006891" y="813387"/>
                    <a:pt x="1011415" y="813030"/>
                  </a:cubicBezTo>
                  <a:cubicBezTo>
                    <a:pt x="1275734" y="793147"/>
                    <a:pt x="1278552" y="1120609"/>
                    <a:pt x="1124167" y="1255784"/>
                  </a:cubicBezTo>
                  <a:cubicBezTo>
                    <a:pt x="987245" y="1375601"/>
                    <a:pt x="786546" y="1381475"/>
                    <a:pt x="614500" y="1372227"/>
                  </a:cubicBezTo>
                  <a:cubicBezTo>
                    <a:pt x="461584" y="1364012"/>
                    <a:pt x="219411" y="1353773"/>
                    <a:pt x="104674" y="1234432"/>
                  </a:cubicBezTo>
                  <a:cubicBezTo>
                    <a:pt x="-48480" y="1075047"/>
                    <a:pt x="97094" y="840772"/>
                    <a:pt x="298468" y="855377"/>
                  </a:cubicBezTo>
                  <a:close/>
                  <a:moveTo>
                    <a:pt x="361095" y="969478"/>
                  </a:moveTo>
                  <a:cubicBezTo>
                    <a:pt x="374470" y="983528"/>
                    <a:pt x="390067" y="996267"/>
                    <a:pt x="408561" y="1005793"/>
                  </a:cubicBezTo>
                  <a:cubicBezTo>
                    <a:pt x="447257" y="1025795"/>
                    <a:pt x="490556" y="1033137"/>
                    <a:pt x="531593" y="1038058"/>
                  </a:cubicBezTo>
                  <a:cubicBezTo>
                    <a:pt x="584774" y="1044448"/>
                    <a:pt x="638551" y="1047623"/>
                    <a:pt x="692248" y="1047623"/>
                  </a:cubicBezTo>
                  <a:cubicBezTo>
                    <a:pt x="718164" y="1047623"/>
                    <a:pt x="744040" y="1046829"/>
                    <a:pt x="769837" y="1045361"/>
                  </a:cubicBezTo>
                  <a:cubicBezTo>
                    <a:pt x="816549" y="1042662"/>
                    <a:pt x="878105" y="1034367"/>
                    <a:pt x="922951" y="1000514"/>
                  </a:cubicBezTo>
                  <a:cubicBezTo>
                    <a:pt x="900052" y="1037661"/>
                    <a:pt x="848339" y="1064133"/>
                    <a:pt x="799523" y="1077865"/>
                  </a:cubicBezTo>
                  <a:cubicBezTo>
                    <a:pt x="721934" y="1099812"/>
                    <a:pt x="636447" y="1089057"/>
                    <a:pt x="553818" y="1078738"/>
                  </a:cubicBezTo>
                  <a:lnTo>
                    <a:pt x="542705" y="1077349"/>
                  </a:lnTo>
                  <a:cubicBezTo>
                    <a:pt x="475078" y="1068935"/>
                    <a:pt x="365064" y="1043654"/>
                    <a:pt x="361095" y="969478"/>
                  </a:cubicBezTo>
                  <a:close/>
                  <a:moveTo>
                    <a:pt x="323273" y="998847"/>
                  </a:moveTo>
                  <a:cubicBezTo>
                    <a:pt x="329782" y="1020715"/>
                    <a:pt x="342958" y="1039448"/>
                    <a:pt x="359944" y="1054568"/>
                  </a:cubicBezTo>
                  <a:cubicBezTo>
                    <a:pt x="407331" y="1096796"/>
                    <a:pt x="476467" y="1111361"/>
                    <a:pt x="537546" y="1118942"/>
                  </a:cubicBezTo>
                  <a:lnTo>
                    <a:pt x="548619" y="1120331"/>
                  </a:lnTo>
                  <a:cubicBezTo>
                    <a:pt x="595331" y="1126204"/>
                    <a:pt x="645615" y="1132515"/>
                    <a:pt x="696018" y="1132515"/>
                  </a:cubicBezTo>
                  <a:cubicBezTo>
                    <a:pt x="734753" y="1132515"/>
                    <a:pt x="773568" y="1128784"/>
                    <a:pt x="810914" y="1118267"/>
                  </a:cubicBezTo>
                  <a:cubicBezTo>
                    <a:pt x="891043" y="1095685"/>
                    <a:pt x="1024274" y="1014127"/>
                    <a:pt x="970537" y="911773"/>
                  </a:cubicBezTo>
                  <a:cubicBezTo>
                    <a:pt x="1002485" y="917607"/>
                    <a:pt x="1016535" y="936260"/>
                    <a:pt x="1028044" y="947412"/>
                  </a:cubicBezTo>
                  <a:cubicBezTo>
                    <a:pt x="1044594" y="963406"/>
                    <a:pt x="1054158" y="981663"/>
                    <a:pt x="1058524" y="1004364"/>
                  </a:cubicBezTo>
                  <a:cubicBezTo>
                    <a:pt x="1067057" y="1048734"/>
                    <a:pt x="1052492" y="1102074"/>
                    <a:pt x="1020424" y="1134340"/>
                  </a:cubicBezTo>
                  <a:cubicBezTo>
                    <a:pt x="990738" y="1164146"/>
                    <a:pt x="948113" y="1181926"/>
                    <a:pt x="908902" y="1193554"/>
                  </a:cubicBezTo>
                  <a:cubicBezTo>
                    <a:pt x="839211" y="1214192"/>
                    <a:pt x="763249" y="1218914"/>
                    <a:pt x="690859" y="1217922"/>
                  </a:cubicBezTo>
                  <a:cubicBezTo>
                    <a:pt x="618746" y="1216930"/>
                    <a:pt x="546119" y="1207286"/>
                    <a:pt x="476268" y="1189188"/>
                  </a:cubicBezTo>
                  <a:cubicBezTo>
                    <a:pt x="435628" y="1178711"/>
                    <a:pt x="391853" y="1165971"/>
                    <a:pt x="355063" y="1145810"/>
                  </a:cubicBezTo>
                  <a:cubicBezTo>
                    <a:pt x="338791" y="1134777"/>
                    <a:pt x="322519" y="1123744"/>
                    <a:pt x="306247" y="1112711"/>
                  </a:cubicBezTo>
                  <a:cubicBezTo>
                    <a:pt x="270012" y="1088144"/>
                    <a:pt x="246438" y="1032740"/>
                    <a:pt x="253423" y="989918"/>
                  </a:cubicBezTo>
                  <a:cubicBezTo>
                    <a:pt x="257034" y="967851"/>
                    <a:pt x="268742" y="948682"/>
                    <a:pt x="286681" y="935387"/>
                  </a:cubicBezTo>
                  <a:cubicBezTo>
                    <a:pt x="292555" y="931021"/>
                    <a:pt x="315018" y="915344"/>
                    <a:pt x="322360" y="919829"/>
                  </a:cubicBezTo>
                  <a:cubicBezTo>
                    <a:pt x="326448" y="922330"/>
                    <a:pt x="326131" y="928203"/>
                    <a:pt x="324344" y="934871"/>
                  </a:cubicBezTo>
                  <a:cubicBezTo>
                    <a:pt x="321725" y="944475"/>
                    <a:pt x="315931" y="955707"/>
                    <a:pt x="315693" y="960747"/>
                  </a:cubicBezTo>
                  <a:cubicBezTo>
                    <a:pt x="314978" y="972336"/>
                    <a:pt x="319939" y="987616"/>
                    <a:pt x="323273" y="998847"/>
                  </a:cubicBezTo>
                  <a:close/>
                  <a:moveTo>
                    <a:pt x="260686" y="587883"/>
                  </a:moveTo>
                  <a:cubicBezTo>
                    <a:pt x="247708" y="529383"/>
                    <a:pt x="237865" y="470249"/>
                    <a:pt x="231238" y="410757"/>
                  </a:cubicBezTo>
                  <a:cubicBezTo>
                    <a:pt x="227943" y="380952"/>
                    <a:pt x="225443" y="351107"/>
                    <a:pt x="223776" y="321183"/>
                  </a:cubicBezTo>
                  <a:cubicBezTo>
                    <a:pt x="223022" y="308006"/>
                    <a:pt x="229412" y="242998"/>
                    <a:pt x="221236" y="235378"/>
                  </a:cubicBezTo>
                  <a:cubicBezTo>
                    <a:pt x="296127" y="304673"/>
                    <a:pt x="468490" y="315507"/>
                    <a:pt x="585409" y="315507"/>
                  </a:cubicBezTo>
                  <a:cubicBezTo>
                    <a:pt x="619262" y="315507"/>
                    <a:pt x="648433" y="314595"/>
                    <a:pt x="669308" y="313999"/>
                  </a:cubicBezTo>
                  <a:cubicBezTo>
                    <a:pt x="751144" y="311459"/>
                    <a:pt x="834567" y="306260"/>
                    <a:pt x="914419" y="286932"/>
                  </a:cubicBezTo>
                  <a:cubicBezTo>
                    <a:pt x="942041" y="280304"/>
                    <a:pt x="967362" y="267604"/>
                    <a:pt x="994310" y="260024"/>
                  </a:cubicBezTo>
                  <a:cubicBezTo>
                    <a:pt x="1050309" y="244308"/>
                    <a:pt x="1040585" y="299037"/>
                    <a:pt x="1032489" y="334795"/>
                  </a:cubicBezTo>
                  <a:cubicBezTo>
                    <a:pt x="1018122" y="398335"/>
                    <a:pt x="1019630" y="465606"/>
                    <a:pt x="1011772" y="530574"/>
                  </a:cubicBezTo>
                  <a:cubicBezTo>
                    <a:pt x="1000739" y="621935"/>
                    <a:pt x="983475" y="712541"/>
                    <a:pt x="959940" y="801521"/>
                  </a:cubicBezTo>
                  <a:cubicBezTo>
                    <a:pt x="947518" y="848630"/>
                    <a:pt x="937596" y="896493"/>
                    <a:pt x="911799" y="938641"/>
                  </a:cubicBezTo>
                  <a:cubicBezTo>
                    <a:pt x="890686" y="973209"/>
                    <a:pt x="859888" y="978646"/>
                    <a:pt x="822939" y="990870"/>
                  </a:cubicBezTo>
                  <a:cubicBezTo>
                    <a:pt x="788411" y="1002300"/>
                    <a:pt x="753248" y="1004761"/>
                    <a:pt x="717092" y="1005435"/>
                  </a:cubicBezTo>
                  <a:cubicBezTo>
                    <a:pt x="656847" y="1006586"/>
                    <a:pt x="596482" y="1003610"/>
                    <a:pt x="536593" y="996426"/>
                  </a:cubicBezTo>
                  <a:cubicBezTo>
                    <a:pt x="499486" y="991981"/>
                    <a:pt x="460632" y="985512"/>
                    <a:pt x="427850" y="968526"/>
                  </a:cubicBezTo>
                  <a:cubicBezTo>
                    <a:pt x="380264" y="943999"/>
                    <a:pt x="355182" y="894112"/>
                    <a:pt x="340100" y="845098"/>
                  </a:cubicBezTo>
                  <a:cubicBezTo>
                    <a:pt x="331409" y="816642"/>
                    <a:pt x="318629" y="789059"/>
                    <a:pt x="309065" y="760841"/>
                  </a:cubicBezTo>
                  <a:cubicBezTo>
                    <a:pt x="289856" y="704088"/>
                    <a:pt x="273703" y="646303"/>
                    <a:pt x="260686" y="587883"/>
                  </a:cubicBezTo>
                  <a:close/>
                  <a:moveTo>
                    <a:pt x="1047253" y="613481"/>
                  </a:moveTo>
                  <a:cubicBezTo>
                    <a:pt x="1122580" y="548592"/>
                    <a:pt x="1253390" y="434530"/>
                    <a:pt x="1209496" y="318841"/>
                  </a:cubicBezTo>
                  <a:cubicBezTo>
                    <a:pt x="1183143" y="249388"/>
                    <a:pt x="1108491" y="249229"/>
                    <a:pt x="1068367" y="290226"/>
                  </a:cubicBezTo>
                  <a:cubicBezTo>
                    <a:pt x="1068367" y="280939"/>
                    <a:pt x="1067851" y="271692"/>
                    <a:pt x="1067692" y="262405"/>
                  </a:cubicBezTo>
                  <a:cubicBezTo>
                    <a:pt x="1109602" y="188904"/>
                    <a:pt x="1166593" y="180053"/>
                    <a:pt x="1238944" y="237243"/>
                  </a:cubicBezTo>
                  <a:cubicBezTo>
                    <a:pt x="1279385" y="284749"/>
                    <a:pt x="1290696" y="339082"/>
                    <a:pt x="1272956" y="400280"/>
                  </a:cubicBezTo>
                  <a:cubicBezTo>
                    <a:pt x="1259978" y="453937"/>
                    <a:pt x="1223267" y="503071"/>
                    <a:pt x="1186358" y="542004"/>
                  </a:cubicBezTo>
                  <a:cubicBezTo>
                    <a:pt x="1138455" y="592566"/>
                    <a:pt x="1082694" y="635032"/>
                    <a:pt x="1030386" y="681029"/>
                  </a:cubicBezTo>
                  <a:cubicBezTo>
                    <a:pt x="1034553" y="659678"/>
                    <a:pt x="1038006" y="638207"/>
                    <a:pt x="1041498" y="616696"/>
                  </a:cubicBezTo>
                  <a:cubicBezTo>
                    <a:pt x="1043443" y="615862"/>
                    <a:pt x="1045387" y="615069"/>
                    <a:pt x="1047253" y="613481"/>
                  </a:cubicBezTo>
                  <a:close/>
                  <a:moveTo>
                    <a:pt x="1063842" y="375356"/>
                  </a:moveTo>
                  <a:cubicBezTo>
                    <a:pt x="1064477" y="348011"/>
                    <a:pt x="1065231" y="322691"/>
                    <a:pt x="1094441" y="308840"/>
                  </a:cubicBezTo>
                  <a:cubicBezTo>
                    <a:pt x="1155362" y="279868"/>
                    <a:pt x="1183818" y="352496"/>
                    <a:pt x="1167943" y="399922"/>
                  </a:cubicBezTo>
                  <a:cubicBezTo>
                    <a:pt x="1159529" y="428180"/>
                    <a:pt x="1143654" y="453025"/>
                    <a:pt x="1126072" y="476242"/>
                  </a:cubicBezTo>
                  <a:cubicBezTo>
                    <a:pt x="1104046" y="505333"/>
                    <a:pt x="1077892" y="530653"/>
                    <a:pt x="1050706" y="554863"/>
                  </a:cubicBezTo>
                  <a:cubicBezTo>
                    <a:pt x="1058484" y="495292"/>
                    <a:pt x="1062334" y="436038"/>
                    <a:pt x="1063842" y="375356"/>
                  </a:cubicBezTo>
                  <a:close/>
                  <a:moveTo>
                    <a:pt x="13155" y="1159740"/>
                  </a:moveTo>
                  <a:cubicBezTo>
                    <a:pt x="86140" y="1387944"/>
                    <a:pt x="417015" y="1403978"/>
                    <a:pt x="614500" y="1414177"/>
                  </a:cubicBezTo>
                  <a:cubicBezTo>
                    <a:pt x="843219" y="1426044"/>
                    <a:pt x="1146234" y="1397389"/>
                    <a:pt x="1251168" y="1155137"/>
                  </a:cubicBezTo>
                  <a:cubicBezTo>
                    <a:pt x="1328241" y="977218"/>
                    <a:pt x="1221402" y="755285"/>
                    <a:pt x="1010780" y="771279"/>
                  </a:cubicBezTo>
                  <a:cubicBezTo>
                    <a:pt x="1013003" y="762111"/>
                    <a:pt x="1014868" y="752824"/>
                    <a:pt x="1016932" y="743577"/>
                  </a:cubicBezTo>
                  <a:cubicBezTo>
                    <a:pt x="1021218" y="743299"/>
                    <a:pt x="1025544" y="741870"/>
                    <a:pt x="1029473" y="738140"/>
                  </a:cubicBezTo>
                  <a:cubicBezTo>
                    <a:pt x="1151274" y="622054"/>
                    <a:pt x="1398766" y="466320"/>
                    <a:pt x="1304785" y="261413"/>
                  </a:cubicBezTo>
                  <a:cubicBezTo>
                    <a:pt x="1259145" y="161917"/>
                    <a:pt x="1138971" y="131754"/>
                    <a:pt x="1066978" y="192238"/>
                  </a:cubicBezTo>
                  <a:cubicBezTo>
                    <a:pt x="1069994" y="184538"/>
                    <a:pt x="1072296" y="176601"/>
                    <a:pt x="1073169" y="168108"/>
                  </a:cubicBezTo>
                  <a:cubicBezTo>
                    <a:pt x="1081900" y="82700"/>
                    <a:pt x="985380" y="28963"/>
                    <a:pt x="784244" y="8286"/>
                  </a:cubicBezTo>
                  <a:cubicBezTo>
                    <a:pt x="764876" y="8286"/>
                    <a:pt x="745866" y="6381"/>
                    <a:pt x="725784" y="4317"/>
                  </a:cubicBezTo>
                  <a:cubicBezTo>
                    <a:pt x="705146" y="2293"/>
                    <a:pt x="683834" y="71"/>
                    <a:pt x="661649" y="71"/>
                  </a:cubicBezTo>
                  <a:cubicBezTo>
                    <a:pt x="650060" y="71"/>
                    <a:pt x="640694" y="9477"/>
                    <a:pt x="640694" y="21065"/>
                  </a:cubicBezTo>
                  <a:cubicBezTo>
                    <a:pt x="640694" y="32654"/>
                    <a:pt x="650060" y="42060"/>
                    <a:pt x="661649" y="42060"/>
                  </a:cubicBezTo>
                  <a:cubicBezTo>
                    <a:pt x="681691" y="42060"/>
                    <a:pt x="701059" y="44005"/>
                    <a:pt x="721617" y="46068"/>
                  </a:cubicBezTo>
                  <a:cubicBezTo>
                    <a:pt x="741818" y="48093"/>
                    <a:pt x="763685" y="49521"/>
                    <a:pt x="782021" y="50117"/>
                  </a:cubicBezTo>
                  <a:cubicBezTo>
                    <a:pt x="946169" y="67103"/>
                    <a:pt x="1037093" y="108576"/>
                    <a:pt x="1031457" y="163861"/>
                  </a:cubicBezTo>
                  <a:cubicBezTo>
                    <a:pt x="1028481" y="193150"/>
                    <a:pt x="987047" y="262247"/>
                    <a:pt x="666292" y="272089"/>
                  </a:cubicBezTo>
                  <a:cubicBezTo>
                    <a:pt x="347959" y="282209"/>
                    <a:pt x="254494" y="228472"/>
                    <a:pt x="232230" y="181879"/>
                  </a:cubicBezTo>
                  <a:cubicBezTo>
                    <a:pt x="221633" y="159734"/>
                    <a:pt x="226118" y="146359"/>
                    <a:pt x="230404" y="138223"/>
                  </a:cubicBezTo>
                  <a:cubicBezTo>
                    <a:pt x="248660" y="103457"/>
                    <a:pt x="318550" y="74802"/>
                    <a:pt x="427215" y="57578"/>
                  </a:cubicBezTo>
                  <a:cubicBezTo>
                    <a:pt x="438645" y="55713"/>
                    <a:pt x="446423" y="44997"/>
                    <a:pt x="444638" y="33567"/>
                  </a:cubicBezTo>
                  <a:cubicBezTo>
                    <a:pt x="442812" y="22137"/>
                    <a:pt x="432255" y="14517"/>
                    <a:pt x="420626" y="16104"/>
                  </a:cubicBezTo>
                  <a:cubicBezTo>
                    <a:pt x="346292" y="26304"/>
                    <a:pt x="225165" y="47974"/>
                    <a:pt x="190240" y="126039"/>
                  </a:cubicBezTo>
                  <a:cubicBezTo>
                    <a:pt x="146068" y="224742"/>
                    <a:pt x="182065" y="368847"/>
                    <a:pt x="196749" y="470567"/>
                  </a:cubicBezTo>
                  <a:cubicBezTo>
                    <a:pt x="205401" y="530217"/>
                    <a:pt x="217188" y="589431"/>
                    <a:pt x="232071" y="647811"/>
                  </a:cubicBezTo>
                  <a:cubicBezTo>
                    <a:pt x="236317" y="664480"/>
                    <a:pt x="270211" y="812475"/>
                    <a:pt x="282990" y="812752"/>
                  </a:cubicBezTo>
                  <a:cubicBezTo>
                    <a:pt x="100626" y="808546"/>
                    <a:pt x="-45543" y="976225"/>
                    <a:pt x="13155" y="1159740"/>
                  </a:cubicBezTo>
                  <a:close/>
                </a:path>
              </a:pathLst>
            </a:custGeom>
            <a:grpFill/>
            <a:ln w="39688" cap="flat">
              <a:noFill/>
              <a:prstDash val="solid"/>
              <a:round/>
            </a:ln>
          </p:spPr>
          <p:txBody>
            <a:bodyPr rtlCol="0" anchor="ctr"/>
            <a:lstStyle/>
            <a:p>
              <a:endParaRPr lang="en-LT"/>
            </a:p>
          </p:txBody>
        </p:sp>
        <p:sp>
          <p:nvSpPr>
            <p:cNvPr id="91" name="Freeform 90">
              <a:extLst>
                <a:ext uri="{FF2B5EF4-FFF2-40B4-BE49-F238E27FC236}">
                  <a16:creationId xmlns:a16="http://schemas.microsoft.com/office/drawing/2014/main" id="{E457E83E-7F53-A84A-BBAD-330378C0EE92}"/>
                </a:ext>
              </a:extLst>
            </p:cNvPr>
            <p:cNvSpPr/>
            <p:nvPr/>
          </p:nvSpPr>
          <p:spPr>
            <a:xfrm>
              <a:off x="5819802" y="2247889"/>
              <a:ext cx="394997" cy="1114173"/>
            </a:xfrm>
            <a:custGeom>
              <a:avLst/>
              <a:gdLst>
                <a:gd name="connsiteX0" fmla="*/ 236926 w 394997"/>
                <a:gd name="connsiteY0" fmla="*/ 668289 h 1114173"/>
                <a:gd name="connsiteX1" fmla="*/ 218312 w 394997"/>
                <a:gd name="connsiteY1" fmla="*/ 1037026 h 1114173"/>
                <a:gd name="connsiteX2" fmla="*/ 120522 w 394997"/>
                <a:gd name="connsiteY2" fmla="*/ 426790 h 1114173"/>
                <a:gd name="connsiteX3" fmla="*/ 334875 w 394997"/>
                <a:gd name="connsiteY3" fmla="*/ 117942 h 1114173"/>
                <a:gd name="connsiteX4" fmla="*/ 236926 w 394997"/>
                <a:gd name="connsiteY4" fmla="*/ 668289 h 1114173"/>
                <a:gd name="connsiteX5" fmla="*/ 327691 w 394997"/>
                <a:gd name="connsiteY5" fmla="*/ 507 h 1114173"/>
                <a:gd name="connsiteX6" fmla="*/ 302093 w 394997"/>
                <a:gd name="connsiteY6" fmla="*/ 34241 h 1114173"/>
                <a:gd name="connsiteX7" fmla="*/ 117149 w 394997"/>
                <a:gd name="connsiteY7" fmla="*/ 361306 h 1114173"/>
                <a:gd name="connsiteX8" fmla="*/ 3166 w 394997"/>
                <a:gd name="connsiteY8" fmla="*/ 623005 h 1114173"/>
                <a:gd name="connsiteX9" fmla="*/ 221130 w 394997"/>
                <a:gd name="connsiteY9" fmla="*/ 1099454 h 1114173"/>
                <a:gd name="connsiteX10" fmla="*/ 232997 w 394997"/>
                <a:gd name="connsiteY10" fmla="*/ 1106836 h 1114173"/>
                <a:gd name="connsiteX11" fmla="*/ 279431 w 394997"/>
                <a:gd name="connsiteY11" fmla="*/ 1107908 h 1114173"/>
                <a:gd name="connsiteX12" fmla="*/ 242006 w 394997"/>
                <a:gd name="connsiteY12" fmla="*/ 978765 h 1114173"/>
                <a:gd name="connsiteX13" fmla="*/ 240815 w 394997"/>
                <a:gd name="connsiteY13" fmla="*/ 807195 h 1114173"/>
                <a:gd name="connsiteX14" fmla="*/ 360513 w 394997"/>
                <a:gd name="connsiteY14" fmla="*/ 468780 h 1114173"/>
                <a:gd name="connsiteX15" fmla="*/ 392461 w 394997"/>
                <a:gd name="connsiteY15" fmla="*/ 205850 h 1114173"/>
                <a:gd name="connsiteX16" fmla="*/ 327691 w 394997"/>
                <a:gd name="connsiteY16" fmla="*/ 507 h 111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4997" h="1114173">
                  <a:moveTo>
                    <a:pt x="236926" y="668289"/>
                  </a:moveTo>
                  <a:cubicBezTo>
                    <a:pt x="192198" y="788185"/>
                    <a:pt x="169219" y="919948"/>
                    <a:pt x="218312" y="1037026"/>
                  </a:cubicBezTo>
                  <a:cubicBezTo>
                    <a:pt x="34162" y="888594"/>
                    <a:pt x="-14058" y="628840"/>
                    <a:pt x="120522" y="426790"/>
                  </a:cubicBezTo>
                  <a:cubicBezTo>
                    <a:pt x="191206" y="320706"/>
                    <a:pt x="293600" y="233790"/>
                    <a:pt x="334875" y="117942"/>
                  </a:cubicBezTo>
                  <a:cubicBezTo>
                    <a:pt x="380436" y="309077"/>
                    <a:pt x="308205" y="477313"/>
                    <a:pt x="236926" y="668289"/>
                  </a:cubicBezTo>
                  <a:close/>
                  <a:moveTo>
                    <a:pt x="327691" y="507"/>
                  </a:moveTo>
                  <a:cubicBezTo>
                    <a:pt x="313404" y="4753"/>
                    <a:pt x="304236" y="19477"/>
                    <a:pt x="302093" y="34241"/>
                  </a:cubicBezTo>
                  <a:cubicBezTo>
                    <a:pt x="281693" y="172076"/>
                    <a:pt x="202080" y="252324"/>
                    <a:pt x="117149" y="361306"/>
                  </a:cubicBezTo>
                  <a:cubicBezTo>
                    <a:pt x="56625" y="438974"/>
                    <a:pt x="15271" y="524422"/>
                    <a:pt x="3166" y="623005"/>
                  </a:cubicBezTo>
                  <a:cubicBezTo>
                    <a:pt x="-18225" y="797591"/>
                    <a:pt x="69960" y="1001982"/>
                    <a:pt x="221130" y="1099454"/>
                  </a:cubicBezTo>
                  <a:cubicBezTo>
                    <a:pt x="225020" y="1101994"/>
                    <a:pt x="228988" y="1104455"/>
                    <a:pt x="232997" y="1106836"/>
                  </a:cubicBezTo>
                  <a:cubicBezTo>
                    <a:pt x="247086" y="1115210"/>
                    <a:pt x="266096" y="1117472"/>
                    <a:pt x="279431" y="1107908"/>
                  </a:cubicBezTo>
                  <a:cubicBezTo>
                    <a:pt x="309514" y="1086278"/>
                    <a:pt x="249586" y="1007340"/>
                    <a:pt x="242006" y="978765"/>
                  </a:cubicBezTo>
                  <a:cubicBezTo>
                    <a:pt x="227123" y="922567"/>
                    <a:pt x="229584" y="863790"/>
                    <a:pt x="240815" y="807195"/>
                  </a:cubicBezTo>
                  <a:cubicBezTo>
                    <a:pt x="264152" y="689164"/>
                    <a:pt x="322452" y="582088"/>
                    <a:pt x="360513" y="468780"/>
                  </a:cubicBezTo>
                  <a:cubicBezTo>
                    <a:pt x="388850" y="384325"/>
                    <a:pt x="400597" y="294671"/>
                    <a:pt x="392461" y="205850"/>
                  </a:cubicBezTo>
                  <a:cubicBezTo>
                    <a:pt x="389366" y="172115"/>
                    <a:pt x="366625" y="-11043"/>
                    <a:pt x="327691" y="507"/>
                  </a:cubicBezTo>
                  <a:close/>
                </a:path>
              </a:pathLst>
            </a:custGeom>
            <a:grpFill/>
            <a:ln w="39688" cap="flat">
              <a:noFill/>
              <a:prstDash val="solid"/>
              <a:round/>
            </a:ln>
          </p:spPr>
          <p:txBody>
            <a:bodyPr rtlCol="0" anchor="ctr"/>
            <a:lstStyle/>
            <a:p>
              <a:endParaRPr lang="en-LT"/>
            </a:p>
          </p:txBody>
        </p:sp>
        <p:sp>
          <p:nvSpPr>
            <p:cNvPr id="92" name="Freeform 91">
              <a:extLst>
                <a:ext uri="{FF2B5EF4-FFF2-40B4-BE49-F238E27FC236}">
                  <a16:creationId xmlns:a16="http://schemas.microsoft.com/office/drawing/2014/main" id="{6B9203C2-8D90-8B4B-A9E2-08C77E6A8D4E}"/>
                </a:ext>
              </a:extLst>
            </p:cNvPr>
            <p:cNvSpPr/>
            <p:nvPr/>
          </p:nvSpPr>
          <p:spPr>
            <a:xfrm>
              <a:off x="6070157" y="2642622"/>
              <a:ext cx="252150" cy="512904"/>
            </a:xfrm>
            <a:custGeom>
              <a:avLst/>
              <a:gdLst>
                <a:gd name="connsiteX0" fmla="*/ 203200 w 252150"/>
                <a:gd name="connsiteY0" fmla="*/ 112075 h 512904"/>
                <a:gd name="connsiteX1" fmla="*/ 49728 w 252150"/>
                <a:gd name="connsiteY1" fmla="*/ 460532 h 512904"/>
                <a:gd name="connsiteX2" fmla="*/ 203200 w 252150"/>
                <a:gd name="connsiteY2" fmla="*/ 112075 h 512904"/>
                <a:gd name="connsiteX3" fmla="*/ 5080 w 252150"/>
                <a:gd name="connsiteY3" fmla="*/ 450293 h 512904"/>
                <a:gd name="connsiteX4" fmla="*/ 39211 w 252150"/>
                <a:gd name="connsiteY4" fmla="*/ 499267 h 512904"/>
                <a:gd name="connsiteX5" fmla="*/ 79255 w 252150"/>
                <a:gd name="connsiteY5" fmla="*/ 510380 h 512904"/>
                <a:gd name="connsiteX6" fmla="*/ 141208 w 252150"/>
                <a:gd name="connsiteY6" fmla="*/ 367663 h 512904"/>
                <a:gd name="connsiteX7" fmla="*/ 234077 w 252150"/>
                <a:gd name="connsiteY7" fmla="*/ 228003 h 512904"/>
                <a:gd name="connsiteX8" fmla="*/ 227012 w 252150"/>
                <a:gd name="connsiteY8" fmla="*/ 21231 h 512904"/>
                <a:gd name="connsiteX9" fmla="*/ 182007 w 252150"/>
                <a:gd name="connsiteY9" fmla="*/ 45916 h 512904"/>
                <a:gd name="connsiteX10" fmla="*/ 120888 w 252150"/>
                <a:gd name="connsiteY10" fmla="*/ 160534 h 512904"/>
                <a:gd name="connsiteX11" fmla="*/ 56594 w 252150"/>
                <a:gd name="connsiteY11" fmla="*/ 259912 h 512904"/>
                <a:gd name="connsiteX12" fmla="*/ 5080 w 252150"/>
                <a:gd name="connsiteY12" fmla="*/ 450293 h 512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150" h="512904">
                  <a:moveTo>
                    <a:pt x="203200" y="112075"/>
                  </a:moveTo>
                  <a:cubicBezTo>
                    <a:pt x="222924" y="248918"/>
                    <a:pt x="80764" y="331786"/>
                    <a:pt x="49728" y="460532"/>
                  </a:cubicBezTo>
                  <a:cubicBezTo>
                    <a:pt x="29567" y="333969"/>
                    <a:pt x="146288" y="227328"/>
                    <a:pt x="203200" y="112075"/>
                  </a:cubicBezTo>
                  <a:close/>
                  <a:moveTo>
                    <a:pt x="5080" y="450293"/>
                  </a:moveTo>
                  <a:cubicBezTo>
                    <a:pt x="8929" y="462874"/>
                    <a:pt x="22661" y="484980"/>
                    <a:pt x="39211" y="499267"/>
                  </a:cubicBezTo>
                  <a:cubicBezTo>
                    <a:pt x="51990" y="510340"/>
                    <a:pt x="66436" y="516730"/>
                    <a:pt x="79255" y="510380"/>
                  </a:cubicBezTo>
                  <a:cubicBezTo>
                    <a:pt x="100369" y="499942"/>
                    <a:pt x="123269" y="392468"/>
                    <a:pt x="141208" y="367663"/>
                  </a:cubicBezTo>
                  <a:cubicBezTo>
                    <a:pt x="174029" y="322340"/>
                    <a:pt x="213399" y="280946"/>
                    <a:pt x="234077" y="228003"/>
                  </a:cubicBezTo>
                  <a:cubicBezTo>
                    <a:pt x="255666" y="172718"/>
                    <a:pt x="263049" y="72031"/>
                    <a:pt x="227012" y="21231"/>
                  </a:cubicBezTo>
                  <a:cubicBezTo>
                    <a:pt x="193794" y="-25680"/>
                    <a:pt x="193238" y="15397"/>
                    <a:pt x="182007" y="45916"/>
                  </a:cubicBezTo>
                  <a:cubicBezTo>
                    <a:pt x="168275" y="83302"/>
                    <a:pt x="142160" y="126403"/>
                    <a:pt x="120888" y="160534"/>
                  </a:cubicBezTo>
                  <a:cubicBezTo>
                    <a:pt x="100012" y="193991"/>
                    <a:pt x="77509" y="226495"/>
                    <a:pt x="56594" y="259912"/>
                  </a:cubicBezTo>
                  <a:cubicBezTo>
                    <a:pt x="24447" y="311188"/>
                    <a:pt x="-13971" y="388182"/>
                    <a:pt x="5080" y="450293"/>
                  </a:cubicBezTo>
                  <a:close/>
                </a:path>
              </a:pathLst>
            </a:custGeom>
            <a:grpFill/>
            <a:ln w="39688" cap="flat">
              <a:noFill/>
              <a:prstDash val="solid"/>
              <a:round/>
            </a:ln>
          </p:spPr>
          <p:txBody>
            <a:bodyPr rtlCol="0" anchor="ctr"/>
            <a:lstStyle/>
            <a:p>
              <a:endParaRPr lang="en-LT"/>
            </a:p>
          </p:txBody>
        </p:sp>
        <p:sp>
          <p:nvSpPr>
            <p:cNvPr id="93" name="Freeform 92">
              <a:extLst>
                <a:ext uri="{FF2B5EF4-FFF2-40B4-BE49-F238E27FC236}">
                  <a16:creationId xmlns:a16="http://schemas.microsoft.com/office/drawing/2014/main" id="{0A3AADF0-A59B-D848-A60B-5A3C5752656E}"/>
                </a:ext>
              </a:extLst>
            </p:cNvPr>
            <p:cNvSpPr/>
            <p:nvPr/>
          </p:nvSpPr>
          <p:spPr>
            <a:xfrm>
              <a:off x="5730990" y="3275193"/>
              <a:ext cx="644030" cy="181705"/>
            </a:xfrm>
            <a:custGeom>
              <a:avLst/>
              <a:gdLst>
                <a:gd name="connsiteX0" fmla="*/ 54357 w 644030"/>
                <a:gd name="connsiteY0" fmla="*/ 41795 h 181705"/>
                <a:gd name="connsiteX1" fmla="*/ 72851 w 644030"/>
                <a:gd name="connsiteY1" fmla="*/ 18617 h 181705"/>
                <a:gd name="connsiteX2" fmla="*/ 49714 w 644030"/>
                <a:gd name="connsiteY2" fmla="*/ 123 h 181705"/>
                <a:gd name="connsiteX3" fmla="*/ 6692 w 644030"/>
                <a:gd name="connsiteY3" fmla="*/ 32548 h 181705"/>
                <a:gd name="connsiteX4" fmla="*/ 11376 w 644030"/>
                <a:gd name="connsiteY4" fmla="*/ 103112 h 181705"/>
                <a:gd name="connsiteX5" fmla="*/ 100117 w 644030"/>
                <a:gd name="connsiteY5" fmla="*/ 153476 h 181705"/>
                <a:gd name="connsiteX6" fmla="*/ 338440 w 644030"/>
                <a:gd name="connsiteY6" fmla="*/ 181733 h 181705"/>
                <a:gd name="connsiteX7" fmla="*/ 523980 w 644030"/>
                <a:gd name="connsiteY7" fmla="*/ 164628 h 181705"/>
                <a:gd name="connsiteX8" fmla="*/ 642407 w 644030"/>
                <a:gd name="connsiteY8" fmla="*/ 91166 h 181705"/>
                <a:gd name="connsiteX9" fmla="*/ 631136 w 644030"/>
                <a:gd name="connsiteY9" fmla="*/ 63782 h 181705"/>
                <a:gd name="connsiteX10" fmla="*/ 603712 w 644030"/>
                <a:gd name="connsiteY10" fmla="*/ 75053 h 181705"/>
                <a:gd name="connsiteX11" fmla="*/ 516241 w 644030"/>
                <a:gd name="connsiteY11" fmla="*/ 123393 h 181705"/>
                <a:gd name="connsiteX12" fmla="*/ 109999 w 644030"/>
                <a:gd name="connsiteY12" fmla="*/ 112677 h 181705"/>
                <a:gd name="connsiteX13" fmla="*/ 46221 w 644030"/>
                <a:gd name="connsiteY13" fmla="*/ 79776 h 181705"/>
                <a:gd name="connsiteX14" fmla="*/ 44713 w 644030"/>
                <a:gd name="connsiteY14" fmla="*/ 50249 h 181705"/>
                <a:gd name="connsiteX15" fmla="*/ 54357 w 644030"/>
                <a:gd name="connsiteY15" fmla="*/ 41795 h 18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4030" h="181705">
                  <a:moveTo>
                    <a:pt x="54357" y="41795"/>
                  </a:moveTo>
                  <a:cubicBezTo>
                    <a:pt x="65867" y="40565"/>
                    <a:pt x="74161" y="30167"/>
                    <a:pt x="72851" y="18617"/>
                  </a:cubicBezTo>
                  <a:cubicBezTo>
                    <a:pt x="71582" y="7148"/>
                    <a:pt x="61541" y="-948"/>
                    <a:pt x="49714" y="123"/>
                  </a:cubicBezTo>
                  <a:cubicBezTo>
                    <a:pt x="30981" y="2187"/>
                    <a:pt x="15305" y="14014"/>
                    <a:pt x="6692" y="32548"/>
                  </a:cubicBezTo>
                  <a:cubicBezTo>
                    <a:pt x="-3745" y="54971"/>
                    <a:pt x="-1840" y="83308"/>
                    <a:pt x="11376" y="103112"/>
                  </a:cubicBezTo>
                  <a:cubicBezTo>
                    <a:pt x="31577" y="133315"/>
                    <a:pt x="65986" y="145141"/>
                    <a:pt x="100117" y="153476"/>
                  </a:cubicBezTo>
                  <a:cubicBezTo>
                    <a:pt x="177746" y="172327"/>
                    <a:pt x="258073" y="181733"/>
                    <a:pt x="338440" y="181733"/>
                  </a:cubicBezTo>
                  <a:cubicBezTo>
                    <a:pt x="400790" y="181733"/>
                    <a:pt x="463020" y="176058"/>
                    <a:pt x="523980" y="164628"/>
                  </a:cubicBezTo>
                  <a:cubicBezTo>
                    <a:pt x="564858" y="156929"/>
                    <a:pt x="621651" y="140935"/>
                    <a:pt x="642407" y="91166"/>
                  </a:cubicBezTo>
                  <a:cubicBezTo>
                    <a:pt x="646852" y="80530"/>
                    <a:pt x="641812" y="68227"/>
                    <a:pt x="631136" y="63782"/>
                  </a:cubicBezTo>
                  <a:cubicBezTo>
                    <a:pt x="620540" y="59297"/>
                    <a:pt x="608197" y="64258"/>
                    <a:pt x="603712" y="75053"/>
                  </a:cubicBezTo>
                  <a:cubicBezTo>
                    <a:pt x="593830" y="98667"/>
                    <a:pt x="566049" y="114027"/>
                    <a:pt x="516241" y="123393"/>
                  </a:cubicBezTo>
                  <a:cubicBezTo>
                    <a:pt x="382653" y="148436"/>
                    <a:pt x="242198" y="144784"/>
                    <a:pt x="109999" y="112677"/>
                  </a:cubicBezTo>
                  <a:cubicBezTo>
                    <a:pt x="84123" y="106407"/>
                    <a:pt x="58485" y="98033"/>
                    <a:pt x="46221" y="79776"/>
                  </a:cubicBezTo>
                  <a:cubicBezTo>
                    <a:pt x="41102" y="72077"/>
                    <a:pt x="40427" y="59377"/>
                    <a:pt x="44713" y="50249"/>
                  </a:cubicBezTo>
                  <a:cubicBezTo>
                    <a:pt x="47094" y="45089"/>
                    <a:pt x="50349" y="42271"/>
                    <a:pt x="54357" y="41795"/>
                  </a:cubicBezTo>
                  <a:close/>
                </a:path>
              </a:pathLst>
            </a:custGeom>
            <a:grpFill/>
            <a:ln w="39688" cap="flat">
              <a:noFill/>
              <a:prstDash val="solid"/>
              <a:round/>
            </a:ln>
          </p:spPr>
          <p:txBody>
            <a:bodyPr rtlCol="0" anchor="ctr"/>
            <a:lstStyle/>
            <a:p>
              <a:endParaRPr lang="en-LT"/>
            </a:p>
          </p:txBody>
        </p:sp>
      </p:grpSp>
      <p:grpSp>
        <p:nvGrpSpPr>
          <p:cNvPr id="94" name="Graphic 2">
            <a:extLst>
              <a:ext uri="{FF2B5EF4-FFF2-40B4-BE49-F238E27FC236}">
                <a16:creationId xmlns:a16="http://schemas.microsoft.com/office/drawing/2014/main" id="{33FE85DD-E22A-C647-84B5-6FC7CC056278}"/>
              </a:ext>
            </a:extLst>
          </p:cNvPr>
          <p:cNvGrpSpPr/>
          <p:nvPr/>
        </p:nvGrpSpPr>
        <p:grpSpPr>
          <a:xfrm>
            <a:off x="9208217" y="1226661"/>
            <a:ext cx="738468" cy="1314379"/>
            <a:chOff x="5429256" y="2247889"/>
            <a:chExt cx="1325619" cy="2359432"/>
          </a:xfrm>
          <a:solidFill>
            <a:schemeClr val="tx1">
              <a:lumMod val="75000"/>
              <a:lumOff val="25000"/>
            </a:schemeClr>
          </a:solidFill>
        </p:grpSpPr>
        <p:sp>
          <p:nvSpPr>
            <p:cNvPr id="95" name="Freeform 94">
              <a:extLst>
                <a:ext uri="{FF2B5EF4-FFF2-40B4-BE49-F238E27FC236}">
                  <a16:creationId xmlns:a16="http://schemas.microsoft.com/office/drawing/2014/main" id="{60BF6B1A-5FBF-4245-9641-B4F6AD9C539F}"/>
                </a:ext>
              </a:extLst>
            </p:cNvPr>
            <p:cNvSpPr/>
            <p:nvPr/>
          </p:nvSpPr>
          <p:spPr>
            <a:xfrm>
              <a:off x="5698604" y="3544319"/>
              <a:ext cx="282809" cy="544047"/>
            </a:xfrm>
            <a:custGeom>
              <a:avLst/>
              <a:gdLst>
                <a:gd name="connsiteX0" fmla="*/ 44102 w 282809"/>
                <a:gd name="connsiteY0" fmla="*/ 50993 h 544047"/>
                <a:gd name="connsiteX1" fmla="*/ 88988 w 282809"/>
                <a:gd name="connsiteY1" fmla="*/ 55042 h 544047"/>
                <a:gd name="connsiteX2" fmla="*/ 226227 w 282809"/>
                <a:gd name="connsiteY2" fmla="*/ 501725 h 544047"/>
                <a:gd name="connsiteX3" fmla="*/ 151218 w 282809"/>
                <a:gd name="connsiteY3" fmla="*/ 472039 h 544047"/>
                <a:gd name="connsiteX4" fmla="*/ 95060 w 282809"/>
                <a:gd name="connsiteY4" fmla="*/ 357302 h 544047"/>
                <a:gd name="connsiteX5" fmla="*/ 44102 w 282809"/>
                <a:gd name="connsiteY5" fmla="*/ 50993 h 544047"/>
                <a:gd name="connsiteX6" fmla="*/ 121095 w 282809"/>
                <a:gd name="connsiteY6" fmla="*/ 501288 h 544047"/>
                <a:gd name="connsiteX7" fmla="*/ 218488 w 282809"/>
                <a:gd name="connsiteY7" fmla="*/ 544111 h 544047"/>
                <a:gd name="connsiteX8" fmla="*/ 273217 w 282809"/>
                <a:gd name="connsiteY8" fmla="*/ 528395 h 544047"/>
                <a:gd name="connsiteX9" fmla="*/ 282623 w 282809"/>
                <a:gd name="connsiteY9" fmla="*/ 513472 h 544047"/>
                <a:gd name="connsiteX10" fmla="*/ 277266 w 282809"/>
                <a:gd name="connsiteY10" fmla="*/ 496724 h 544047"/>
                <a:gd name="connsiteX11" fmla="*/ 134073 w 282809"/>
                <a:gd name="connsiteY11" fmla="*/ 30674 h 544047"/>
                <a:gd name="connsiteX12" fmla="*/ 126215 w 282809"/>
                <a:gd name="connsiteY12" fmla="*/ 11147 h 544047"/>
                <a:gd name="connsiteX13" fmla="*/ 105379 w 282809"/>
                <a:gd name="connsiteY13" fmla="*/ 8250 h 544047"/>
                <a:gd name="connsiteX14" fmla="*/ 38029 w 282809"/>
                <a:gd name="connsiteY14" fmla="*/ 3051 h 544047"/>
                <a:gd name="connsiteX15" fmla="*/ 18582 w 282809"/>
                <a:gd name="connsiteY15" fmla="*/ 1940 h 544047"/>
                <a:gd name="connsiteX16" fmla="*/ 6597 w 282809"/>
                <a:gd name="connsiteY16" fmla="*/ 17299 h 544047"/>
                <a:gd name="connsiteX17" fmla="*/ 55055 w 282809"/>
                <a:gd name="connsiteY17" fmla="*/ 369843 h 544047"/>
                <a:gd name="connsiteX18" fmla="*/ 121095 w 282809"/>
                <a:gd name="connsiteY18" fmla="*/ 501288 h 54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2809" h="544047">
                  <a:moveTo>
                    <a:pt x="44102" y="50993"/>
                  </a:moveTo>
                  <a:cubicBezTo>
                    <a:pt x="58468" y="55121"/>
                    <a:pt x="74105" y="56510"/>
                    <a:pt x="88988" y="55042"/>
                  </a:cubicBezTo>
                  <a:cubicBezTo>
                    <a:pt x="74423" y="214744"/>
                    <a:pt x="124508" y="377781"/>
                    <a:pt x="226227" y="501725"/>
                  </a:cubicBezTo>
                  <a:cubicBezTo>
                    <a:pt x="201304" y="504622"/>
                    <a:pt x="171260" y="492756"/>
                    <a:pt x="151218" y="472039"/>
                  </a:cubicBezTo>
                  <a:cubicBezTo>
                    <a:pt x="123556" y="443622"/>
                    <a:pt x="109983" y="404927"/>
                    <a:pt x="95060" y="357302"/>
                  </a:cubicBezTo>
                  <a:cubicBezTo>
                    <a:pt x="60929" y="248320"/>
                    <a:pt x="33505" y="149260"/>
                    <a:pt x="44102" y="50993"/>
                  </a:cubicBezTo>
                  <a:close/>
                  <a:moveTo>
                    <a:pt x="121095" y="501288"/>
                  </a:moveTo>
                  <a:cubicBezTo>
                    <a:pt x="147130" y="528117"/>
                    <a:pt x="183563" y="544111"/>
                    <a:pt x="218488" y="544111"/>
                  </a:cubicBezTo>
                  <a:cubicBezTo>
                    <a:pt x="238531" y="544111"/>
                    <a:pt x="257462" y="538674"/>
                    <a:pt x="273217" y="528395"/>
                  </a:cubicBezTo>
                  <a:cubicBezTo>
                    <a:pt x="278377" y="525061"/>
                    <a:pt x="281830" y="519584"/>
                    <a:pt x="282623" y="513472"/>
                  </a:cubicBezTo>
                  <a:cubicBezTo>
                    <a:pt x="283378" y="507400"/>
                    <a:pt x="281472" y="501249"/>
                    <a:pt x="277266" y="496724"/>
                  </a:cubicBezTo>
                  <a:cubicBezTo>
                    <a:pt x="163600" y="371907"/>
                    <a:pt x="110062" y="197758"/>
                    <a:pt x="134073" y="30674"/>
                  </a:cubicBezTo>
                  <a:cubicBezTo>
                    <a:pt x="135145" y="23212"/>
                    <a:pt x="132168" y="15751"/>
                    <a:pt x="126215" y="11147"/>
                  </a:cubicBezTo>
                  <a:cubicBezTo>
                    <a:pt x="120301" y="6504"/>
                    <a:pt x="112404" y="5393"/>
                    <a:pt x="105379" y="8250"/>
                  </a:cubicBezTo>
                  <a:cubicBezTo>
                    <a:pt x="84225" y="16862"/>
                    <a:pt x="57595" y="14759"/>
                    <a:pt x="38029" y="3051"/>
                  </a:cubicBezTo>
                  <a:cubicBezTo>
                    <a:pt x="32155" y="-481"/>
                    <a:pt x="24853" y="-918"/>
                    <a:pt x="18582" y="1940"/>
                  </a:cubicBezTo>
                  <a:cubicBezTo>
                    <a:pt x="12312" y="4757"/>
                    <a:pt x="7827" y="10552"/>
                    <a:pt x="6597" y="17299"/>
                  </a:cubicBezTo>
                  <a:cubicBezTo>
                    <a:pt x="-14279" y="133464"/>
                    <a:pt x="17590" y="250344"/>
                    <a:pt x="55055" y="369843"/>
                  </a:cubicBezTo>
                  <a:cubicBezTo>
                    <a:pt x="68073" y="411555"/>
                    <a:pt x="84345" y="463387"/>
                    <a:pt x="121095" y="501288"/>
                  </a:cubicBezTo>
                  <a:close/>
                </a:path>
              </a:pathLst>
            </a:custGeom>
            <a:grpFill/>
            <a:ln w="39688" cap="flat">
              <a:noFill/>
              <a:prstDash val="solid"/>
              <a:round/>
            </a:ln>
          </p:spPr>
          <p:txBody>
            <a:bodyPr rtlCol="0" anchor="ctr"/>
            <a:lstStyle/>
            <a:p>
              <a:endParaRPr lang="en-LT"/>
            </a:p>
          </p:txBody>
        </p:sp>
        <p:sp>
          <p:nvSpPr>
            <p:cNvPr id="96" name="Freeform 95">
              <a:extLst>
                <a:ext uri="{FF2B5EF4-FFF2-40B4-BE49-F238E27FC236}">
                  <a16:creationId xmlns:a16="http://schemas.microsoft.com/office/drawing/2014/main" id="{6DC3434D-51EC-0341-8739-5E451B5E3304}"/>
                </a:ext>
              </a:extLst>
            </p:cNvPr>
            <p:cNvSpPr/>
            <p:nvPr/>
          </p:nvSpPr>
          <p:spPr>
            <a:xfrm>
              <a:off x="5429256" y="3190991"/>
              <a:ext cx="1325619" cy="1416330"/>
            </a:xfrm>
            <a:custGeom>
              <a:avLst/>
              <a:gdLst>
                <a:gd name="connsiteX0" fmla="*/ 298468 w 1325619"/>
                <a:gd name="connsiteY0" fmla="*/ 855377 h 1416330"/>
                <a:gd name="connsiteX1" fmla="*/ 304977 w 1325619"/>
                <a:gd name="connsiteY1" fmla="*/ 870537 h 1416330"/>
                <a:gd name="connsiteX2" fmla="*/ 241596 w 1325619"/>
                <a:gd name="connsiteY2" fmla="*/ 1101162 h 1416330"/>
                <a:gd name="connsiteX3" fmla="*/ 690859 w 1325619"/>
                <a:gd name="connsiteY3" fmla="*/ 1259872 h 1416330"/>
                <a:gd name="connsiteX4" fmla="*/ 1090473 w 1325619"/>
                <a:gd name="connsiteY4" fmla="*/ 1110290 h 1416330"/>
                <a:gd name="connsiteX5" fmla="*/ 979030 w 1325619"/>
                <a:gd name="connsiteY5" fmla="*/ 885896 h 1416330"/>
                <a:gd name="connsiteX6" fmla="*/ 1000382 w 1325619"/>
                <a:gd name="connsiteY6" fmla="*/ 810411 h 1416330"/>
                <a:gd name="connsiteX7" fmla="*/ 1011415 w 1325619"/>
                <a:gd name="connsiteY7" fmla="*/ 813030 h 1416330"/>
                <a:gd name="connsiteX8" fmla="*/ 1124167 w 1325619"/>
                <a:gd name="connsiteY8" fmla="*/ 1255784 h 1416330"/>
                <a:gd name="connsiteX9" fmla="*/ 614500 w 1325619"/>
                <a:gd name="connsiteY9" fmla="*/ 1372227 h 1416330"/>
                <a:gd name="connsiteX10" fmla="*/ 104674 w 1325619"/>
                <a:gd name="connsiteY10" fmla="*/ 1234432 h 1416330"/>
                <a:gd name="connsiteX11" fmla="*/ 298468 w 1325619"/>
                <a:gd name="connsiteY11" fmla="*/ 855377 h 1416330"/>
                <a:gd name="connsiteX12" fmla="*/ 361095 w 1325619"/>
                <a:gd name="connsiteY12" fmla="*/ 969478 h 1416330"/>
                <a:gd name="connsiteX13" fmla="*/ 408561 w 1325619"/>
                <a:gd name="connsiteY13" fmla="*/ 1005793 h 1416330"/>
                <a:gd name="connsiteX14" fmla="*/ 531593 w 1325619"/>
                <a:gd name="connsiteY14" fmla="*/ 1038058 h 1416330"/>
                <a:gd name="connsiteX15" fmla="*/ 692248 w 1325619"/>
                <a:gd name="connsiteY15" fmla="*/ 1047623 h 1416330"/>
                <a:gd name="connsiteX16" fmla="*/ 769837 w 1325619"/>
                <a:gd name="connsiteY16" fmla="*/ 1045361 h 1416330"/>
                <a:gd name="connsiteX17" fmla="*/ 922951 w 1325619"/>
                <a:gd name="connsiteY17" fmla="*/ 1000514 h 1416330"/>
                <a:gd name="connsiteX18" fmla="*/ 799523 w 1325619"/>
                <a:gd name="connsiteY18" fmla="*/ 1077865 h 1416330"/>
                <a:gd name="connsiteX19" fmla="*/ 553818 w 1325619"/>
                <a:gd name="connsiteY19" fmla="*/ 1078738 h 1416330"/>
                <a:gd name="connsiteX20" fmla="*/ 542705 w 1325619"/>
                <a:gd name="connsiteY20" fmla="*/ 1077349 h 1416330"/>
                <a:gd name="connsiteX21" fmla="*/ 361095 w 1325619"/>
                <a:gd name="connsiteY21" fmla="*/ 969478 h 1416330"/>
                <a:gd name="connsiteX22" fmla="*/ 323273 w 1325619"/>
                <a:gd name="connsiteY22" fmla="*/ 998847 h 1416330"/>
                <a:gd name="connsiteX23" fmla="*/ 359944 w 1325619"/>
                <a:gd name="connsiteY23" fmla="*/ 1054568 h 1416330"/>
                <a:gd name="connsiteX24" fmla="*/ 537546 w 1325619"/>
                <a:gd name="connsiteY24" fmla="*/ 1118942 h 1416330"/>
                <a:gd name="connsiteX25" fmla="*/ 548619 w 1325619"/>
                <a:gd name="connsiteY25" fmla="*/ 1120331 h 1416330"/>
                <a:gd name="connsiteX26" fmla="*/ 696018 w 1325619"/>
                <a:gd name="connsiteY26" fmla="*/ 1132515 h 1416330"/>
                <a:gd name="connsiteX27" fmla="*/ 810914 w 1325619"/>
                <a:gd name="connsiteY27" fmla="*/ 1118267 h 1416330"/>
                <a:gd name="connsiteX28" fmla="*/ 970537 w 1325619"/>
                <a:gd name="connsiteY28" fmla="*/ 911773 h 1416330"/>
                <a:gd name="connsiteX29" fmla="*/ 1028044 w 1325619"/>
                <a:gd name="connsiteY29" fmla="*/ 947412 h 1416330"/>
                <a:gd name="connsiteX30" fmla="*/ 1058524 w 1325619"/>
                <a:gd name="connsiteY30" fmla="*/ 1004364 h 1416330"/>
                <a:gd name="connsiteX31" fmla="*/ 1020424 w 1325619"/>
                <a:gd name="connsiteY31" fmla="*/ 1134340 h 1416330"/>
                <a:gd name="connsiteX32" fmla="*/ 908902 w 1325619"/>
                <a:gd name="connsiteY32" fmla="*/ 1193554 h 1416330"/>
                <a:gd name="connsiteX33" fmla="*/ 690859 w 1325619"/>
                <a:gd name="connsiteY33" fmla="*/ 1217922 h 1416330"/>
                <a:gd name="connsiteX34" fmla="*/ 476268 w 1325619"/>
                <a:gd name="connsiteY34" fmla="*/ 1189188 h 1416330"/>
                <a:gd name="connsiteX35" fmla="*/ 355063 w 1325619"/>
                <a:gd name="connsiteY35" fmla="*/ 1145810 h 1416330"/>
                <a:gd name="connsiteX36" fmla="*/ 306247 w 1325619"/>
                <a:gd name="connsiteY36" fmla="*/ 1112711 h 1416330"/>
                <a:gd name="connsiteX37" fmla="*/ 253423 w 1325619"/>
                <a:gd name="connsiteY37" fmla="*/ 989918 h 1416330"/>
                <a:gd name="connsiteX38" fmla="*/ 286681 w 1325619"/>
                <a:gd name="connsiteY38" fmla="*/ 935387 h 1416330"/>
                <a:gd name="connsiteX39" fmla="*/ 322360 w 1325619"/>
                <a:gd name="connsiteY39" fmla="*/ 919829 h 1416330"/>
                <a:gd name="connsiteX40" fmla="*/ 324344 w 1325619"/>
                <a:gd name="connsiteY40" fmla="*/ 934871 h 1416330"/>
                <a:gd name="connsiteX41" fmla="*/ 315693 w 1325619"/>
                <a:gd name="connsiteY41" fmla="*/ 960747 h 1416330"/>
                <a:gd name="connsiteX42" fmla="*/ 323273 w 1325619"/>
                <a:gd name="connsiteY42" fmla="*/ 998847 h 1416330"/>
                <a:gd name="connsiteX43" fmla="*/ 260686 w 1325619"/>
                <a:gd name="connsiteY43" fmla="*/ 587883 h 1416330"/>
                <a:gd name="connsiteX44" fmla="*/ 231238 w 1325619"/>
                <a:gd name="connsiteY44" fmla="*/ 410757 h 1416330"/>
                <a:gd name="connsiteX45" fmla="*/ 223776 w 1325619"/>
                <a:gd name="connsiteY45" fmla="*/ 321183 h 1416330"/>
                <a:gd name="connsiteX46" fmla="*/ 221236 w 1325619"/>
                <a:gd name="connsiteY46" fmla="*/ 235378 h 1416330"/>
                <a:gd name="connsiteX47" fmla="*/ 585409 w 1325619"/>
                <a:gd name="connsiteY47" fmla="*/ 315507 h 1416330"/>
                <a:gd name="connsiteX48" fmla="*/ 669308 w 1325619"/>
                <a:gd name="connsiteY48" fmla="*/ 313999 h 1416330"/>
                <a:gd name="connsiteX49" fmla="*/ 914419 w 1325619"/>
                <a:gd name="connsiteY49" fmla="*/ 286932 h 1416330"/>
                <a:gd name="connsiteX50" fmla="*/ 994310 w 1325619"/>
                <a:gd name="connsiteY50" fmla="*/ 260024 h 1416330"/>
                <a:gd name="connsiteX51" fmla="*/ 1032489 w 1325619"/>
                <a:gd name="connsiteY51" fmla="*/ 334795 h 1416330"/>
                <a:gd name="connsiteX52" fmla="*/ 1011772 w 1325619"/>
                <a:gd name="connsiteY52" fmla="*/ 530574 h 1416330"/>
                <a:gd name="connsiteX53" fmla="*/ 959940 w 1325619"/>
                <a:gd name="connsiteY53" fmla="*/ 801521 h 1416330"/>
                <a:gd name="connsiteX54" fmla="*/ 911799 w 1325619"/>
                <a:gd name="connsiteY54" fmla="*/ 938641 h 1416330"/>
                <a:gd name="connsiteX55" fmla="*/ 822939 w 1325619"/>
                <a:gd name="connsiteY55" fmla="*/ 990870 h 1416330"/>
                <a:gd name="connsiteX56" fmla="*/ 717092 w 1325619"/>
                <a:gd name="connsiteY56" fmla="*/ 1005435 h 1416330"/>
                <a:gd name="connsiteX57" fmla="*/ 536593 w 1325619"/>
                <a:gd name="connsiteY57" fmla="*/ 996426 h 1416330"/>
                <a:gd name="connsiteX58" fmla="*/ 427850 w 1325619"/>
                <a:gd name="connsiteY58" fmla="*/ 968526 h 1416330"/>
                <a:gd name="connsiteX59" fmla="*/ 340100 w 1325619"/>
                <a:gd name="connsiteY59" fmla="*/ 845098 h 1416330"/>
                <a:gd name="connsiteX60" fmla="*/ 309065 w 1325619"/>
                <a:gd name="connsiteY60" fmla="*/ 760841 h 1416330"/>
                <a:gd name="connsiteX61" fmla="*/ 260686 w 1325619"/>
                <a:gd name="connsiteY61" fmla="*/ 587883 h 1416330"/>
                <a:gd name="connsiteX62" fmla="*/ 1047253 w 1325619"/>
                <a:gd name="connsiteY62" fmla="*/ 613481 h 1416330"/>
                <a:gd name="connsiteX63" fmla="*/ 1209496 w 1325619"/>
                <a:gd name="connsiteY63" fmla="*/ 318841 h 1416330"/>
                <a:gd name="connsiteX64" fmla="*/ 1068367 w 1325619"/>
                <a:gd name="connsiteY64" fmla="*/ 290226 h 1416330"/>
                <a:gd name="connsiteX65" fmla="*/ 1067692 w 1325619"/>
                <a:gd name="connsiteY65" fmla="*/ 262405 h 1416330"/>
                <a:gd name="connsiteX66" fmla="*/ 1238944 w 1325619"/>
                <a:gd name="connsiteY66" fmla="*/ 237243 h 1416330"/>
                <a:gd name="connsiteX67" fmla="*/ 1272956 w 1325619"/>
                <a:gd name="connsiteY67" fmla="*/ 400280 h 1416330"/>
                <a:gd name="connsiteX68" fmla="*/ 1186358 w 1325619"/>
                <a:gd name="connsiteY68" fmla="*/ 542004 h 1416330"/>
                <a:gd name="connsiteX69" fmla="*/ 1030386 w 1325619"/>
                <a:gd name="connsiteY69" fmla="*/ 681029 h 1416330"/>
                <a:gd name="connsiteX70" fmla="*/ 1041498 w 1325619"/>
                <a:gd name="connsiteY70" fmla="*/ 616696 h 1416330"/>
                <a:gd name="connsiteX71" fmla="*/ 1047253 w 1325619"/>
                <a:gd name="connsiteY71" fmla="*/ 613481 h 1416330"/>
                <a:gd name="connsiteX72" fmla="*/ 1063842 w 1325619"/>
                <a:gd name="connsiteY72" fmla="*/ 375356 h 1416330"/>
                <a:gd name="connsiteX73" fmla="*/ 1094441 w 1325619"/>
                <a:gd name="connsiteY73" fmla="*/ 308840 h 1416330"/>
                <a:gd name="connsiteX74" fmla="*/ 1167943 w 1325619"/>
                <a:gd name="connsiteY74" fmla="*/ 399922 h 1416330"/>
                <a:gd name="connsiteX75" fmla="*/ 1126072 w 1325619"/>
                <a:gd name="connsiteY75" fmla="*/ 476242 h 1416330"/>
                <a:gd name="connsiteX76" fmla="*/ 1050706 w 1325619"/>
                <a:gd name="connsiteY76" fmla="*/ 554863 h 1416330"/>
                <a:gd name="connsiteX77" fmla="*/ 1063842 w 1325619"/>
                <a:gd name="connsiteY77" fmla="*/ 375356 h 1416330"/>
                <a:gd name="connsiteX78" fmla="*/ 13155 w 1325619"/>
                <a:gd name="connsiteY78" fmla="*/ 1159740 h 1416330"/>
                <a:gd name="connsiteX79" fmla="*/ 614500 w 1325619"/>
                <a:gd name="connsiteY79" fmla="*/ 1414177 h 1416330"/>
                <a:gd name="connsiteX80" fmla="*/ 1251168 w 1325619"/>
                <a:gd name="connsiteY80" fmla="*/ 1155137 h 1416330"/>
                <a:gd name="connsiteX81" fmla="*/ 1010780 w 1325619"/>
                <a:gd name="connsiteY81" fmla="*/ 771279 h 1416330"/>
                <a:gd name="connsiteX82" fmla="*/ 1016932 w 1325619"/>
                <a:gd name="connsiteY82" fmla="*/ 743577 h 1416330"/>
                <a:gd name="connsiteX83" fmla="*/ 1029473 w 1325619"/>
                <a:gd name="connsiteY83" fmla="*/ 738140 h 1416330"/>
                <a:gd name="connsiteX84" fmla="*/ 1304785 w 1325619"/>
                <a:gd name="connsiteY84" fmla="*/ 261413 h 1416330"/>
                <a:gd name="connsiteX85" fmla="*/ 1066978 w 1325619"/>
                <a:gd name="connsiteY85" fmla="*/ 192238 h 1416330"/>
                <a:gd name="connsiteX86" fmla="*/ 1073169 w 1325619"/>
                <a:gd name="connsiteY86" fmla="*/ 168108 h 1416330"/>
                <a:gd name="connsiteX87" fmla="*/ 784244 w 1325619"/>
                <a:gd name="connsiteY87" fmla="*/ 8286 h 1416330"/>
                <a:gd name="connsiteX88" fmla="*/ 725784 w 1325619"/>
                <a:gd name="connsiteY88" fmla="*/ 4317 h 1416330"/>
                <a:gd name="connsiteX89" fmla="*/ 661649 w 1325619"/>
                <a:gd name="connsiteY89" fmla="*/ 71 h 1416330"/>
                <a:gd name="connsiteX90" fmla="*/ 640694 w 1325619"/>
                <a:gd name="connsiteY90" fmla="*/ 21065 h 1416330"/>
                <a:gd name="connsiteX91" fmla="*/ 661649 w 1325619"/>
                <a:gd name="connsiteY91" fmla="*/ 42060 h 1416330"/>
                <a:gd name="connsiteX92" fmla="*/ 721617 w 1325619"/>
                <a:gd name="connsiteY92" fmla="*/ 46068 h 1416330"/>
                <a:gd name="connsiteX93" fmla="*/ 782021 w 1325619"/>
                <a:gd name="connsiteY93" fmla="*/ 50117 h 1416330"/>
                <a:gd name="connsiteX94" fmla="*/ 1031457 w 1325619"/>
                <a:gd name="connsiteY94" fmla="*/ 163861 h 1416330"/>
                <a:gd name="connsiteX95" fmla="*/ 666292 w 1325619"/>
                <a:gd name="connsiteY95" fmla="*/ 272089 h 1416330"/>
                <a:gd name="connsiteX96" fmla="*/ 232230 w 1325619"/>
                <a:gd name="connsiteY96" fmla="*/ 181879 h 1416330"/>
                <a:gd name="connsiteX97" fmla="*/ 230404 w 1325619"/>
                <a:gd name="connsiteY97" fmla="*/ 138223 h 1416330"/>
                <a:gd name="connsiteX98" fmla="*/ 427215 w 1325619"/>
                <a:gd name="connsiteY98" fmla="*/ 57578 h 1416330"/>
                <a:gd name="connsiteX99" fmla="*/ 444638 w 1325619"/>
                <a:gd name="connsiteY99" fmla="*/ 33567 h 1416330"/>
                <a:gd name="connsiteX100" fmla="*/ 420626 w 1325619"/>
                <a:gd name="connsiteY100" fmla="*/ 16104 h 1416330"/>
                <a:gd name="connsiteX101" fmla="*/ 190240 w 1325619"/>
                <a:gd name="connsiteY101" fmla="*/ 126039 h 1416330"/>
                <a:gd name="connsiteX102" fmla="*/ 196749 w 1325619"/>
                <a:gd name="connsiteY102" fmla="*/ 470567 h 1416330"/>
                <a:gd name="connsiteX103" fmla="*/ 232071 w 1325619"/>
                <a:gd name="connsiteY103" fmla="*/ 647811 h 1416330"/>
                <a:gd name="connsiteX104" fmla="*/ 282990 w 1325619"/>
                <a:gd name="connsiteY104" fmla="*/ 812752 h 1416330"/>
                <a:gd name="connsiteX105" fmla="*/ 13155 w 1325619"/>
                <a:gd name="connsiteY105" fmla="*/ 1159740 h 141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325619" h="1416330">
                  <a:moveTo>
                    <a:pt x="298468" y="855377"/>
                  </a:moveTo>
                  <a:cubicBezTo>
                    <a:pt x="300492" y="860496"/>
                    <a:pt x="302913" y="865418"/>
                    <a:pt x="304977" y="870537"/>
                  </a:cubicBezTo>
                  <a:cubicBezTo>
                    <a:pt x="209489" y="901375"/>
                    <a:pt x="183216" y="1013571"/>
                    <a:pt x="241596" y="1101162"/>
                  </a:cubicBezTo>
                  <a:cubicBezTo>
                    <a:pt x="329901" y="1233758"/>
                    <a:pt x="545999" y="1257649"/>
                    <a:pt x="690859" y="1259872"/>
                  </a:cubicBezTo>
                  <a:cubicBezTo>
                    <a:pt x="826034" y="1261936"/>
                    <a:pt x="1018996" y="1246934"/>
                    <a:pt x="1090473" y="1110290"/>
                  </a:cubicBezTo>
                  <a:cubicBezTo>
                    <a:pt x="1141590" y="1012698"/>
                    <a:pt x="1089441" y="893199"/>
                    <a:pt x="979030" y="885896"/>
                  </a:cubicBezTo>
                  <a:cubicBezTo>
                    <a:pt x="986690" y="860933"/>
                    <a:pt x="993715" y="835771"/>
                    <a:pt x="1000382" y="810411"/>
                  </a:cubicBezTo>
                  <a:cubicBezTo>
                    <a:pt x="1003398" y="812157"/>
                    <a:pt x="1006891" y="813387"/>
                    <a:pt x="1011415" y="813030"/>
                  </a:cubicBezTo>
                  <a:cubicBezTo>
                    <a:pt x="1275734" y="793147"/>
                    <a:pt x="1278552" y="1120609"/>
                    <a:pt x="1124167" y="1255784"/>
                  </a:cubicBezTo>
                  <a:cubicBezTo>
                    <a:pt x="987245" y="1375601"/>
                    <a:pt x="786546" y="1381475"/>
                    <a:pt x="614500" y="1372227"/>
                  </a:cubicBezTo>
                  <a:cubicBezTo>
                    <a:pt x="461584" y="1364012"/>
                    <a:pt x="219411" y="1353773"/>
                    <a:pt x="104674" y="1234432"/>
                  </a:cubicBezTo>
                  <a:cubicBezTo>
                    <a:pt x="-48480" y="1075047"/>
                    <a:pt x="97094" y="840772"/>
                    <a:pt x="298468" y="855377"/>
                  </a:cubicBezTo>
                  <a:close/>
                  <a:moveTo>
                    <a:pt x="361095" y="969478"/>
                  </a:moveTo>
                  <a:cubicBezTo>
                    <a:pt x="374470" y="983528"/>
                    <a:pt x="390067" y="996267"/>
                    <a:pt x="408561" y="1005793"/>
                  </a:cubicBezTo>
                  <a:cubicBezTo>
                    <a:pt x="447257" y="1025795"/>
                    <a:pt x="490556" y="1033137"/>
                    <a:pt x="531593" y="1038058"/>
                  </a:cubicBezTo>
                  <a:cubicBezTo>
                    <a:pt x="584774" y="1044448"/>
                    <a:pt x="638551" y="1047623"/>
                    <a:pt x="692248" y="1047623"/>
                  </a:cubicBezTo>
                  <a:cubicBezTo>
                    <a:pt x="718164" y="1047623"/>
                    <a:pt x="744040" y="1046829"/>
                    <a:pt x="769837" y="1045361"/>
                  </a:cubicBezTo>
                  <a:cubicBezTo>
                    <a:pt x="816549" y="1042662"/>
                    <a:pt x="878105" y="1034367"/>
                    <a:pt x="922951" y="1000514"/>
                  </a:cubicBezTo>
                  <a:cubicBezTo>
                    <a:pt x="900052" y="1037661"/>
                    <a:pt x="848339" y="1064133"/>
                    <a:pt x="799523" y="1077865"/>
                  </a:cubicBezTo>
                  <a:cubicBezTo>
                    <a:pt x="721934" y="1099812"/>
                    <a:pt x="636447" y="1089057"/>
                    <a:pt x="553818" y="1078738"/>
                  </a:cubicBezTo>
                  <a:lnTo>
                    <a:pt x="542705" y="1077349"/>
                  </a:lnTo>
                  <a:cubicBezTo>
                    <a:pt x="475078" y="1068935"/>
                    <a:pt x="365064" y="1043654"/>
                    <a:pt x="361095" y="969478"/>
                  </a:cubicBezTo>
                  <a:close/>
                  <a:moveTo>
                    <a:pt x="323273" y="998847"/>
                  </a:moveTo>
                  <a:cubicBezTo>
                    <a:pt x="329782" y="1020715"/>
                    <a:pt x="342958" y="1039448"/>
                    <a:pt x="359944" y="1054568"/>
                  </a:cubicBezTo>
                  <a:cubicBezTo>
                    <a:pt x="407331" y="1096796"/>
                    <a:pt x="476467" y="1111361"/>
                    <a:pt x="537546" y="1118942"/>
                  </a:cubicBezTo>
                  <a:lnTo>
                    <a:pt x="548619" y="1120331"/>
                  </a:lnTo>
                  <a:cubicBezTo>
                    <a:pt x="595331" y="1126204"/>
                    <a:pt x="645615" y="1132515"/>
                    <a:pt x="696018" y="1132515"/>
                  </a:cubicBezTo>
                  <a:cubicBezTo>
                    <a:pt x="734753" y="1132515"/>
                    <a:pt x="773568" y="1128784"/>
                    <a:pt x="810914" y="1118267"/>
                  </a:cubicBezTo>
                  <a:cubicBezTo>
                    <a:pt x="891043" y="1095685"/>
                    <a:pt x="1024274" y="1014127"/>
                    <a:pt x="970537" y="911773"/>
                  </a:cubicBezTo>
                  <a:cubicBezTo>
                    <a:pt x="1002485" y="917607"/>
                    <a:pt x="1016535" y="936260"/>
                    <a:pt x="1028044" y="947412"/>
                  </a:cubicBezTo>
                  <a:cubicBezTo>
                    <a:pt x="1044594" y="963406"/>
                    <a:pt x="1054158" y="981663"/>
                    <a:pt x="1058524" y="1004364"/>
                  </a:cubicBezTo>
                  <a:cubicBezTo>
                    <a:pt x="1067057" y="1048734"/>
                    <a:pt x="1052492" y="1102074"/>
                    <a:pt x="1020424" y="1134340"/>
                  </a:cubicBezTo>
                  <a:cubicBezTo>
                    <a:pt x="990738" y="1164146"/>
                    <a:pt x="948113" y="1181926"/>
                    <a:pt x="908902" y="1193554"/>
                  </a:cubicBezTo>
                  <a:cubicBezTo>
                    <a:pt x="839211" y="1214192"/>
                    <a:pt x="763249" y="1218914"/>
                    <a:pt x="690859" y="1217922"/>
                  </a:cubicBezTo>
                  <a:cubicBezTo>
                    <a:pt x="618746" y="1216930"/>
                    <a:pt x="546119" y="1207286"/>
                    <a:pt x="476268" y="1189188"/>
                  </a:cubicBezTo>
                  <a:cubicBezTo>
                    <a:pt x="435628" y="1178711"/>
                    <a:pt x="391853" y="1165971"/>
                    <a:pt x="355063" y="1145810"/>
                  </a:cubicBezTo>
                  <a:cubicBezTo>
                    <a:pt x="338791" y="1134777"/>
                    <a:pt x="322519" y="1123744"/>
                    <a:pt x="306247" y="1112711"/>
                  </a:cubicBezTo>
                  <a:cubicBezTo>
                    <a:pt x="270012" y="1088144"/>
                    <a:pt x="246438" y="1032740"/>
                    <a:pt x="253423" y="989918"/>
                  </a:cubicBezTo>
                  <a:cubicBezTo>
                    <a:pt x="257034" y="967851"/>
                    <a:pt x="268742" y="948682"/>
                    <a:pt x="286681" y="935387"/>
                  </a:cubicBezTo>
                  <a:cubicBezTo>
                    <a:pt x="292555" y="931021"/>
                    <a:pt x="315018" y="915344"/>
                    <a:pt x="322360" y="919829"/>
                  </a:cubicBezTo>
                  <a:cubicBezTo>
                    <a:pt x="326448" y="922330"/>
                    <a:pt x="326131" y="928203"/>
                    <a:pt x="324344" y="934871"/>
                  </a:cubicBezTo>
                  <a:cubicBezTo>
                    <a:pt x="321725" y="944475"/>
                    <a:pt x="315931" y="955707"/>
                    <a:pt x="315693" y="960747"/>
                  </a:cubicBezTo>
                  <a:cubicBezTo>
                    <a:pt x="314978" y="972336"/>
                    <a:pt x="319939" y="987616"/>
                    <a:pt x="323273" y="998847"/>
                  </a:cubicBezTo>
                  <a:close/>
                  <a:moveTo>
                    <a:pt x="260686" y="587883"/>
                  </a:moveTo>
                  <a:cubicBezTo>
                    <a:pt x="247708" y="529383"/>
                    <a:pt x="237865" y="470249"/>
                    <a:pt x="231238" y="410757"/>
                  </a:cubicBezTo>
                  <a:cubicBezTo>
                    <a:pt x="227943" y="380952"/>
                    <a:pt x="225443" y="351107"/>
                    <a:pt x="223776" y="321183"/>
                  </a:cubicBezTo>
                  <a:cubicBezTo>
                    <a:pt x="223022" y="308006"/>
                    <a:pt x="229412" y="242998"/>
                    <a:pt x="221236" y="235378"/>
                  </a:cubicBezTo>
                  <a:cubicBezTo>
                    <a:pt x="296127" y="304673"/>
                    <a:pt x="468490" y="315507"/>
                    <a:pt x="585409" y="315507"/>
                  </a:cubicBezTo>
                  <a:cubicBezTo>
                    <a:pt x="619262" y="315507"/>
                    <a:pt x="648433" y="314595"/>
                    <a:pt x="669308" y="313999"/>
                  </a:cubicBezTo>
                  <a:cubicBezTo>
                    <a:pt x="751144" y="311459"/>
                    <a:pt x="834567" y="306260"/>
                    <a:pt x="914419" y="286932"/>
                  </a:cubicBezTo>
                  <a:cubicBezTo>
                    <a:pt x="942041" y="280304"/>
                    <a:pt x="967362" y="267604"/>
                    <a:pt x="994310" y="260024"/>
                  </a:cubicBezTo>
                  <a:cubicBezTo>
                    <a:pt x="1050309" y="244308"/>
                    <a:pt x="1040585" y="299037"/>
                    <a:pt x="1032489" y="334795"/>
                  </a:cubicBezTo>
                  <a:cubicBezTo>
                    <a:pt x="1018122" y="398335"/>
                    <a:pt x="1019630" y="465606"/>
                    <a:pt x="1011772" y="530574"/>
                  </a:cubicBezTo>
                  <a:cubicBezTo>
                    <a:pt x="1000739" y="621935"/>
                    <a:pt x="983475" y="712541"/>
                    <a:pt x="959940" y="801521"/>
                  </a:cubicBezTo>
                  <a:cubicBezTo>
                    <a:pt x="947518" y="848630"/>
                    <a:pt x="937596" y="896493"/>
                    <a:pt x="911799" y="938641"/>
                  </a:cubicBezTo>
                  <a:cubicBezTo>
                    <a:pt x="890686" y="973209"/>
                    <a:pt x="859888" y="978646"/>
                    <a:pt x="822939" y="990870"/>
                  </a:cubicBezTo>
                  <a:cubicBezTo>
                    <a:pt x="788411" y="1002300"/>
                    <a:pt x="753248" y="1004761"/>
                    <a:pt x="717092" y="1005435"/>
                  </a:cubicBezTo>
                  <a:cubicBezTo>
                    <a:pt x="656847" y="1006586"/>
                    <a:pt x="596482" y="1003610"/>
                    <a:pt x="536593" y="996426"/>
                  </a:cubicBezTo>
                  <a:cubicBezTo>
                    <a:pt x="499486" y="991981"/>
                    <a:pt x="460632" y="985512"/>
                    <a:pt x="427850" y="968526"/>
                  </a:cubicBezTo>
                  <a:cubicBezTo>
                    <a:pt x="380264" y="943999"/>
                    <a:pt x="355182" y="894112"/>
                    <a:pt x="340100" y="845098"/>
                  </a:cubicBezTo>
                  <a:cubicBezTo>
                    <a:pt x="331409" y="816642"/>
                    <a:pt x="318629" y="789059"/>
                    <a:pt x="309065" y="760841"/>
                  </a:cubicBezTo>
                  <a:cubicBezTo>
                    <a:pt x="289856" y="704088"/>
                    <a:pt x="273703" y="646303"/>
                    <a:pt x="260686" y="587883"/>
                  </a:cubicBezTo>
                  <a:close/>
                  <a:moveTo>
                    <a:pt x="1047253" y="613481"/>
                  </a:moveTo>
                  <a:cubicBezTo>
                    <a:pt x="1122580" y="548592"/>
                    <a:pt x="1253390" y="434530"/>
                    <a:pt x="1209496" y="318841"/>
                  </a:cubicBezTo>
                  <a:cubicBezTo>
                    <a:pt x="1183143" y="249388"/>
                    <a:pt x="1108491" y="249229"/>
                    <a:pt x="1068367" y="290226"/>
                  </a:cubicBezTo>
                  <a:cubicBezTo>
                    <a:pt x="1068367" y="280939"/>
                    <a:pt x="1067851" y="271692"/>
                    <a:pt x="1067692" y="262405"/>
                  </a:cubicBezTo>
                  <a:cubicBezTo>
                    <a:pt x="1109602" y="188904"/>
                    <a:pt x="1166593" y="180053"/>
                    <a:pt x="1238944" y="237243"/>
                  </a:cubicBezTo>
                  <a:cubicBezTo>
                    <a:pt x="1279385" y="284749"/>
                    <a:pt x="1290696" y="339082"/>
                    <a:pt x="1272956" y="400280"/>
                  </a:cubicBezTo>
                  <a:cubicBezTo>
                    <a:pt x="1259978" y="453937"/>
                    <a:pt x="1223267" y="503071"/>
                    <a:pt x="1186358" y="542004"/>
                  </a:cubicBezTo>
                  <a:cubicBezTo>
                    <a:pt x="1138455" y="592566"/>
                    <a:pt x="1082694" y="635032"/>
                    <a:pt x="1030386" y="681029"/>
                  </a:cubicBezTo>
                  <a:cubicBezTo>
                    <a:pt x="1034553" y="659678"/>
                    <a:pt x="1038006" y="638207"/>
                    <a:pt x="1041498" y="616696"/>
                  </a:cubicBezTo>
                  <a:cubicBezTo>
                    <a:pt x="1043443" y="615862"/>
                    <a:pt x="1045387" y="615069"/>
                    <a:pt x="1047253" y="613481"/>
                  </a:cubicBezTo>
                  <a:close/>
                  <a:moveTo>
                    <a:pt x="1063842" y="375356"/>
                  </a:moveTo>
                  <a:cubicBezTo>
                    <a:pt x="1064477" y="348011"/>
                    <a:pt x="1065231" y="322691"/>
                    <a:pt x="1094441" y="308840"/>
                  </a:cubicBezTo>
                  <a:cubicBezTo>
                    <a:pt x="1155362" y="279868"/>
                    <a:pt x="1183818" y="352496"/>
                    <a:pt x="1167943" y="399922"/>
                  </a:cubicBezTo>
                  <a:cubicBezTo>
                    <a:pt x="1159529" y="428180"/>
                    <a:pt x="1143654" y="453025"/>
                    <a:pt x="1126072" y="476242"/>
                  </a:cubicBezTo>
                  <a:cubicBezTo>
                    <a:pt x="1104046" y="505333"/>
                    <a:pt x="1077892" y="530653"/>
                    <a:pt x="1050706" y="554863"/>
                  </a:cubicBezTo>
                  <a:cubicBezTo>
                    <a:pt x="1058484" y="495292"/>
                    <a:pt x="1062334" y="436038"/>
                    <a:pt x="1063842" y="375356"/>
                  </a:cubicBezTo>
                  <a:close/>
                  <a:moveTo>
                    <a:pt x="13155" y="1159740"/>
                  </a:moveTo>
                  <a:cubicBezTo>
                    <a:pt x="86140" y="1387944"/>
                    <a:pt x="417015" y="1403978"/>
                    <a:pt x="614500" y="1414177"/>
                  </a:cubicBezTo>
                  <a:cubicBezTo>
                    <a:pt x="843219" y="1426044"/>
                    <a:pt x="1146234" y="1397389"/>
                    <a:pt x="1251168" y="1155137"/>
                  </a:cubicBezTo>
                  <a:cubicBezTo>
                    <a:pt x="1328241" y="977218"/>
                    <a:pt x="1221402" y="755285"/>
                    <a:pt x="1010780" y="771279"/>
                  </a:cubicBezTo>
                  <a:cubicBezTo>
                    <a:pt x="1013003" y="762111"/>
                    <a:pt x="1014868" y="752824"/>
                    <a:pt x="1016932" y="743577"/>
                  </a:cubicBezTo>
                  <a:cubicBezTo>
                    <a:pt x="1021218" y="743299"/>
                    <a:pt x="1025544" y="741870"/>
                    <a:pt x="1029473" y="738140"/>
                  </a:cubicBezTo>
                  <a:cubicBezTo>
                    <a:pt x="1151274" y="622054"/>
                    <a:pt x="1398766" y="466320"/>
                    <a:pt x="1304785" y="261413"/>
                  </a:cubicBezTo>
                  <a:cubicBezTo>
                    <a:pt x="1259145" y="161917"/>
                    <a:pt x="1138971" y="131754"/>
                    <a:pt x="1066978" y="192238"/>
                  </a:cubicBezTo>
                  <a:cubicBezTo>
                    <a:pt x="1069994" y="184538"/>
                    <a:pt x="1072296" y="176601"/>
                    <a:pt x="1073169" y="168108"/>
                  </a:cubicBezTo>
                  <a:cubicBezTo>
                    <a:pt x="1081900" y="82700"/>
                    <a:pt x="985380" y="28963"/>
                    <a:pt x="784244" y="8286"/>
                  </a:cubicBezTo>
                  <a:cubicBezTo>
                    <a:pt x="764876" y="8286"/>
                    <a:pt x="745866" y="6381"/>
                    <a:pt x="725784" y="4317"/>
                  </a:cubicBezTo>
                  <a:cubicBezTo>
                    <a:pt x="705146" y="2293"/>
                    <a:pt x="683834" y="71"/>
                    <a:pt x="661649" y="71"/>
                  </a:cubicBezTo>
                  <a:cubicBezTo>
                    <a:pt x="650060" y="71"/>
                    <a:pt x="640694" y="9477"/>
                    <a:pt x="640694" y="21065"/>
                  </a:cubicBezTo>
                  <a:cubicBezTo>
                    <a:pt x="640694" y="32654"/>
                    <a:pt x="650060" y="42060"/>
                    <a:pt x="661649" y="42060"/>
                  </a:cubicBezTo>
                  <a:cubicBezTo>
                    <a:pt x="681691" y="42060"/>
                    <a:pt x="701059" y="44005"/>
                    <a:pt x="721617" y="46068"/>
                  </a:cubicBezTo>
                  <a:cubicBezTo>
                    <a:pt x="741818" y="48093"/>
                    <a:pt x="763685" y="49521"/>
                    <a:pt x="782021" y="50117"/>
                  </a:cubicBezTo>
                  <a:cubicBezTo>
                    <a:pt x="946169" y="67103"/>
                    <a:pt x="1037093" y="108576"/>
                    <a:pt x="1031457" y="163861"/>
                  </a:cubicBezTo>
                  <a:cubicBezTo>
                    <a:pt x="1028481" y="193150"/>
                    <a:pt x="987047" y="262247"/>
                    <a:pt x="666292" y="272089"/>
                  </a:cubicBezTo>
                  <a:cubicBezTo>
                    <a:pt x="347959" y="282209"/>
                    <a:pt x="254494" y="228472"/>
                    <a:pt x="232230" y="181879"/>
                  </a:cubicBezTo>
                  <a:cubicBezTo>
                    <a:pt x="221633" y="159734"/>
                    <a:pt x="226118" y="146359"/>
                    <a:pt x="230404" y="138223"/>
                  </a:cubicBezTo>
                  <a:cubicBezTo>
                    <a:pt x="248660" y="103457"/>
                    <a:pt x="318550" y="74802"/>
                    <a:pt x="427215" y="57578"/>
                  </a:cubicBezTo>
                  <a:cubicBezTo>
                    <a:pt x="438645" y="55713"/>
                    <a:pt x="446423" y="44997"/>
                    <a:pt x="444638" y="33567"/>
                  </a:cubicBezTo>
                  <a:cubicBezTo>
                    <a:pt x="442812" y="22137"/>
                    <a:pt x="432255" y="14517"/>
                    <a:pt x="420626" y="16104"/>
                  </a:cubicBezTo>
                  <a:cubicBezTo>
                    <a:pt x="346292" y="26304"/>
                    <a:pt x="225165" y="47974"/>
                    <a:pt x="190240" y="126039"/>
                  </a:cubicBezTo>
                  <a:cubicBezTo>
                    <a:pt x="146068" y="224742"/>
                    <a:pt x="182065" y="368847"/>
                    <a:pt x="196749" y="470567"/>
                  </a:cubicBezTo>
                  <a:cubicBezTo>
                    <a:pt x="205401" y="530217"/>
                    <a:pt x="217188" y="589431"/>
                    <a:pt x="232071" y="647811"/>
                  </a:cubicBezTo>
                  <a:cubicBezTo>
                    <a:pt x="236317" y="664480"/>
                    <a:pt x="270211" y="812475"/>
                    <a:pt x="282990" y="812752"/>
                  </a:cubicBezTo>
                  <a:cubicBezTo>
                    <a:pt x="100626" y="808546"/>
                    <a:pt x="-45543" y="976225"/>
                    <a:pt x="13155" y="1159740"/>
                  </a:cubicBezTo>
                  <a:close/>
                </a:path>
              </a:pathLst>
            </a:custGeom>
            <a:grpFill/>
            <a:ln w="39688" cap="flat">
              <a:noFill/>
              <a:prstDash val="solid"/>
              <a:round/>
            </a:ln>
          </p:spPr>
          <p:txBody>
            <a:bodyPr rtlCol="0" anchor="ctr"/>
            <a:lstStyle/>
            <a:p>
              <a:endParaRPr lang="en-LT"/>
            </a:p>
          </p:txBody>
        </p:sp>
        <p:sp>
          <p:nvSpPr>
            <p:cNvPr id="97" name="Freeform 96">
              <a:extLst>
                <a:ext uri="{FF2B5EF4-FFF2-40B4-BE49-F238E27FC236}">
                  <a16:creationId xmlns:a16="http://schemas.microsoft.com/office/drawing/2014/main" id="{FD140652-0B9C-964A-A516-42C96BCDBC6E}"/>
                </a:ext>
              </a:extLst>
            </p:cNvPr>
            <p:cNvSpPr/>
            <p:nvPr/>
          </p:nvSpPr>
          <p:spPr>
            <a:xfrm>
              <a:off x="5819802" y="2247889"/>
              <a:ext cx="394997" cy="1114173"/>
            </a:xfrm>
            <a:custGeom>
              <a:avLst/>
              <a:gdLst>
                <a:gd name="connsiteX0" fmla="*/ 236926 w 394997"/>
                <a:gd name="connsiteY0" fmla="*/ 668289 h 1114173"/>
                <a:gd name="connsiteX1" fmla="*/ 218312 w 394997"/>
                <a:gd name="connsiteY1" fmla="*/ 1037026 h 1114173"/>
                <a:gd name="connsiteX2" fmla="*/ 120522 w 394997"/>
                <a:gd name="connsiteY2" fmla="*/ 426790 h 1114173"/>
                <a:gd name="connsiteX3" fmla="*/ 334875 w 394997"/>
                <a:gd name="connsiteY3" fmla="*/ 117942 h 1114173"/>
                <a:gd name="connsiteX4" fmla="*/ 236926 w 394997"/>
                <a:gd name="connsiteY4" fmla="*/ 668289 h 1114173"/>
                <a:gd name="connsiteX5" fmla="*/ 327691 w 394997"/>
                <a:gd name="connsiteY5" fmla="*/ 507 h 1114173"/>
                <a:gd name="connsiteX6" fmla="*/ 302093 w 394997"/>
                <a:gd name="connsiteY6" fmla="*/ 34241 h 1114173"/>
                <a:gd name="connsiteX7" fmla="*/ 117149 w 394997"/>
                <a:gd name="connsiteY7" fmla="*/ 361306 h 1114173"/>
                <a:gd name="connsiteX8" fmla="*/ 3166 w 394997"/>
                <a:gd name="connsiteY8" fmla="*/ 623005 h 1114173"/>
                <a:gd name="connsiteX9" fmla="*/ 221130 w 394997"/>
                <a:gd name="connsiteY9" fmla="*/ 1099454 h 1114173"/>
                <a:gd name="connsiteX10" fmla="*/ 232997 w 394997"/>
                <a:gd name="connsiteY10" fmla="*/ 1106836 h 1114173"/>
                <a:gd name="connsiteX11" fmla="*/ 279431 w 394997"/>
                <a:gd name="connsiteY11" fmla="*/ 1107908 h 1114173"/>
                <a:gd name="connsiteX12" fmla="*/ 242006 w 394997"/>
                <a:gd name="connsiteY12" fmla="*/ 978765 h 1114173"/>
                <a:gd name="connsiteX13" fmla="*/ 240815 w 394997"/>
                <a:gd name="connsiteY13" fmla="*/ 807195 h 1114173"/>
                <a:gd name="connsiteX14" fmla="*/ 360513 w 394997"/>
                <a:gd name="connsiteY14" fmla="*/ 468780 h 1114173"/>
                <a:gd name="connsiteX15" fmla="*/ 392461 w 394997"/>
                <a:gd name="connsiteY15" fmla="*/ 205850 h 1114173"/>
                <a:gd name="connsiteX16" fmla="*/ 327691 w 394997"/>
                <a:gd name="connsiteY16" fmla="*/ 507 h 111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4997" h="1114173">
                  <a:moveTo>
                    <a:pt x="236926" y="668289"/>
                  </a:moveTo>
                  <a:cubicBezTo>
                    <a:pt x="192198" y="788185"/>
                    <a:pt x="169219" y="919948"/>
                    <a:pt x="218312" y="1037026"/>
                  </a:cubicBezTo>
                  <a:cubicBezTo>
                    <a:pt x="34162" y="888594"/>
                    <a:pt x="-14058" y="628840"/>
                    <a:pt x="120522" y="426790"/>
                  </a:cubicBezTo>
                  <a:cubicBezTo>
                    <a:pt x="191206" y="320706"/>
                    <a:pt x="293600" y="233790"/>
                    <a:pt x="334875" y="117942"/>
                  </a:cubicBezTo>
                  <a:cubicBezTo>
                    <a:pt x="380436" y="309077"/>
                    <a:pt x="308205" y="477313"/>
                    <a:pt x="236926" y="668289"/>
                  </a:cubicBezTo>
                  <a:close/>
                  <a:moveTo>
                    <a:pt x="327691" y="507"/>
                  </a:moveTo>
                  <a:cubicBezTo>
                    <a:pt x="313404" y="4753"/>
                    <a:pt x="304236" y="19477"/>
                    <a:pt x="302093" y="34241"/>
                  </a:cubicBezTo>
                  <a:cubicBezTo>
                    <a:pt x="281693" y="172076"/>
                    <a:pt x="202080" y="252324"/>
                    <a:pt x="117149" y="361306"/>
                  </a:cubicBezTo>
                  <a:cubicBezTo>
                    <a:pt x="56625" y="438974"/>
                    <a:pt x="15271" y="524422"/>
                    <a:pt x="3166" y="623005"/>
                  </a:cubicBezTo>
                  <a:cubicBezTo>
                    <a:pt x="-18225" y="797591"/>
                    <a:pt x="69960" y="1001982"/>
                    <a:pt x="221130" y="1099454"/>
                  </a:cubicBezTo>
                  <a:cubicBezTo>
                    <a:pt x="225020" y="1101994"/>
                    <a:pt x="228988" y="1104455"/>
                    <a:pt x="232997" y="1106836"/>
                  </a:cubicBezTo>
                  <a:cubicBezTo>
                    <a:pt x="247086" y="1115210"/>
                    <a:pt x="266096" y="1117472"/>
                    <a:pt x="279431" y="1107908"/>
                  </a:cubicBezTo>
                  <a:cubicBezTo>
                    <a:pt x="309514" y="1086278"/>
                    <a:pt x="249586" y="1007340"/>
                    <a:pt x="242006" y="978765"/>
                  </a:cubicBezTo>
                  <a:cubicBezTo>
                    <a:pt x="227123" y="922567"/>
                    <a:pt x="229584" y="863790"/>
                    <a:pt x="240815" y="807195"/>
                  </a:cubicBezTo>
                  <a:cubicBezTo>
                    <a:pt x="264152" y="689164"/>
                    <a:pt x="322452" y="582088"/>
                    <a:pt x="360513" y="468780"/>
                  </a:cubicBezTo>
                  <a:cubicBezTo>
                    <a:pt x="388850" y="384325"/>
                    <a:pt x="400597" y="294671"/>
                    <a:pt x="392461" y="205850"/>
                  </a:cubicBezTo>
                  <a:cubicBezTo>
                    <a:pt x="389366" y="172115"/>
                    <a:pt x="366625" y="-11043"/>
                    <a:pt x="327691" y="507"/>
                  </a:cubicBezTo>
                  <a:close/>
                </a:path>
              </a:pathLst>
            </a:custGeom>
            <a:grpFill/>
            <a:ln w="39688" cap="flat">
              <a:noFill/>
              <a:prstDash val="solid"/>
              <a:round/>
            </a:ln>
          </p:spPr>
          <p:txBody>
            <a:bodyPr rtlCol="0" anchor="ctr"/>
            <a:lstStyle/>
            <a:p>
              <a:endParaRPr lang="en-LT"/>
            </a:p>
          </p:txBody>
        </p:sp>
        <p:sp>
          <p:nvSpPr>
            <p:cNvPr id="98" name="Freeform 97">
              <a:extLst>
                <a:ext uri="{FF2B5EF4-FFF2-40B4-BE49-F238E27FC236}">
                  <a16:creationId xmlns:a16="http://schemas.microsoft.com/office/drawing/2014/main" id="{FCC586CE-FFBE-A94E-A71D-1F561E727469}"/>
                </a:ext>
              </a:extLst>
            </p:cNvPr>
            <p:cNvSpPr/>
            <p:nvPr/>
          </p:nvSpPr>
          <p:spPr>
            <a:xfrm>
              <a:off x="6070157" y="2642622"/>
              <a:ext cx="252150" cy="512904"/>
            </a:xfrm>
            <a:custGeom>
              <a:avLst/>
              <a:gdLst>
                <a:gd name="connsiteX0" fmla="*/ 203200 w 252150"/>
                <a:gd name="connsiteY0" fmla="*/ 112075 h 512904"/>
                <a:gd name="connsiteX1" fmla="*/ 49728 w 252150"/>
                <a:gd name="connsiteY1" fmla="*/ 460532 h 512904"/>
                <a:gd name="connsiteX2" fmla="*/ 203200 w 252150"/>
                <a:gd name="connsiteY2" fmla="*/ 112075 h 512904"/>
                <a:gd name="connsiteX3" fmla="*/ 5080 w 252150"/>
                <a:gd name="connsiteY3" fmla="*/ 450293 h 512904"/>
                <a:gd name="connsiteX4" fmla="*/ 39211 w 252150"/>
                <a:gd name="connsiteY4" fmla="*/ 499267 h 512904"/>
                <a:gd name="connsiteX5" fmla="*/ 79255 w 252150"/>
                <a:gd name="connsiteY5" fmla="*/ 510380 h 512904"/>
                <a:gd name="connsiteX6" fmla="*/ 141208 w 252150"/>
                <a:gd name="connsiteY6" fmla="*/ 367663 h 512904"/>
                <a:gd name="connsiteX7" fmla="*/ 234077 w 252150"/>
                <a:gd name="connsiteY7" fmla="*/ 228003 h 512904"/>
                <a:gd name="connsiteX8" fmla="*/ 227012 w 252150"/>
                <a:gd name="connsiteY8" fmla="*/ 21231 h 512904"/>
                <a:gd name="connsiteX9" fmla="*/ 182007 w 252150"/>
                <a:gd name="connsiteY9" fmla="*/ 45916 h 512904"/>
                <a:gd name="connsiteX10" fmla="*/ 120888 w 252150"/>
                <a:gd name="connsiteY10" fmla="*/ 160534 h 512904"/>
                <a:gd name="connsiteX11" fmla="*/ 56594 w 252150"/>
                <a:gd name="connsiteY11" fmla="*/ 259912 h 512904"/>
                <a:gd name="connsiteX12" fmla="*/ 5080 w 252150"/>
                <a:gd name="connsiteY12" fmla="*/ 450293 h 512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150" h="512904">
                  <a:moveTo>
                    <a:pt x="203200" y="112075"/>
                  </a:moveTo>
                  <a:cubicBezTo>
                    <a:pt x="222924" y="248918"/>
                    <a:pt x="80764" y="331786"/>
                    <a:pt x="49728" y="460532"/>
                  </a:cubicBezTo>
                  <a:cubicBezTo>
                    <a:pt x="29567" y="333969"/>
                    <a:pt x="146288" y="227328"/>
                    <a:pt x="203200" y="112075"/>
                  </a:cubicBezTo>
                  <a:close/>
                  <a:moveTo>
                    <a:pt x="5080" y="450293"/>
                  </a:moveTo>
                  <a:cubicBezTo>
                    <a:pt x="8929" y="462874"/>
                    <a:pt x="22661" y="484980"/>
                    <a:pt x="39211" y="499267"/>
                  </a:cubicBezTo>
                  <a:cubicBezTo>
                    <a:pt x="51990" y="510340"/>
                    <a:pt x="66436" y="516730"/>
                    <a:pt x="79255" y="510380"/>
                  </a:cubicBezTo>
                  <a:cubicBezTo>
                    <a:pt x="100369" y="499942"/>
                    <a:pt x="123269" y="392468"/>
                    <a:pt x="141208" y="367663"/>
                  </a:cubicBezTo>
                  <a:cubicBezTo>
                    <a:pt x="174029" y="322340"/>
                    <a:pt x="213399" y="280946"/>
                    <a:pt x="234077" y="228003"/>
                  </a:cubicBezTo>
                  <a:cubicBezTo>
                    <a:pt x="255666" y="172718"/>
                    <a:pt x="263049" y="72031"/>
                    <a:pt x="227012" y="21231"/>
                  </a:cubicBezTo>
                  <a:cubicBezTo>
                    <a:pt x="193794" y="-25680"/>
                    <a:pt x="193238" y="15397"/>
                    <a:pt x="182007" y="45916"/>
                  </a:cubicBezTo>
                  <a:cubicBezTo>
                    <a:pt x="168275" y="83302"/>
                    <a:pt x="142160" y="126403"/>
                    <a:pt x="120888" y="160534"/>
                  </a:cubicBezTo>
                  <a:cubicBezTo>
                    <a:pt x="100012" y="193991"/>
                    <a:pt x="77509" y="226495"/>
                    <a:pt x="56594" y="259912"/>
                  </a:cubicBezTo>
                  <a:cubicBezTo>
                    <a:pt x="24447" y="311188"/>
                    <a:pt x="-13971" y="388182"/>
                    <a:pt x="5080" y="450293"/>
                  </a:cubicBezTo>
                  <a:close/>
                </a:path>
              </a:pathLst>
            </a:custGeom>
            <a:grpFill/>
            <a:ln w="39688" cap="flat">
              <a:noFill/>
              <a:prstDash val="solid"/>
              <a:round/>
            </a:ln>
          </p:spPr>
          <p:txBody>
            <a:bodyPr rtlCol="0" anchor="ctr"/>
            <a:lstStyle/>
            <a:p>
              <a:endParaRPr lang="en-LT"/>
            </a:p>
          </p:txBody>
        </p:sp>
        <p:sp>
          <p:nvSpPr>
            <p:cNvPr id="99" name="Freeform 98">
              <a:extLst>
                <a:ext uri="{FF2B5EF4-FFF2-40B4-BE49-F238E27FC236}">
                  <a16:creationId xmlns:a16="http://schemas.microsoft.com/office/drawing/2014/main" id="{592FF35A-16E9-C647-90F2-3C78FD85FF10}"/>
                </a:ext>
              </a:extLst>
            </p:cNvPr>
            <p:cNvSpPr/>
            <p:nvPr/>
          </p:nvSpPr>
          <p:spPr>
            <a:xfrm>
              <a:off x="5730990" y="3275193"/>
              <a:ext cx="644030" cy="181705"/>
            </a:xfrm>
            <a:custGeom>
              <a:avLst/>
              <a:gdLst>
                <a:gd name="connsiteX0" fmla="*/ 54357 w 644030"/>
                <a:gd name="connsiteY0" fmla="*/ 41795 h 181705"/>
                <a:gd name="connsiteX1" fmla="*/ 72851 w 644030"/>
                <a:gd name="connsiteY1" fmla="*/ 18617 h 181705"/>
                <a:gd name="connsiteX2" fmla="*/ 49714 w 644030"/>
                <a:gd name="connsiteY2" fmla="*/ 123 h 181705"/>
                <a:gd name="connsiteX3" fmla="*/ 6692 w 644030"/>
                <a:gd name="connsiteY3" fmla="*/ 32548 h 181705"/>
                <a:gd name="connsiteX4" fmla="*/ 11376 w 644030"/>
                <a:gd name="connsiteY4" fmla="*/ 103112 h 181705"/>
                <a:gd name="connsiteX5" fmla="*/ 100117 w 644030"/>
                <a:gd name="connsiteY5" fmla="*/ 153476 h 181705"/>
                <a:gd name="connsiteX6" fmla="*/ 338440 w 644030"/>
                <a:gd name="connsiteY6" fmla="*/ 181733 h 181705"/>
                <a:gd name="connsiteX7" fmla="*/ 523980 w 644030"/>
                <a:gd name="connsiteY7" fmla="*/ 164628 h 181705"/>
                <a:gd name="connsiteX8" fmla="*/ 642407 w 644030"/>
                <a:gd name="connsiteY8" fmla="*/ 91166 h 181705"/>
                <a:gd name="connsiteX9" fmla="*/ 631136 w 644030"/>
                <a:gd name="connsiteY9" fmla="*/ 63782 h 181705"/>
                <a:gd name="connsiteX10" fmla="*/ 603712 w 644030"/>
                <a:gd name="connsiteY10" fmla="*/ 75053 h 181705"/>
                <a:gd name="connsiteX11" fmla="*/ 516241 w 644030"/>
                <a:gd name="connsiteY11" fmla="*/ 123393 h 181705"/>
                <a:gd name="connsiteX12" fmla="*/ 109999 w 644030"/>
                <a:gd name="connsiteY12" fmla="*/ 112677 h 181705"/>
                <a:gd name="connsiteX13" fmla="*/ 46221 w 644030"/>
                <a:gd name="connsiteY13" fmla="*/ 79776 h 181705"/>
                <a:gd name="connsiteX14" fmla="*/ 44713 w 644030"/>
                <a:gd name="connsiteY14" fmla="*/ 50249 h 181705"/>
                <a:gd name="connsiteX15" fmla="*/ 54357 w 644030"/>
                <a:gd name="connsiteY15" fmla="*/ 41795 h 18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4030" h="181705">
                  <a:moveTo>
                    <a:pt x="54357" y="41795"/>
                  </a:moveTo>
                  <a:cubicBezTo>
                    <a:pt x="65867" y="40565"/>
                    <a:pt x="74161" y="30167"/>
                    <a:pt x="72851" y="18617"/>
                  </a:cubicBezTo>
                  <a:cubicBezTo>
                    <a:pt x="71582" y="7148"/>
                    <a:pt x="61541" y="-948"/>
                    <a:pt x="49714" y="123"/>
                  </a:cubicBezTo>
                  <a:cubicBezTo>
                    <a:pt x="30981" y="2187"/>
                    <a:pt x="15305" y="14014"/>
                    <a:pt x="6692" y="32548"/>
                  </a:cubicBezTo>
                  <a:cubicBezTo>
                    <a:pt x="-3745" y="54971"/>
                    <a:pt x="-1840" y="83308"/>
                    <a:pt x="11376" y="103112"/>
                  </a:cubicBezTo>
                  <a:cubicBezTo>
                    <a:pt x="31577" y="133315"/>
                    <a:pt x="65986" y="145141"/>
                    <a:pt x="100117" y="153476"/>
                  </a:cubicBezTo>
                  <a:cubicBezTo>
                    <a:pt x="177746" y="172327"/>
                    <a:pt x="258073" y="181733"/>
                    <a:pt x="338440" y="181733"/>
                  </a:cubicBezTo>
                  <a:cubicBezTo>
                    <a:pt x="400790" y="181733"/>
                    <a:pt x="463020" y="176058"/>
                    <a:pt x="523980" y="164628"/>
                  </a:cubicBezTo>
                  <a:cubicBezTo>
                    <a:pt x="564858" y="156929"/>
                    <a:pt x="621651" y="140935"/>
                    <a:pt x="642407" y="91166"/>
                  </a:cubicBezTo>
                  <a:cubicBezTo>
                    <a:pt x="646852" y="80530"/>
                    <a:pt x="641812" y="68227"/>
                    <a:pt x="631136" y="63782"/>
                  </a:cubicBezTo>
                  <a:cubicBezTo>
                    <a:pt x="620540" y="59297"/>
                    <a:pt x="608197" y="64258"/>
                    <a:pt x="603712" y="75053"/>
                  </a:cubicBezTo>
                  <a:cubicBezTo>
                    <a:pt x="593830" y="98667"/>
                    <a:pt x="566049" y="114027"/>
                    <a:pt x="516241" y="123393"/>
                  </a:cubicBezTo>
                  <a:cubicBezTo>
                    <a:pt x="382653" y="148436"/>
                    <a:pt x="242198" y="144784"/>
                    <a:pt x="109999" y="112677"/>
                  </a:cubicBezTo>
                  <a:cubicBezTo>
                    <a:pt x="84123" y="106407"/>
                    <a:pt x="58485" y="98033"/>
                    <a:pt x="46221" y="79776"/>
                  </a:cubicBezTo>
                  <a:cubicBezTo>
                    <a:pt x="41102" y="72077"/>
                    <a:pt x="40427" y="59377"/>
                    <a:pt x="44713" y="50249"/>
                  </a:cubicBezTo>
                  <a:cubicBezTo>
                    <a:pt x="47094" y="45089"/>
                    <a:pt x="50349" y="42271"/>
                    <a:pt x="54357" y="41795"/>
                  </a:cubicBezTo>
                  <a:close/>
                </a:path>
              </a:pathLst>
            </a:custGeom>
            <a:grpFill/>
            <a:ln w="39688" cap="flat">
              <a:noFill/>
              <a:prstDash val="solid"/>
              <a:round/>
            </a:ln>
          </p:spPr>
          <p:txBody>
            <a:bodyPr rtlCol="0" anchor="ctr"/>
            <a:lstStyle/>
            <a:p>
              <a:endParaRPr lang="en-LT"/>
            </a:p>
          </p:txBody>
        </p:sp>
      </p:grpSp>
      <p:grpSp>
        <p:nvGrpSpPr>
          <p:cNvPr id="100" name="Graphic 2">
            <a:extLst>
              <a:ext uri="{FF2B5EF4-FFF2-40B4-BE49-F238E27FC236}">
                <a16:creationId xmlns:a16="http://schemas.microsoft.com/office/drawing/2014/main" id="{64C5A317-40E9-CC47-BE74-3CF66A4F19A5}"/>
              </a:ext>
            </a:extLst>
          </p:cNvPr>
          <p:cNvGrpSpPr/>
          <p:nvPr/>
        </p:nvGrpSpPr>
        <p:grpSpPr>
          <a:xfrm>
            <a:off x="9208217" y="3713829"/>
            <a:ext cx="738468" cy="1314379"/>
            <a:chOff x="5429256" y="2247889"/>
            <a:chExt cx="1325619" cy="2359432"/>
          </a:xfrm>
          <a:solidFill>
            <a:schemeClr val="tx1">
              <a:lumMod val="75000"/>
              <a:lumOff val="25000"/>
            </a:schemeClr>
          </a:solidFill>
        </p:grpSpPr>
        <p:sp>
          <p:nvSpPr>
            <p:cNvPr id="101" name="Freeform 100">
              <a:extLst>
                <a:ext uri="{FF2B5EF4-FFF2-40B4-BE49-F238E27FC236}">
                  <a16:creationId xmlns:a16="http://schemas.microsoft.com/office/drawing/2014/main" id="{6BCF29A2-4516-0947-8AAC-FA7955540EAD}"/>
                </a:ext>
              </a:extLst>
            </p:cNvPr>
            <p:cNvSpPr/>
            <p:nvPr/>
          </p:nvSpPr>
          <p:spPr>
            <a:xfrm>
              <a:off x="5698604" y="3544319"/>
              <a:ext cx="282809" cy="544047"/>
            </a:xfrm>
            <a:custGeom>
              <a:avLst/>
              <a:gdLst>
                <a:gd name="connsiteX0" fmla="*/ 44102 w 282809"/>
                <a:gd name="connsiteY0" fmla="*/ 50993 h 544047"/>
                <a:gd name="connsiteX1" fmla="*/ 88988 w 282809"/>
                <a:gd name="connsiteY1" fmla="*/ 55042 h 544047"/>
                <a:gd name="connsiteX2" fmla="*/ 226227 w 282809"/>
                <a:gd name="connsiteY2" fmla="*/ 501725 h 544047"/>
                <a:gd name="connsiteX3" fmla="*/ 151218 w 282809"/>
                <a:gd name="connsiteY3" fmla="*/ 472039 h 544047"/>
                <a:gd name="connsiteX4" fmla="*/ 95060 w 282809"/>
                <a:gd name="connsiteY4" fmla="*/ 357302 h 544047"/>
                <a:gd name="connsiteX5" fmla="*/ 44102 w 282809"/>
                <a:gd name="connsiteY5" fmla="*/ 50993 h 544047"/>
                <a:gd name="connsiteX6" fmla="*/ 121095 w 282809"/>
                <a:gd name="connsiteY6" fmla="*/ 501288 h 544047"/>
                <a:gd name="connsiteX7" fmla="*/ 218488 w 282809"/>
                <a:gd name="connsiteY7" fmla="*/ 544111 h 544047"/>
                <a:gd name="connsiteX8" fmla="*/ 273217 w 282809"/>
                <a:gd name="connsiteY8" fmla="*/ 528395 h 544047"/>
                <a:gd name="connsiteX9" fmla="*/ 282623 w 282809"/>
                <a:gd name="connsiteY9" fmla="*/ 513472 h 544047"/>
                <a:gd name="connsiteX10" fmla="*/ 277266 w 282809"/>
                <a:gd name="connsiteY10" fmla="*/ 496724 h 544047"/>
                <a:gd name="connsiteX11" fmla="*/ 134073 w 282809"/>
                <a:gd name="connsiteY11" fmla="*/ 30674 h 544047"/>
                <a:gd name="connsiteX12" fmla="*/ 126215 w 282809"/>
                <a:gd name="connsiteY12" fmla="*/ 11147 h 544047"/>
                <a:gd name="connsiteX13" fmla="*/ 105379 w 282809"/>
                <a:gd name="connsiteY13" fmla="*/ 8250 h 544047"/>
                <a:gd name="connsiteX14" fmla="*/ 38029 w 282809"/>
                <a:gd name="connsiteY14" fmla="*/ 3051 h 544047"/>
                <a:gd name="connsiteX15" fmla="*/ 18582 w 282809"/>
                <a:gd name="connsiteY15" fmla="*/ 1940 h 544047"/>
                <a:gd name="connsiteX16" fmla="*/ 6597 w 282809"/>
                <a:gd name="connsiteY16" fmla="*/ 17299 h 544047"/>
                <a:gd name="connsiteX17" fmla="*/ 55055 w 282809"/>
                <a:gd name="connsiteY17" fmla="*/ 369843 h 544047"/>
                <a:gd name="connsiteX18" fmla="*/ 121095 w 282809"/>
                <a:gd name="connsiteY18" fmla="*/ 501288 h 54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2809" h="544047">
                  <a:moveTo>
                    <a:pt x="44102" y="50993"/>
                  </a:moveTo>
                  <a:cubicBezTo>
                    <a:pt x="58468" y="55121"/>
                    <a:pt x="74105" y="56510"/>
                    <a:pt x="88988" y="55042"/>
                  </a:cubicBezTo>
                  <a:cubicBezTo>
                    <a:pt x="74423" y="214744"/>
                    <a:pt x="124508" y="377781"/>
                    <a:pt x="226227" y="501725"/>
                  </a:cubicBezTo>
                  <a:cubicBezTo>
                    <a:pt x="201304" y="504622"/>
                    <a:pt x="171260" y="492756"/>
                    <a:pt x="151218" y="472039"/>
                  </a:cubicBezTo>
                  <a:cubicBezTo>
                    <a:pt x="123556" y="443622"/>
                    <a:pt x="109983" y="404927"/>
                    <a:pt x="95060" y="357302"/>
                  </a:cubicBezTo>
                  <a:cubicBezTo>
                    <a:pt x="60929" y="248320"/>
                    <a:pt x="33505" y="149260"/>
                    <a:pt x="44102" y="50993"/>
                  </a:cubicBezTo>
                  <a:close/>
                  <a:moveTo>
                    <a:pt x="121095" y="501288"/>
                  </a:moveTo>
                  <a:cubicBezTo>
                    <a:pt x="147130" y="528117"/>
                    <a:pt x="183563" y="544111"/>
                    <a:pt x="218488" y="544111"/>
                  </a:cubicBezTo>
                  <a:cubicBezTo>
                    <a:pt x="238531" y="544111"/>
                    <a:pt x="257462" y="538674"/>
                    <a:pt x="273217" y="528395"/>
                  </a:cubicBezTo>
                  <a:cubicBezTo>
                    <a:pt x="278377" y="525061"/>
                    <a:pt x="281830" y="519584"/>
                    <a:pt x="282623" y="513472"/>
                  </a:cubicBezTo>
                  <a:cubicBezTo>
                    <a:pt x="283378" y="507400"/>
                    <a:pt x="281472" y="501249"/>
                    <a:pt x="277266" y="496724"/>
                  </a:cubicBezTo>
                  <a:cubicBezTo>
                    <a:pt x="163600" y="371907"/>
                    <a:pt x="110062" y="197758"/>
                    <a:pt x="134073" y="30674"/>
                  </a:cubicBezTo>
                  <a:cubicBezTo>
                    <a:pt x="135145" y="23212"/>
                    <a:pt x="132168" y="15751"/>
                    <a:pt x="126215" y="11147"/>
                  </a:cubicBezTo>
                  <a:cubicBezTo>
                    <a:pt x="120301" y="6504"/>
                    <a:pt x="112404" y="5393"/>
                    <a:pt x="105379" y="8250"/>
                  </a:cubicBezTo>
                  <a:cubicBezTo>
                    <a:pt x="84225" y="16862"/>
                    <a:pt x="57595" y="14759"/>
                    <a:pt x="38029" y="3051"/>
                  </a:cubicBezTo>
                  <a:cubicBezTo>
                    <a:pt x="32155" y="-481"/>
                    <a:pt x="24853" y="-918"/>
                    <a:pt x="18582" y="1940"/>
                  </a:cubicBezTo>
                  <a:cubicBezTo>
                    <a:pt x="12312" y="4757"/>
                    <a:pt x="7827" y="10552"/>
                    <a:pt x="6597" y="17299"/>
                  </a:cubicBezTo>
                  <a:cubicBezTo>
                    <a:pt x="-14279" y="133464"/>
                    <a:pt x="17590" y="250344"/>
                    <a:pt x="55055" y="369843"/>
                  </a:cubicBezTo>
                  <a:cubicBezTo>
                    <a:pt x="68073" y="411555"/>
                    <a:pt x="84345" y="463387"/>
                    <a:pt x="121095" y="501288"/>
                  </a:cubicBezTo>
                  <a:close/>
                </a:path>
              </a:pathLst>
            </a:custGeom>
            <a:grpFill/>
            <a:ln w="39688" cap="flat">
              <a:noFill/>
              <a:prstDash val="solid"/>
              <a:round/>
            </a:ln>
          </p:spPr>
          <p:txBody>
            <a:bodyPr rtlCol="0" anchor="ctr"/>
            <a:lstStyle/>
            <a:p>
              <a:endParaRPr lang="en-LT"/>
            </a:p>
          </p:txBody>
        </p:sp>
        <p:sp>
          <p:nvSpPr>
            <p:cNvPr id="102" name="Freeform 101">
              <a:extLst>
                <a:ext uri="{FF2B5EF4-FFF2-40B4-BE49-F238E27FC236}">
                  <a16:creationId xmlns:a16="http://schemas.microsoft.com/office/drawing/2014/main" id="{2BB0AC94-80D8-544D-B790-F9C20B4976FC}"/>
                </a:ext>
              </a:extLst>
            </p:cNvPr>
            <p:cNvSpPr/>
            <p:nvPr/>
          </p:nvSpPr>
          <p:spPr>
            <a:xfrm>
              <a:off x="5429256" y="3190991"/>
              <a:ext cx="1325619" cy="1416330"/>
            </a:xfrm>
            <a:custGeom>
              <a:avLst/>
              <a:gdLst>
                <a:gd name="connsiteX0" fmla="*/ 298468 w 1325619"/>
                <a:gd name="connsiteY0" fmla="*/ 855377 h 1416330"/>
                <a:gd name="connsiteX1" fmla="*/ 304977 w 1325619"/>
                <a:gd name="connsiteY1" fmla="*/ 870537 h 1416330"/>
                <a:gd name="connsiteX2" fmla="*/ 241596 w 1325619"/>
                <a:gd name="connsiteY2" fmla="*/ 1101162 h 1416330"/>
                <a:gd name="connsiteX3" fmla="*/ 690859 w 1325619"/>
                <a:gd name="connsiteY3" fmla="*/ 1259872 h 1416330"/>
                <a:gd name="connsiteX4" fmla="*/ 1090473 w 1325619"/>
                <a:gd name="connsiteY4" fmla="*/ 1110290 h 1416330"/>
                <a:gd name="connsiteX5" fmla="*/ 979030 w 1325619"/>
                <a:gd name="connsiteY5" fmla="*/ 885896 h 1416330"/>
                <a:gd name="connsiteX6" fmla="*/ 1000382 w 1325619"/>
                <a:gd name="connsiteY6" fmla="*/ 810411 h 1416330"/>
                <a:gd name="connsiteX7" fmla="*/ 1011415 w 1325619"/>
                <a:gd name="connsiteY7" fmla="*/ 813030 h 1416330"/>
                <a:gd name="connsiteX8" fmla="*/ 1124167 w 1325619"/>
                <a:gd name="connsiteY8" fmla="*/ 1255784 h 1416330"/>
                <a:gd name="connsiteX9" fmla="*/ 614500 w 1325619"/>
                <a:gd name="connsiteY9" fmla="*/ 1372227 h 1416330"/>
                <a:gd name="connsiteX10" fmla="*/ 104674 w 1325619"/>
                <a:gd name="connsiteY10" fmla="*/ 1234432 h 1416330"/>
                <a:gd name="connsiteX11" fmla="*/ 298468 w 1325619"/>
                <a:gd name="connsiteY11" fmla="*/ 855377 h 1416330"/>
                <a:gd name="connsiteX12" fmla="*/ 361095 w 1325619"/>
                <a:gd name="connsiteY12" fmla="*/ 969478 h 1416330"/>
                <a:gd name="connsiteX13" fmla="*/ 408561 w 1325619"/>
                <a:gd name="connsiteY13" fmla="*/ 1005793 h 1416330"/>
                <a:gd name="connsiteX14" fmla="*/ 531593 w 1325619"/>
                <a:gd name="connsiteY14" fmla="*/ 1038058 h 1416330"/>
                <a:gd name="connsiteX15" fmla="*/ 692248 w 1325619"/>
                <a:gd name="connsiteY15" fmla="*/ 1047623 h 1416330"/>
                <a:gd name="connsiteX16" fmla="*/ 769837 w 1325619"/>
                <a:gd name="connsiteY16" fmla="*/ 1045361 h 1416330"/>
                <a:gd name="connsiteX17" fmla="*/ 922951 w 1325619"/>
                <a:gd name="connsiteY17" fmla="*/ 1000514 h 1416330"/>
                <a:gd name="connsiteX18" fmla="*/ 799523 w 1325619"/>
                <a:gd name="connsiteY18" fmla="*/ 1077865 h 1416330"/>
                <a:gd name="connsiteX19" fmla="*/ 553818 w 1325619"/>
                <a:gd name="connsiteY19" fmla="*/ 1078738 h 1416330"/>
                <a:gd name="connsiteX20" fmla="*/ 542705 w 1325619"/>
                <a:gd name="connsiteY20" fmla="*/ 1077349 h 1416330"/>
                <a:gd name="connsiteX21" fmla="*/ 361095 w 1325619"/>
                <a:gd name="connsiteY21" fmla="*/ 969478 h 1416330"/>
                <a:gd name="connsiteX22" fmla="*/ 323273 w 1325619"/>
                <a:gd name="connsiteY22" fmla="*/ 998847 h 1416330"/>
                <a:gd name="connsiteX23" fmla="*/ 359944 w 1325619"/>
                <a:gd name="connsiteY23" fmla="*/ 1054568 h 1416330"/>
                <a:gd name="connsiteX24" fmla="*/ 537546 w 1325619"/>
                <a:gd name="connsiteY24" fmla="*/ 1118942 h 1416330"/>
                <a:gd name="connsiteX25" fmla="*/ 548619 w 1325619"/>
                <a:gd name="connsiteY25" fmla="*/ 1120331 h 1416330"/>
                <a:gd name="connsiteX26" fmla="*/ 696018 w 1325619"/>
                <a:gd name="connsiteY26" fmla="*/ 1132515 h 1416330"/>
                <a:gd name="connsiteX27" fmla="*/ 810914 w 1325619"/>
                <a:gd name="connsiteY27" fmla="*/ 1118267 h 1416330"/>
                <a:gd name="connsiteX28" fmla="*/ 970537 w 1325619"/>
                <a:gd name="connsiteY28" fmla="*/ 911773 h 1416330"/>
                <a:gd name="connsiteX29" fmla="*/ 1028044 w 1325619"/>
                <a:gd name="connsiteY29" fmla="*/ 947412 h 1416330"/>
                <a:gd name="connsiteX30" fmla="*/ 1058524 w 1325619"/>
                <a:gd name="connsiteY30" fmla="*/ 1004364 h 1416330"/>
                <a:gd name="connsiteX31" fmla="*/ 1020424 w 1325619"/>
                <a:gd name="connsiteY31" fmla="*/ 1134340 h 1416330"/>
                <a:gd name="connsiteX32" fmla="*/ 908902 w 1325619"/>
                <a:gd name="connsiteY32" fmla="*/ 1193554 h 1416330"/>
                <a:gd name="connsiteX33" fmla="*/ 690859 w 1325619"/>
                <a:gd name="connsiteY33" fmla="*/ 1217922 h 1416330"/>
                <a:gd name="connsiteX34" fmla="*/ 476268 w 1325619"/>
                <a:gd name="connsiteY34" fmla="*/ 1189188 h 1416330"/>
                <a:gd name="connsiteX35" fmla="*/ 355063 w 1325619"/>
                <a:gd name="connsiteY35" fmla="*/ 1145810 h 1416330"/>
                <a:gd name="connsiteX36" fmla="*/ 306247 w 1325619"/>
                <a:gd name="connsiteY36" fmla="*/ 1112711 h 1416330"/>
                <a:gd name="connsiteX37" fmla="*/ 253423 w 1325619"/>
                <a:gd name="connsiteY37" fmla="*/ 989918 h 1416330"/>
                <a:gd name="connsiteX38" fmla="*/ 286681 w 1325619"/>
                <a:gd name="connsiteY38" fmla="*/ 935387 h 1416330"/>
                <a:gd name="connsiteX39" fmla="*/ 322360 w 1325619"/>
                <a:gd name="connsiteY39" fmla="*/ 919829 h 1416330"/>
                <a:gd name="connsiteX40" fmla="*/ 324344 w 1325619"/>
                <a:gd name="connsiteY40" fmla="*/ 934871 h 1416330"/>
                <a:gd name="connsiteX41" fmla="*/ 315693 w 1325619"/>
                <a:gd name="connsiteY41" fmla="*/ 960747 h 1416330"/>
                <a:gd name="connsiteX42" fmla="*/ 323273 w 1325619"/>
                <a:gd name="connsiteY42" fmla="*/ 998847 h 1416330"/>
                <a:gd name="connsiteX43" fmla="*/ 260686 w 1325619"/>
                <a:gd name="connsiteY43" fmla="*/ 587883 h 1416330"/>
                <a:gd name="connsiteX44" fmla="*/ 231238 w 1325619"/>
                <a:gd name="connsiteY44" fmla="*/ 410757 h 1416330"/>
                <a:gd name="connsiteX45" fmla="*/ 223776 w 1325619"/>
                <a:gd name="connsiteY45" fmla="*/ 321183 h 1416330"/>
                <a:gd name="connsiteX46" fmla="*/ 221236 w 1325619"/>
                <a:gd name="connsiteY46" fmla="*/ 235378 h 1416330"/>
                <a:gd name="connsiteX47" fmla="*/ 585409 w 1325619"/>
                <a:gd name="connsiteY47" fmla="*/ 315507 h 1416330"/>
                <a:gd name="connsiteX48" fmla="*/ 669308 w 1325619"/>
                <a:gd name="connsiteY48" fmla="*/ 313999 h 1416330"/>
                <a:gd name="connsiteX49" fmla="*/ 914419 w 1325619"/>
                <a:gd name="connsiteY49" fmla="*/ 286932 h 1416330"/>
                <a:gd name="connsiteX50" fmla="*/ 994310 w 1325619"/>
                <a:gd name="connsiteY50" fmla="*/ 260024 h 1416330"/>
                <a:gd name="connsiteX51" fmla="*/ 1032489 w 1325619"/>
                <a:gd name="connsiteY51" fmla="*/ 334795 h 1416330"/>
                <a:gd name="connsiteX52" fmla="*/ 1011772 w 1325619"/>
                <a:gd name="connsiteY52" fmla="*/ 530574 h 1416330"/>
                <a:gd name="connsiteX53" fmla="*/ 959940 w 1325619"/>
                <a:gd name="connsiteY53" fmla="*/ 801521 h 1416330"/>
                <a:gd name="connsiteX54" fmla="*/ 911799 w 1325619"/>
                <a:gd name="connsiteY54" fmla="*/ 938641 h 1416330"/>
                <a:gd name="connsiteX55" fmla="*/ 822939 w 1325619"/>
                <a:gd name="connsiteY55" fmla="*/ 990870 h 1416330"/>
                <a:gd name="connsiteX56" fmla="*/ 717092 w 1325619"/>
                <a:gd name="connsiteY56" fmla="*/ 1005435 h 1416330"/>
                <a:gd name="connsiteX57" fmla="*/ 536593 w 1325619"/>
                <a:gd name="connsiteY57" fmla="*/ 996426 h 1416330"/>
                <a:gd name="connsiteX58" fmla="*/ 427850 w 1325619"/>
                <a:gd name="connsiteY58" fmla="*/ 968526 h 1416330"/>
                <a:gd name="connsiteX59" fmla="*/ 340100 w 1325619"/>
                <a:gd name="connsiteY59" fmla="*/ 845098 h 1416330"/>
                <a:gd name="connsiteX60" fmla="*/ 309065 w 1325619"/>
                <a:gd name="connsiteY60" fmla="*/ 760841 h 1416330"/>
                <a:gd name="connsiteX61" fmla="*/ 260686 w 1325619"/>
                <a:gd name="connsiteY61" fmla="*/ 587883 h 1416330"/>
                <a:gd name="connsiteX62" fmla="*/ 1047253 w 1325619"/>
                <a:gd name="connsiteY62" fmla="*/ 613481 h 1416330"/>
                <a:gd name="connsiteX63" fmla="*/ 1209496 w 1325619"/>
                <a:gd name="connsiteY63" fmla="*/ 318841 h 1416330"/>
                <a:gd name="connsiteX64" fmla="*/ 1068367 w 1325619"/>
                <a:gd name="connsiteY64" fmla="*/ 290226 h 1416330"/>
                <a:gd name="connsiteX65" fmla="*/ 1067692 w 1325619"/>
                <a:gd name="connsiteY65" fmla="*/ 262405 h 1416330"/>
                <a:gd name="connsiteX66" fmla="*/ 1238944 w 1325619"/>
                <a:gd name="connsiteY66" fmla="*/ 237243 h 1416330"/>
                <a:gd name="connsiteX67" fmla="*/ 1272956 w 1325619"/>
                <a:gd name="connsiteY67" fmla="*/ 400280 h 1416330"/>
                <a:gd name="connsiteX68" fmla="*/ 1186358 w 1325619"/>
                <a:gd name="connsiteY68" fmla="*/ 542004 h 1416330"/>
                <a:gd name="connsiteX69" fmla="*/ 1030386 w 1325619"/>
                <a:gd name="connsiteY69" fmla="*/ 681029 h 1416330"/>
                <a:gd name="connsiteX70" fmla="*/ 1041498 w 1325619"/>
                <a:gd name="connsiteY70" fmla="*/ 616696 h 1416330"/>
                <a:gd name="connsiteX71" fmla="*/ 1047253 w 1325619"/>
                <a:gd name="connsiteY71" fmla="*/ 613481 h 1416330"/>
                <a:gd name="connsiteX72" fmla="*/ 1063842 w 1325619"/>
                <a:gd name="connsiteY72" fmla="*/ 375356 h 1416330"/>
                <a:gd name="connsiteX73" fmla="*/ 1094441 w 1325619"/>
                <a:gd name="connsiteY73" fmla="*/ 308840 h 1416330"/>
                <a:gd name="connsiteX74" fmla="*/ 1167943 w 1325619"/>
                <a:gd name="connsiteY74" fmla="*/ 399922 h 1416330"/>
                <a:gd name="connsiteX75" fmla="*/ 1126072 w 1325619"/>
                <a:gd name="connsiteY75" fmla="*/ 476242 h 1416330"/>
                <a:gd name="connsiteX76" fmla="*/ 1050706 w 1325619"/>
                <a:gd name="connsiteY76" fmla="*/ 554863 h 1416330"/>
                <a:gd name="connsiteX77" fmla="*/ 1063842 w 1325619"/>
                <a:gd name="connsiteY77" fmla="*/ 375356 h 1416330"/>
                <a:gd name="connsiteX78" fmla="*/ 13155 w 1325619"/>
                <a:gd name="connsiteY78" fmla="*/ 1159740 h 1416330"/>
                <a:gd name="connsiteX79" fmla="*/ 614500 w 1325619"/>
                <a:gd name="connsiteY79" fmla="*/ 1414177 h 1416330"/>
                <a:gd name="connsiteX80" fmla="*/ 1251168 w 1325619"/>
                <a:gd name="connsiteY80" fmla="*/ 1155137 h 1416330"/>
                <a:gd name="connsiteX81" fmla="*/ 1010780 w 1325619"/>
                <a:gd name="connsiteY81" fmla="*/ 771279 h 1416330"/>
                <a:gd name="connsiteX82" fmla="*/ 1016932 w 1325619"/>
                <a:gd name="connsiteY82" fmla="*/ 743577 h 1416330"/>
                <a:gd name="connsiteX83" fmla="*/ 1029473 w 1325619"/>
                <a:gd name="connsiteY83" fmla="*/ 738140 h 1416330"/>
                <a:gd name="connsiteX84" fmla="*/ 1304785 w 1325619"/>
                <a:gd name="connsiteY84" fmla="*/ 261413 h 1416330"/>
                <a:gd name="connsiteX85" fmla="*/ 1066978 w 1325619"/>
                <a:gd name="connsiteY85" fmla="*/ 192238 h 1416330"/>
                <a:gd name="connsiteX86" fmla="*/ 1073169 w 1325619"/>
                <a:gd name="connsiteY86" fmla="*/ 168108 h 1416330"/>
                <a:gd name="connsiteX87" fmla="*/ 784244 w 1325619"/>
                <a:gd name="connsiteY87" fmla="*/ 8286 h 1416330"/>
                <a:gd name="connsiteX88" fmla="*/ 725784 w 1325619"/>
                <a:gd name="connsiteY88" fmla="*/ 4317 h 1416330"/>
                <a:gd name="connsiteX89" fmla="*/ 661649 w 1325619"/>
                <a:gd name="connsiteY89" fmla="*/ 71 h 1416330"/>
                <a:gd name="connsiteX90" fmla="*/ 640694 w 1325619"/>
                <a:gd name="connsiteY90" fmla="*/ 21065 h 1416330"/>
                <a:gd name="connsiteX91" fmla="*/ 661649 w 1325619"/>
                <a:gd name="connsiteY91" fmla="*/ 42060 h 1416330"/>
                <a:gd name="connsiteX92" fmla="*/ 721617 w 1325619"/>
                <a:gd name="connsiteY92" fmla="*/ 46068 h 1416330"/>
                <a:gd name="connsiteX93" fmla="*/ 782021 w 1325619"/>
                <a:gd name="connsiteY93" fmla="*/ 50117 h 1416330"/>
                <a:gd name="connsiteX94" fmla="*/ 1031457 w 1325619"/>
                <a:gd name="connsiteY94" fmla="*/ 163861 h 1416330"/>
                <a:gd name="connsiteX95" fmla="*/ 666292 w 1325619"/>
                <a:gd name="connsiteY95" fmla="*/ 272089 h 1416330"/>
                <a:gd name="connsiteX96" fmla="*/ 232230 w 1325619"/>
                <a:gd name="connsiteY96" fmla="*/ 181879 h 1416330"/>
                <a:gd name="connsiteX97" fmla="*/ 230404 w 1325619"/>
                <a:gd name="connsiteY97" fmla="*/ 138223 h 1416330"/>
                <a:gd name="connsiteX98" fmla="*/ 427215 w 1325619"/>
                <a:gd name="connsiteY98" fmla="*/ 57578 h 1416330"/>
                <a:gd name="connsiteX99" fmla="*/ 444638 w 1325619"/>
                <a:gd name="connsiteY99" fmla="*/ 33567 h 1416330"/>
                <a:gd name="connsiteX100" fmla="*/ 420626 w 1325619"/>
                <a:gd name="connsiteY100" fmla="*/ 16104 h 1416330"/>
                <a:gd name="connsiteX101" fmla="*/ 190240 w 1325619"/>
                <a:gd name="connsiteY101" fmla="*/ 126039 h 1416330"/>
                <a:gd name="connsiteX102" fmla="*/ 196749 w 1325619"/>
                <a:gd name="connsiteY102" fmla="*/ 470567 h 1416330"/>
                <a:gd name="connsiteX103" fmla="*/ 232071 w 1325619"/>
                <a:gd name="connsiteY103" fmla="*/ 647811 h 1416330"/>
                <a:gd name="connsiteX104" fmla="*/ 282990 w 1325619"/>
                <a:gd name="connsiteY104" fmla="*/ 812752 h 1416330"/>
                <a:gd name="connsiteX105" fmla="*/ 13155 w 1325619"/>
                <a:gd name="connsiteY105" fmla="*/ 1159740 h 141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325619" h="1416330">
                  <a:moveTo>
                    <a:pt x="298468" y="855377"/>
                  </a:moveTo>
                  <a:cubicBezTo>
                    <a:pt x="300492" y="860496"/>
                    <a:pt x="302913" y="865418"/>
                    <a:pt x="304977" y="870537"/>
                  </a:cubicBezTo>
                  <a:cubicBezTo>
                    <a:pt x="209489" y="901375"/>
                    <a:pt x="183216" y="1013571"/>
                    <a:pt x="241596" y="1101162"/>
                  </a:cubicBezTo>
                  <a:cubicBezTo>
                    <a:pt x="329901" y="1233758"/>
                    <a:pt x="545999" y="1257649"/>
                    <a:pt x="690859" y="1259872"/>
                  </a:cubicBezTo>
                  <a:cubicBezTo>
                    <a:pt x="826034" y="1261936"/>
                    <a:pt x="1018996" y="1246934"/>
                    <a:pt x="1090473" y="1110290"/>
                  </a:cubicBezTo>
                  <a:cubicBezTo>
                    <a:pt x="1141590" y="1012698"/>
                    <a:pt x="1089441" y="893199"/>
                    <a:pt x="979030" y="885896"/>
                  </a:cubicBezTo>
                  <a:cubicBezTo>
                    <a:pt x="986690" y="860933"/>
                    <a:pt x="993715" y="835771"/>
                    <a:pt x="1000382" y="810411"/>
                  </a:cubicBezTo>
                  <a:cubicBezTo>
                    <a:pt x="1003398" y="812157"/>
                    <a:pt x="1006891" y="813387"/>
                    <a:pt x="1011415" y="813030"/>
                  </a:cubicBezTo>
                  <a:cubicBezTo>
                    <a:pt x="1275734" y="793147"/>
                    <a:pt x="1278552" y="1120609"/>
                    <a:pt x="1124167" y="1255784"/>
                  </a:cubicBezTo>
                  <a:cubicBezTo>
                    <a:pt x="987245" y="1375601"/>
                    <a:pt x="786546" y="1381475"/>
                    <a:pt x="614500" y="1372227"/>
                  </a:cubicBezTo>
                  <a:cubicBezTo>
                    <a:pt x="461584" y="1364012"/>
                    <a:pt x="219411" y="1353773"/>
                    <a:pt x="104674" y="1234432"/>
                  </a:cubicBezTo>
                  <a:cubicBezTo>
                    <a:pt x="-48480" y="1075047"/>
                    <a:pt x="97094" y="840772"/>
                    <a:pt x="298468" y="855377"/>
                  </a:cubicBezTo>
                  <a:close/>
                  <a:moveTo>
                    <a:pt x="361095" y="969478"/>
                  </a:moveTo>
                  <a:cubicBezTo>
                    <a:pt x="374470" y="983528"/>
                    <a:pt x="390067" y="996267"/>
                    <a:pt x="408561" y="1005793"/>
                  </a:cubicBezTo>
                  <a:cubicBezTo>
                    <a:pt x="447257" y="1025795"/>
                    <a:pt x="490556" y="1033137"/>
                    <a:pt x="531593" y="1038058"/>
                  </a:cubicBezTo>
                  <a:cubicBezTo>
                    <a:pt x="584774" y="1044448"/>
                    <a:pt x="638551" y="1047623"/>
                    <a:pt x="692248" y="1047623"/>
                  </a:cubicBezTo>
                  <a:cubicBezTo>
                    <a:pt x="718164" y="1047623"/>
                    <a:pt x="744040" y="1046829"/>
                    <a:pt x="769837" y="1045361"/>
                  </a:cubicBezTo>
                  <a:cubicBezTo>
                    <a:pt x="816549" y="1042662"/>
                    <a:pt x="878105" y="1034367"/>
                    <a:pt x="922951" y="1000514"/>
                  </a:cubicBezTo>
                  <a:cubicBezTo>
                    <a:pt x="900052" y="1037661"/>
                    <a:pt x="848339" y="1064133"/>
                    <a:pt x="799523" y="1077865"/>
                  </a:cubicBezTo>
                  <a:cubicBezTo>
                    <a:pt x="721934" y="1099812"/>
                    <a:pt x="636447" y="1089057"/>
                    <a:pt x="553818" y="1078738"/>
                  </a:cubicBezTo>
                  <a:lnTo>
                    <a:pt x="542705" y="1077349"/>
                  </a:lnTo>
                  <a:cubicBezTo>
                    <a:pt x="475078" y="1068935"/>
                    <a:pt x="365064" y="1043654"/>
                    <a:pt x="361095" y="969478"/>
                  </a:cubicBezTo>
                  <a:close/>
                  <a:moveTo>
                    <a:pt x="323273" y="998847"/>
                  </a:moveTo>
                  <a:cubicBezTo>
                    <a:pt x="329782" y="1020715"/>
                    <a:pt x="342958" y="1039448"/>
                    <a:pt x="359944" y="1054568"/>
                  </a:cubicBezTo>
                  <a:cubicBezTo>
                    <a:pt x="407331" y="1096796"/>
                    <a:pt x="476467" y="1111361"/>
                    <a:pt x="537546" y="1118942"/>
                  </a:cubicBezTo>
                  <a:lnTo>
                    <a:pt x="548619" y="1120331"/>
                  </a:lnTo>
                  <a:cubicBezTo>
                    <a:pt x="595331" y="1126204"/>
                    <a:pt x="645615" y="1132515"/>
                    <a:pt x="696018" y="1132515"/>
                  </a:cubicBezTo>
                  <a:cubicBezTo>
                    <a:pt x="734753" y="1132515"/>
                    <a:pt x="773568" y="1128784"/>
                    <a:pt x="810914" y="1118267"/>
                  </a:cubicBezTo>
                  <a:cubicBezTo>
                    <a:pt x="891043" y="1095685"/>
                    <a:pt x="1024274" y="1014127"/>
                    <a:pt x="970537" y="911773"/>
                  </a:cubicBezTo>
                  <a:cubicBezTo>
                    <a:pt x="1002485" y="917607"/>
                    <a:pt x="1016535" y="936260"/>
                    <a:pt x="1028044" y="947412"/>
                  </a:cubicBezTo>
                  <a:cubicBezTo>
                    <a:pt x="1044594" y="963406"/>
                    <a:pt x="1054158" y="981663"/>
                    <a:pt x="1058524" y="1004364"/>
                  </a:cubicBezTo>
                  <a:cubicBezTo>
                    <a:pt x="1067057" y="1048734"/>
                    <a:pt x="1052492" y="1102074"/>
                    <a:pt x="1020424" y="1134340"/>
                  </a:cubicBezTo>
                  <a:cubicBezTo>
                    <a:pt x="990738" y="1164146"/>
                    <a:pt x="948113" y="1181926"/>
                    <a:pt x="908902" y="1193554"/>
                  </a:cubicBezTo>
                  <a:cubicBezTo>
                    <a:pt x="839211" y="1214192"/>
                    <a:pt x="763249" y="1218914"/>
                    <a:pt x="690859" y="1217922"/>
                  </a:cubicBezTo>
                  <a:cubicBezTo>
                    <a:pt x="618746" y="1216930"/>
                    <a:pt x="546119" y="1207286"/>
                    <a:pt x="476268" y="1189188"/>
                  </a:cubicBezTo>
                  <a:cubicBezTo>
                    <a:pt x="435628" y="1178711"/>
                    <a:pt x="391853" y="1165971"/>
                    <a:pt x="355063" y="1145810"/>
                  </a:cubicBezTo>
                  <a:cubicBezTo>
                    <a:pt x="338791" y="1134777"/>
                    <a:pt x="322519" y="1123744"/>
                    <a:pt x="306247" y="1112711"/>
                  </a:cubicBezTo>
                  <a:cubicBezTo>
                    <a:pt x="270012" y="1088144"/>
                    <a:pt x="246438" y="1032740"/>
                    <a:pt x="253423" y="989918"/>
                  </a:cubicBezTo>
                  <a:cubicBezTo>
                    <a:pt x="257034" y="967851"/>
                    <a:pt x="268742" y="948682"/>
                    <a:pt x="286681" y="935387"/>
                  </a:cubicBezTo>
                  <a:cubicBezTo>
                    <a:pt x="292555" y="931021"/>
                    <a:pt x="315018" y="915344"/>
                    <a:pt x="322360" y="919829"/>
                  </a:cubicBezTo>
                  <a:cubicBezTo>
                    <a:pt x="326448" y="922330"/>
                    <a:pt x="326131" y="928203"/>
                    <a:pt x="324344" y="934871"/>
                  </a:cubicBezTo>
                  <a:cubicBezTo>
                    <a:pt x="321725" y="944475"/>
                    <a:pt x="315931" y="955707"/>
                    <a:pt x="315693" y="960747"/>
                  </a:cubicBezTo>
                  <a:cubicBezTo>
                    <a:pt x="314978" y="972336"/>
                    <a:pt x="319939" y="987616"/>
                    <a:pt x="323273" y="998847"/>
                  </a:cubicBezTo>
                  <a:close/>
                  <a:moveTo>
                    <a:pt x="260686" y="587883"/>
                  </a:moveTo>
                  <a:cubicBezTo>
                    <a:pt x="247708" y="529383"/>
                    <a:pt x="237865" y="470249"/>
                    <a:pt x="231238" y="410757"/>
                  </a:cubicBezTo>
                  <a:cubicBezTo>
                    <a:pt x="227943" y="380952"/>
                    <a:pt x="225443" y="351107"/>
                    <a:pt x="223776" y="321183"/>
                  </a:cubicBezTo>
                  <a:cubicBezTo>
                    <a:pt x="223022" y="308006"/>
                    <a:pt x="229412" y="242998"/>
                    <a:pt x="221236" y="235378"/>
                  </a:cubicBezTo>
                  <a:cubicBezTo>
                    <a:pt x="296127" y="304673"/>
                    <a:pt x="468490" y="315507"/>
                    <a:pt x="585409" y="315507"/>
                  </a:cubicBezTo>
                  <a:cubicBezTo>
                    <a:pt x="619262" y="315507"/>
                    <a:pt x="648433" y="314595"/>
                    <a:pt x="669308" y="313999"/>
                  </a:cubicBezTo>
                  <a:cubicBezTo>
                    <a:pt x="751144" y="311459"/>
                    <a:pt x="834567" y="306260"/>
                    <a:pt x="914419" y="286932"/>
                  </a:cubicBezTo>
                  <a:cubicBezTo>
                    <a:pt x="942041" y="280304"/>
                    <a:pt x="967362" y="267604"/>
                    <a:pt x="994310" y="260024"/>
                  </a:cubicBezTo>
                  <a:cubicBezTo>
                    <a:pt x="1050309" y="244308"/>
                    <a:pt x="1040585" y="299037"/>
                    <a:pt x="1032489" y="334795"/>
                  </a:cubicBezTo>
                  <a:cubicBezTo>
                    <a:pt x="1018122" y="398335"/>
                    <a:pt x="1019630" y="465606"/>
                    <a:pt x="1011772" y="530574"/>
                  </a:cubicBezTo>
                  <a:cubicBezTo>
                    <a:pt x="1000739" y="621935"/>
                    <a:pt x="983475" y="712541"/>
                    <a:pt x="959940" y="801521"/>
                  </a:cubicBezTo>
                  <a:cubicBezTo>
                    <a:pt x="947518" y="848630"/>
                    <a:pt x="937596" y="896493"/>
                    <a:pt x="911799" y="938641"/>
                  </a:cubicBezTo>
                  <a:cubicBezTo>
                    <a:pt x="890686" y="973209"/>
                    <a:pt x="859888" y="978646"/>
                    <a:pt x="822939" y="990870"/>
                  </a:cubicBezTo>
                  <a:cubicBezTo>
                    <a:pt x="788411" y="1002300"/>
                    <a:pt x="753248" y="1004761"/>
                    <a:pt x="717092" y="1005435"/>
                  </a:cubicBezTo>
                  <a:cubicBezTo>
                    <a:pt x="656847" y="1006586"/>
                    <a:pt x="596482" y="1003610"/>
                    <a:pt x="536593" y="996426"/>
                  </a:cubicBezTo>
                  <a:cubicBezTo>
                    <a:pt x="499486" y="991981"/>
                    <a:pt x="460632" y="985512"/>
                    <a:pt x="427850" y="968526"/>
                  </a:cubicBezTo>
                  <a:cubicBezTo>
                    <a:pt x="380264" y="943999"/>
                    <a:pt x="355182" y="894112"/>
                    <a:pt x="340100" y="845098"/>
                  </a:cubicBezTo>
                  <a:cubicBezTo>
                    <a:pt x="331409" y="816642"/>
                    <a:pt x="318629" y="789059"/>
                    <a:pt x="309065" y="760841"/>
                  </a:cubicBezTo>
                  <a:cubicBezTo>
                    <a:pt x="289856" y="704088"/>
                    <a:pt x="273703" y="646303"/>
                    <a:pt x="260686" y="587883"/>
                  </a:cubicBezTo>
                  <a:close/>
                  <a:moveTo>
                    <a:pt x="1047253" y="613481"/>
                  </a:moveTo>
                  <a:cubicBezTo>
                    <a:pt x="1122580" y="548592"/>
                    <a:pt x="1253390" y="434530"/>
                    <a:pt x="1209496" y="318841"/>
                  </a:cubicBezTo>
                  <a:cubicBezTo>
                    <a:pt x="1183143" y="249388"/>
                    <a:pt x="1108491" y="249229"/>
                    <a:pt x="1068367" y="290226"/>
                  </a:cubicBezTo>
                  <a:cubicBezTo>
                    <a:pt x="1068367" y="280939"/>
                    <a:pt x="1067851" y="271692"/>
                    <a:pt x="1067692" y="262405"/>
                  </a:cubicBezTo>
                  <a:cubicBezTo>
                    <a:pt x="1109602" y="188904"/>
                    <a:pt x="1166593" y="180053"/>
                    <a:pt x="1238944" y="237243"/>
                  </a:cubicBezTo>
                  <a:cubicBezTo>
                    <a:pt x="1279385" y="284749"/>
                    <a:pt x="1290696" y="339082"/>
                    <a:pt x="1272956" y="400280"/>
                  </a:cubicBezTo>
                  <a:cubicBezTo>
                    <a:pt x="1259978" y="453937"/>
                    <a:pt x="1223267" y="503071"/>
                    <a:pt x="1186358" y="542004"/>
                  </a:cubicBezTo>
                  <a:cubicBezTo>
                    <a:pt x="1138455" y="592566"/>
                    <a:pt x="1082694" y="635032"/>
                    <a:pt x="1030386" y="681029"/>
                  </a:cubicBezTo>
                  <a:cubicBezTo>
                    <a:pt x="1034553" y="659678"/>
                    <a:pt x="1038006" y="638207"/>
                    <a:pt x="1041498" y="616696"/>
                  </a:cubicBezTo>
                  <a:cubicBezTo>
                    <a:pt x="1043443" y="615862"/>
                    <a:pt x="1045387" y="615069"/>
                    <a:pt x="1047253" y="613481"/>
                  </a:cubicBezTo>
                  <a:close/>
                  <a:moveTo>
                    <a:pt x="1063842" y="375356"/>
                  </a:moveTo>
                  <a:cubicBezTo>
                    <a:pt x="1064477" y="348011"/>
                    <a:pt x="1065231" y="322691"/>
                    <a:pt x="1094441" y="308840"/>
                  </a:cubicBezTo>
                  <a:cubicBezTo>
                    <a:pt x="1155362" y="279868"/>
                    <a:pt x="1183818" y="352496"/>
                    <a:pt x="1167943" y="399922"/>
                  </a:cubicBezTo>
                  <a:cubicBezTo>
                    <a:pt x="1159529" y="428180"/>
                    <a:pt x="1143654" y="453025"/>
                    <a:pt x="1126072" y="476242"/>
                  </a:cubicBezTo>
                  <a:cubicBezTo>
                    <a:pt x="1104046" y="505333"/>
                    <a:pt x="1077892" y="530653"/>
                    <a:pt x="1050706" y="554863"/>
                  </a:cubicBezTo>
                  <a:cubicBezTo>
                    <a:pt x="1058484" y="495292"/>
                    <a:pt x="1062334" y="436038"/>
                    <a:pt x="1063842" y="375356"/>
                  </a:cubicBezTo>
                  <a:close/>
                  <a:moveTo>
                    <a:pt x="13155" y="1159740"/>
                  </a:moveTo>
                  <a:cubicBezTo>
                    <a:pt x="86140" y="1387944"/>
                    <a:pt x="417015" y="1403978"/>
                    <a:pt x="614500" y="1414177"/>
                  </a:cubicBezTo>
                  <a:cubicBezTo>
                    <a:pt x="843219" y="1426044"/>
                    <a:pt x="1146234" y="1397389"/>
                    <a:pt x="1251168" y="1155137"/>
                  </a:cubicBezTo>
                  <a:cubicBezTo>
                    <a:pt x="1328241" y="977218"/>
                    <a:pt x="1221402" y="755285"/>
                    <a:pt x="1010780" y="771279"/>
                  </a:cubicBezTo>
                  <a:cubicBezTo>
                    <a:pt x="1013003" y="762111"/>
                    <a:pt x="1014868" y="752824"/>
                    <a:pt x="1016932" y="743577"/>
                  </a:cubicBezTo>
                  <a:cubicBezTo>
                    <a:pt x="1021218" y="743299"/>
                    <a:pt x="1025544" y="741870"/>
                    <a:pt x="1029473" y="738140"/>
                  </a:cubicBezTo>
                  <a:cubicBezTo>
                    <a:pt x="1151274" y="622054"/>
                    <a:pt x="1398766" y="466320"/>
                    <a:pt x="1304785" y="261413"/>
                  </a:cubicBezTo>
                  <a:cubicBezTo>
                    <a:pt x="1259145" y="161917"/>
                    <a:pt x="1138971" y="131754"/>
                    <a:pt x="1066978" y="192238"/>
                  </a:cubicBezTo>
                  <a:cubicBezTo>
                    <a:pt x="1069994" y="184538"/>
                    <a:pt x="1072296" y="176601"/>
                    <a:pt x="1073169" y="168108"/>
                  </a:cubicBezTo>
                  <a:cubicBezTo>
                    <a:pt x="1081900" y="82700"/>
                    <a:pt x="985380" y="28963"/>
                    <a:pt x="784244" y="8286"/>
                  </a:cubicBezTo>
                  <a:cubicBezTo>
                    <a:pt x="764876" y="8286"/>
                    <a:pt x="745866" y="6381"/>
                    <a:pt x="725784" y="4317"/>
                  </a:cubicBezTo>
                  <a:cubicBezTo>
                    <a:pt x="705146" y="2293"/>
                    <a:pt x="683834" y="71"/>
                    <a:pt x="661649" y="71"/>
                  </a:cubicBezTo>
                  <a:cubicBezTo>
                    <a:pt x="650060" y="71"/>
                    <a:pt x="640694" y="9477"/>
                    <a:pt x="640694" y="21065"/>
                  </a:cubicBezTo>
                  <a:cubicBezTo>
                    <a:pt x="640694" y="32654"/>
                    <a:pt x="650060" y="42060"/>
                    <a:pt x="661649" y="42060"/>
                  </a:cubicBezTo>
                  <a:cubicBezTo>
                    <a:pt x="681691" y="42060"/>
                    <a:pt x="701059" y="44005"/>
                    <a:pt x="721617" y="46068"/>
                  </a:cubicBezTo>
                  <a:cubicBezTo>
                    <a:pt x="741818" y="48093"/>
                    <a:pt x="763685" y="49521"/>
                    <a:pt x="782021" y="50117"/>
                  </a:cubicBezTo>
                  <a:cubicBezTo>
                    <a:pt x="946169" y="67103"/>
                    <a:pt x="1037093" y="108576"/>
                    <a:pt x="1031457" y="163861"/>
                  </a:cubicBezTo>
                  <a:cubicBezTo>
                    <a:pt x="1028481" y="193150"/>
                    <a:pt x="987047" y="262247"/>
                    <a:pt x="666292" y="272089"/>
                  </a:cubicBezTo>
                  <a:cubicBezTo>
                    <a:pt x="347959" y="282209"/>
                    <a:pt x="254494" y="228472"/>
                    <a:pt x="232230" y="181879"/>
                  </a:cubicBezTo>
                  <a:cubicBezTo>
                    <a:pt x="221633" y="159734"/>
                    <a:pt x="226118" y="146359"/>
                    <a:pt x="230404" y="138223"/>
                  </a:cubicBezTo>
                  <a:cubicBezTo>
                    <a:pt x="248660" y="103457"/>
                    <a:pt x="318550" y="74802"/>
                    <a:pt x="427215" y="57578"/>
                  </a:cubicBezTo>
                  <a:cubicBezTo>
                    <a:pt x="438645" y="55713"/>
                    <a:pt x="446423" y="44997"/>
                    <a:pt x="444638" y="33567"/>
                  </a:cubicBezTo>
                  <a:cubicBezTo>
                    <a:pt x="442812" y="22137"/>
                    <a:pt x="432255" y="14517"/>
                    <a:pt x="420626" y="16104"/>
                  </a:cubicBezTo>
                  <a:cubicBezTo>
                    <a:pt x="346292" y="26304"/>
                    <a:pt x="225165" y="47974"/>
                    <a:pt x="190240" y="126039"/>
                  </a:cubicBezTo>
                  <a:cubicBezTo>
                    <a:pt x="146068" y="224742"/>
                    <a:pt x="182065" y="368847"/>
                    <a:pt x="196749" y="470567"/>
                  </a:cubicBezTo>
                  <a:cubicBezTo>
                    <a:pt x="205401" y="530217"/>
                    <a:pt x="217188" y="589431"/>
                    <a:pt x="232071" y="647811"/>
                  </a:cubicBezTo>
                  <a:cubicBezTo>
                    <a:pt x="236317" y="664480"/>
                    <a:pt x="270211" y="812475"/>
                    <a:pt x="282990" y="812752"/>
                  </a:cubicBezTo>
                  <a:cubicBezTo>
                    <a:pt x="100626" y="808546"/>
                    <a:pt x="-45543" y="976225"/>
                    <a:pt x="13155" y="1159740"/>
                  </a:cubicBezTo>
                  <a:close/>
                </a:path>
              </a:pathLst>
            </a:custGeom>
            <a:grpFill/>
            <a:ln w="39688" cap="flat">
              <a:noFill/>
              <a:prstDash val="solid"/>
              <a:round/>
            </a:ln>
          </p:spPr>
          <p:txBody>
            <a:bodyPr rtlCol="0" anchor="ctr"/>
            <a:lstStyle/>
            <a:p>
              <a:endParaRPr lang="en-LT"/>
            </a:p>
          </p:txBody>
        </p:sp>
        <p:sp>
          <p:nvSpPr>
            <p:cNvPr id="103" name="Freeform 102">
              <a:extLst>
                <a:ext uri="{FF2B5EF4-FFF2-40B4-BE49-F238E27FC236}">
                  <a16:creationId xmlns:a16="http://schemas.microsoft.com/office/drawing/2014/main" id="{8C585381-8BD1-4342-A9A5-CA0BAF6ECD0F}"/>
                </a:ext>
              </a:extLst>
            </p:cNvPr>
            <p:cNvSpPr/>
            <p:nvPr/>
          </p:nvSpPr>
          <p:spPr>
            <a:xfrm>
              <a:off x="5819802" y="2247889"/>
              <a:ext cx="394997" cy="1114173"/>
            </a:xfrm>
            <a:custGeom>
              <a:avLst/>
              <a:gdLst>
                <a:gd name="connsiteX0" fmla="*/ 236926 w 394997"/>
                <a:gd name="connsiteY0" fmla="*/ 668289 h 1114173"/>
                <a:gd name="connsiteX1" fmla="*/ 218312 w 394997"/>
                <a:gd name="connsiteY1" fmla="*/ 1037026 h 1114173"/>
                <a:gd name="connsiteX2" fmla="*/ 120522 w 394997"/>
                <a:gd name="connsiteY2" fmla="*/ 426790 h 1114173"/>
                <a:gd name="connsiteX3" fmla="*/ 334875 w 394997"/>
                <a:gd name="connsiteY3" fmla="*/ 117942 h 1114173"/>
                <a:gd name="connsiteX4" fmla="*/ 236926 w 394997"/>
                <a:gd name="connsiteY4" fmla="*/ 668289 h 1114173"/>
                <a:gd name="connsiteX5" fmla="*/ 327691 w 394997"/>
                <a:gd name="connsiteY5" fmla="*/ 507 h 1114173"/>
                <a:gd name="connsiteX6" fmla="*/ 302093 w 394997"/>
                <a:gd name="connsiteY6" fmla="*/ 34241 h 1114173"/>
                <a:gd name="connsiteX7" fmla="*/ 117149 w 394997"/>
                <a:gd name="connsiteY7" fmla="*/ 361306 h 1114173"/>
                <a:gd name="connsiteX8" fmla="*/ 3166 w 394997"/>
                <a:gd name="connsiteY8" fmla="*/ 623005 h 1114173"/>
                <a:gd name="connsiteX9" fmla="*/ 221130 w 394997"/>
                <a:gd name="connsiteY9" fmla="*/ 1099454 h 1114173"/>
                <a:gd name="connsiteX10" fmla="*/ 232997 w 394997"/>
                <a:gd name="connsiteY10" fmla="*/ 1106836 h 1114173"/>
                <a:gd name="connsiteX11" fmla="*/ 279431 w 394997"/>
                <a:gd name="connsiteY11" fmla="*/ 1107908 h 1114173"/>
                <a:gd name="connsiteX12" fmla="*/ 242006 w 394997"/>
                <a:gd name="connsiteY12" fmla="*/ 978765 h 1114173"/>
                <a:gd name="connsiteX13" fmla="*/ 240815 w 394997"/>
                <a:gd name="connsiteY13" fmla="*/ 807195 h 1114173"/>
                <a:gd name="connsiteX14" fmla="*/ 360513 w 394997"/>
                <a:gd name="connsiteY14" fmla="*/ 468780 h 1114173"/>
                <a:gd name="connsiteX15" fmla="*/ 392461 w 394997"/>
                <a:gd name="connsiteY15" fmla="*/ 205850 h 1114173"/>
                <a:gd name="connsiteX16" fmla="*/ 327691 w 394997"/>
                <a:gd name="connsiteY16" fmla="*/ 507 h 111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4997" h="1114173">
                  <a:moveTo>
                    <a:pt x="236926" y="668289"/>
                  </a:moveTo>
                  <a:cubicBezTo>
                    <a:pt x="192198" y="788185"/>
                    <a:pt x="169219" y="919948"/>
                    <a:pt x="218312" y="1037026"/>
                  </a:cubicBezTo>
                  <a:cubicBezTo>
                    <a:pt x="34162" y="888594"/>
                    <a:pt x="-14058" y="628840"/>
                    <a:pt x="120522" y="426790"/>
                  </a:cubicBezTo>
                  <a:cubicBezTo>
                    <a:pt x="191206" y="320706"/>
                    <a:pt x="293600" y="233790"/>
                    <a:pt x="334875" y="117942"/>
                  </a:cubicBezTo>
                  <a:cubicBezTo>
                    <a:pt x="380436" y="309077"/>
                    <a:pt x="308205" y="477313"/>
                    <a:pt x="236926" y="668289"/>
                  </a:cubicBezTo>
                  <a:close/>
                  <a:moveTo>
                    <a:pt x="327691" y="507"/>
                  </a:moveTo>
                  <a:cubicBezTo>
                    <a:pt x="313404" y="4753"/>
                    <a:pt x="304236" y="19477"/>
                    <a:pt x="302093" y="34241"/>
                  </a:cubicBezTo>
                  <a:cubicBezTo>
                    <a:pt x="281693" y="172076"/>
                    <a:pt x="202080" y="252324"/>
                    <a:pt x="117149" y="361306"/>
                  </a:cubicBezTo>
                  <a:cubicBezTo>
                    <a:pt x="56625" y="438974"/>
                    <a:pt x="15271" y="524422"/>
                    <a:pt x="3166" y="623005"/>
                  </a:cubicBezTo>
                  <a:cubicBezTo>
                    <a:pt x="-18225" y="797591"/>
                    <a:pt x="69960" y="1001982"/>
                    <a:pt x="221130" y="1099454"/>
                  </a:cubicBezTo>
                  <a:cubicBezTo>
                    <a:pt x="225020" y="1101994"/>
                    <a:pt x="228988" y="1104455"/>
                    <a:pt x="232997" y="1106836"/>
                  </a:cubicBezTo>
                  <a:cubicBezTo>
                    <a:pt x="247086" y="1115210"/>
                    <a:pt x="266096" y="1117472"/>
                    <a:pt x="279431" y="1107908"/>
                  </a:cubicBezTo>
                  <a:cubicBezTo>
                    <a:pt x="309514" y="1086278"/>
                    <a:pt x="249586" y="1007340"/>
                    <a:pt x="242006" y="978765"/>
                  </a:cubicBezTo>
                  <a:cubicBezTo>
                    <a:pt x="227123" y="922567"/>
                    <a:pt x="229584" y="863790"/>
                    <a:pt x="240815" y="807195"/>
                  </a:cubicBezTo>
                  <a:cubicBezTo>
                    <a:pt x="264152" y="689164"/>
                    <a:pt x="322452" y="582088"/>
                    <a:pt x="360513" y="468780"/>
                  </a:cubicBezTo>
                  <a:cubicBezTo>
                    <a:pt x="388850" y="384325"/>
                    <a:pt x="400597" y="294671"/>
                    <a:pt x="392461" y="205850"/>
                  </a:cubicBezTo>
                  <a:cubicBezTo>
                    <a:pt x="389366" y="172115"/>
                    <a:pt x="366625" y="-11043"/>
                    <a:pt x="327691" y="507"/>
                  </a:cubicBezTo>
                  <a:close/>
                </a:path>
              </a:pathLst>
            </a:custGeom>
            <a:grpFill/>
            <a:ln w="39688" cap="flat">
              <a:noFill/>
              <a:prstDash val="solid"/>
              <a:round/>
            </a:ln>
          </p:spPr>
          <p:txBody>
            <a:bodyPr rtlCol="0" anchor="ctr"/>
            <a:lstStyle/>
            <a:p>
              <a:endParaRPr lang="en-LT"/>
            </a:p>
          </p:txBody>
        </p:sp>
        <p:sp>
          <p:nvSpPr>
            <p:cNvPr id="104" name="Freeform 103">
              <a:extLst>
                <a:ext uri="{FF2B5EF4-FFF2-40B4-BE49-F238E27FC236}">
                  <a16:creationId xmlns:a16="http://schemas.microsoft.com/office/drawing/2014/main" id="{D17D610C-7E6F-5046-8896-B202E591731E}"/>
                </a:ext>
              </a:extLst>
            </p:cNvPr>
            <p:cNvSpPr/>
            <p:nvPr/>
          </p:nvSpPr>
          <p:spPr>
            <a:xfrm>
              <a:off x="6070157" y="2642622"/>
              <a:ext cx="252150" cy="512904"/>
            </a:xfrm>
            <a:custGeom>
              <a:avLst/>
              <a:gdLst>
                <a:gd name="connsiteX0" fmla="*/ 203200 w 252150"/>
                <a:gd name="connsiteY0" fmla="*/ 112075 h 512904"/>
                <a:gd name="connsiteX1" fmla="*/ 49728 w 252150"/>
                <a:gd name="connsiteY1" fmla="*/ 460532 h 512904"/>
                <a:gd name="connsiteX2" fmla="*/ 203200 w 252150"/>
                <a:gd name="connsiteY2" fmla="*/ 112075 h 512904"/>
                <a:gd name="connsiteX3" fmla="*/ 5080 w 252150"/>
                <a:gd name="connsiteY3" fmla="*/ 450293 h 512904"/>
                <a:gd name="connsiteX4" fmla="*/ 39211 w 252150"/>
                <a:gd name="connsiteY4" fmla="*/ 499267 h 512904"/>
                <a:gd name="connsiteX5" fmla="*/ 79255 w 252150"/>
                <a:gd name="connsiteY5" fmla="*/ 510380 h 512904"/>
                <a:gd name="connsiteX6" fmla="*/ 141208 w 252150"/>
                <a:gd name="connsiteY6" fmla="*/ 367663 h 512904"/>
                <a:gd name="connsiteX7" fmla="*/ 234077 w 252150"/>
                <a:gd name="connsiteY7" fmla="*/ 228003 h 512904"/>
                <a:gd name="connsiteX8" fmla="*/ 227012 w 252150"/>
                <a:gd name="connsiteY8" fmla="*/ 21231 h 512904"/>
                <a:gd name="connsiteX9" fmla="*/ 182007 w 252150"/>
                <a:gd name="connsiteY9" fmla="*/ 45916 h 512904"/>
                <a:gd name="connsiteX10" fmla="*/ 120888 w 252150"/>
                <a:gd name="connsiteY10" fmla="*/ 160534 h 512904"/>
                <a:gd name="connsiteX11" fmla="*/ 56594 w 252150"/>
                <a:gd name="connsiteY11" fmla="*/ 259912 h 512904"/>
                <a:gd name="connsiteX12" fmla="*/ 5080 w 252150"/>
                <a:gd name="connsiteY12" fmla="*/ 450293 h 512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150" h="512904">
                  <a:moveTo>
                    <a:pt x="203200" y="112075"/>
                  </a:moveTo>
                  <a:cubicBezTo>
                    <a:pt x="222924" y="248918"/>
                    <a:pt x="80764" y="331786"/>
                    <a:pt x="49728" y="460532"/>
                  </a:cubicBezTo>
                  <a:cubicBezTo>
                    <a:pt x="29567" y="333969"/>
                    <a:pt x="146288" y="227328"/>
                    <a:pt x="203200" y="112075"/>
                  </a:cubicBezTo>
                  <a:close/>
                  <a:moveTo>
                    <a:pt x="5080" y="450293"/>
                  </a:moveTo>
                  <a:cubicBezTo>
                    <a:pt x="8929" y="462874"/>
                    <a:pt x="22661" y="484980"/>
                    <a:pt x="39211" y="499267"/>
                  </a:cubicBezTo>
                  <a:cubicBezTo>
                    <a:pt x="51990" y="510340"/>
                    <a:pt x="66436" y="516730"/>
                    <a:pt x="79255" y="510380"/>
                  </a:cubicBezTo>
                  <a:cubicBezTo>
                    <a:pt x="100369" y="499942"/>
                    <a:pt x="123269" y="392468"/>
                    <a:pt x="141208" y="367663"/>
                  </a:cubicBezTo>
                  <a:cubicBezTo>
                    <a:pt x="174029" y="322340"/>
                    <a:pt x="213399" y="280946"/>
                    <a:pt x="234077" y="228003"/>
                  </a:cubicBezTo>
                  <a:cubicBezTo>
                    <a:pt x="255666" y="172718"/>
                    <a:pt x="263049" y="72031"/>
                    <a:pt x="227012" y="21231"/>
                  </a:cubicBezTo>
                  <a:cubicBezTo>
                    <a:pt x="193794" y="-25680"/>
                    <a:pt x="193238" y="15397"/>
                    <a:pt x="182007" y="45916"/>
                  </a:cubicBezTo>
                  <a:cubicBezTo>
                    <a:pt x="168275" y="83302"/>
                    <a:pt x="142160" y="126403"/>
                    <a:pt x="120888" y="160534"/>
                  </a:cubicBezTo>
                  <a:cubicBezTo>
                    <a:pt x="100012" y="193991"/>
                    <a:pt x="77509" y="226495"/>
                    <a:pt x="56594" y="259912"/>
                  </a:cubicBezTo>
                  <a:cubicBezTo>
                    <a:pt x="24447" y="311188"/>
                    <a:pt x="-13971" y="388182"/>
                    <a:pt x="5080" y="450293"/>
                  </a:cubicBezTo>
                  <a:close/>
                </a:path>
              </a:pathLst>
            </a:custGeom>
            <a:grpFill/>
            <a:ln w="39688" cap="flat">
              <a:noFill/>
              <a:prstDash val="solid"/>
              <a:round/>
            </a:ln>
          </p:spPr>
          <p:txBody>
            <a:bodyPr rtlCol="0" anchor="ctr"/>
            <a:lstStyle/>
            <a:p>
              <a:endParaRPr lang="en-LT"/>
            </a:p>
          </p:txBody>
        </p:sp>
        <p:sp>
          <p:nvSpPr>
            <p:cNvPr id="105" name="Freeform 104">
              <a:extLst>
                <a:ext uri="{FF2B5EF4-FFF2-40B4-BE49-F238E27FC236}">
                  <a16:creationId xmlns:a16="http://schemas.microsoft.com/office/drawing/2014/main" id="{3351A54D-AC50-8740-B387-AA832E8A362E}"/>
                </a:ext>
              </a:extLst>
            </p:cNvPr>
            <p:cNvSpPr/>
            <p:nvPr/>
          </p:nvSpPr>
          <p:spPr>
            <a:xfrm>
              <a:off x="5730990" y="3275193"/>
              <a:ext cx="644030" cy="181705"/>
            </a:xfrm>
            <a:custGeom>
              <a:avLst/>
              <a:gdLst>
                <a:gd name="connsiteX0" fmla="*/ 54357 w 644030"/>
                <a:gd name="connsiteY0" fmla="*/ 41795 h 181705"/>
                <a:gd name="connsiteX1" fmla="*/ 72851 w 644030"/>
                <a:gd name="connsiteY1" fmla="*/ 18617 h 181705"/>
                <a:gd name="connsiteX2" fmla="*/ 49714 w 644030"/>
                <a:gd name="connsiteY2" fmla="*/ 123 h 181705"/>
                <a:gd name="connsiteX3" fmla="*/ 6692 w 644030"/>
                <a:gd name="connsiteY3" fmla="*/ 32548 h 181705"/>
                <a:gd name="connsiteX4" fmla="*/ 11376 w 644030"/>
                <a:gd name="connsiteY4" fmla="*/ 103112 h 181705"/>
                <a:gd name="connsiteX5" fmla="*/ 100117 w 644030"/>
                <a:gd name="connsiteY5" fmla="*/ 153476 h 181705"/>
                <a:gd name="connsiteX6" fmla="*/ 338440 w 644030"/>
                <a:gd name="connsiteY6" fmla="*/ 181733 h 181705"/>
                <a:gd name="connsiteX7" fmla="*/ 523980 w 644030"/>
                <a:gd name="connsiteY7" fmla="*/ 164628 h 181705"/>
                <a:gd name="connsiteX8" fmla="*/ 642407 w 644030"/>
                <a:gd name="connsiteY8" fmla="*/ 91166 h 181705"/>
                <a:gd name="connsiteX9" fmla="*/ 631136 w 644030"/>
                <a:gd name="connsiteY9" fmla="*/ 63782 h 181705"/>
                <a:gd name="connsiteX10" fmla="*/ 603712 w 644030"/>
                <a:gd name="connsiteY10" fmla="*/ 75053 h 181705"/>
                <a:gd name="connsiteX11" fmla="*/ 516241 w 644030"/>
                <a:gd name="connsiteY11" fmla="*/ 123393 h 181705"/>
                <a:gd name="connsiteX12" fmla="*/ 109999 w 644030"/>
                <a:gd name="connsiteY12" fmla="*/ 112677 h 181705"/>
                <a:gd name="connsiteX13" fmla="*/ 46221 w 644030"/>
                <a:gd name="connsiteY13" fmla="*/ 79776 h 181705"/>
                <a:gd name="connsiteX14" fmla="*/ 44713 w 644030"/>
                <a:gd name="connsiteY14" fmla="*/ 50249 h 181705"/>
                <a:gd name="connsiteX15" fmla="*/ 54357 w 644030"/>
                <a:gd name="connsiteY15" fmla="*/ 41795 h 18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4030" h="181705">
                  <a:moveTo>
                    <a:pt x="54357" y="41795"/>
                  </a:moveTo>
                  <a:cubicBezTo>
                    <a:pt x="65867" y="40565"/>
                    <a:pt x="74161" y="30167"/>
                    <a:pt x="72851" y="18617"/>
                  </a:cubicBezTo>
                  <a:cubicBezTo>
                    <a:pt x="71582" y="7148"/>
                    <a:pt x="61541" y="-948"/>
                    <a:pt x="49714" y="123"/>
                  </a:cubicBezTo>
                  <a:cubicBezTo>
                    <a:pt x="30981" y="2187"/>
                    <a:pt x="15305" y="14014"/>
                    <a:pt x="6692" y="32548"/>
                  </a:cubicBezTo>
                  <a:cubicBezTo>
                    <a:pt x="-3745" y="54971"/>
                    <a:pt x="-1840" y="83308"/>
                    <a:pt x="11376" y="103112"/>
                  </a:cubicBezTo>
                  <a:cubicBezTo>
                    <a:pt x="31577" y="133315"/>
                    <a:pt x="65986" y="145141"/>
                    <a:pt x="100117" y="153476"/>
                  </a:cubicBezTo>
                  <a:cubicBezTo>
                    <a:pt x="177746" y="172327"/>
                    <a:pt x="258073" y="181733"/>
                    <a:pt x="338440" y="181733"/>
                  </a:cubicBezTo>
                  <a:cubicBezTo>
                    <a:pt x="400790" y="181733"/>
                    <a:pt x="463020" y="176058"/>
                    <a:pt x="523980" y="164628"/>
                  </a:cubicBezTo>
                  <a:cubicBezTo>
                    <a:pt x="564858" y="156929"/>
                    <a:pt x="621651" y="140935"/>
                    <a:pt x="642407" y="91166"/>
                  </a:cubicBezTo>
                  <a:cubicBezTo>
                    <a:pt x="646852" y="80530"/>
                    <a:pt x="641812" y="68227"/>
                    <a:pt x="631136" y="63782"/>
                  </a:cubicBezTo>
                  <a:cubicBezTo>
                    <a:pt x="620540" y="59297"/>
                    <a:pt x="608197" y="64258"/>
                    <a:pt x="603712" y="75053"/>
                  </a:cubicBezTo>
                  <a:cubicBezTo>
                    <a:pt x="593830" y="98667"/>
                    <a:pt x="566049" y="114027"/>
                    <a:pt x="516241" y="123393"/>
                  </a:cubicBezTo>
                  <a:cubicBezTo>
                    <a:pt x="382653" y="148436"/>
                    <a:pt x="242198" y="144784"/>
                    <a:pt x="109999" y="112677"/>
                  </a:cubicBezTo>
                  <a:cubicBezTo>
                    <a:pt x="84123" y="106407"/>
                    <a:pt x="58485" y="98033"/>
                    <a:pt x="46221" y="79776"/>
                  </a:cubicBezTo>
                  <a:cubicBezTo>
                    <a:pt x="41102" y="72077"/>
                    <a:pt x="40427" y="59377"/>
                    <a:pt x="44713" y="50249"/>
                  </a:cubicBezTo>
                  <a:cubicBezTo>
                    <a:pt x="47094" y="45089"/>
                    <a:pt x="50349" y="42271"/>
                    <a:pt x="54357" y="41795"/>
                  </a:cubicBezTo>
                  <a:close/>
                </a:path>
              </a:pathLst>
            </a:custGeom>
            <a:grpFill/>
            <a:ln w="39688" cap="flat">
              <a:noFill/>
              <a:prstDash val="solid"/>
              <a:round/>
            </a:ln>
          </p:spPr>
          <p:txBody>
            <a:bodyPr rtlCol="0" anchor="ctr"/>
            <a:lstStyle/>
            <a:p>
              <a:endParaRPr lang="en-LT"/>
            </a:p>
          </p:txBody>
        </p:sp>
      </p:grpSp>
    </p:spTree>
    <p:extLst>
      <p:ext uri="{BB962C8B-B14F-4D97-AF65-F5344CB8AC3E}">
        <p14:creationId xmlns:p14="http://schemas.microsoft.com/office/powerpoint/2010/main" val="2937676556"/>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1589B2"/>
        </a:solidFill>
        <a:effectLst/>
      </p:bgPr>
    </p:bg>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EC63FC5E-6D9E-4D4D-BC0C-D4F1B35EFA23}"/>
              </a:ext>
            </a:extLst>
          </p:cNvPr>
          <p:cNvGrpSpPr/>
          <p:nvPr/>
        </p:nvGrpSpPr>
        <p:grpSpPr>
          <a:xfrm>
            <a:off x="-842559" y="494367"/>
            <a:ext cx="827568" cy="828000"/>
            <a:chOff x="-842559" y="468160"/>
            <a:chExt cx="827568" cy="828000"/>
          </a:xfrm>
        </p:grpSpPr>
        <p:sp>
          <p:nvSpPr>
            <p:cNvPr id="26" name="Oval 25">
              <a:extLst>
                <a:ext uri="{FF2B5EF4-FFF2-40B4-BE49-F238E27FC236}">
                  <a16:creationId xmlns:a16="http://schemas.microsoft.com/office/drawing/2014/main" id="{E192C37B-9B9A-394F-A8B0-8E2E8EBEF6AB}"/>
                </a:ext>
              </a:extLst>
            </p:cNvPr>
            <p:cNvSpPr>
              <a:spLocks noChangeAspect="1"/>
            </p:cNvSpPr>
            <p:nvPr/>
          </p:nvSpPr>
          <p:spPr>
            <a:xfrm>
              <a:off x="-842559" y="46816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27" name="Graphic 26" descr="Lightbulb">
              <a:extLst>
                <a:ext uri="{FF2B5EF4-FFF2-40B4-BE49-F238E27FC236}">
                  <a16:creationId xmlns:a16="http://schemas.microsoft.com/office/drawing/2014/main" id="{C7AB62C5-F1A8-C84F-A55F-AC3ADF171DF9}"/>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780293" y="530642"/>
              <a:ext cx="703036" cy="703036"/>
            </a:xfrm>
            <a:prstGeom prst="rect">
              <a:avLst/>
            </a:prstGeom>
          </p:spPr>
        </p:pic>
      </p:grpSp>
      <p:grpSp>
        <p:nvGrpSpPr>
          <p:cNvPr id="28" name="Group 27">
            <a:extLst>
              <a:ext uri="{FF2B5EF4-FFF2-40B4-BE49-F238E27FC236}">
                <a16:creationId xmlns:a16="http://schemas.microsoft.com/office/drawing/2014/main" id="{2CEA4CB1-6025-594D-AAA1-A7EEEC7B4A6B}"/>
              </a:ext>
            </a:extLst>
          </p:cNvPr>
          <p:cNvGrpSpPr/>
          <p:nvPr/>
        </p:nvGrpSpPr>
        <p:grpSpPr>
          <a:xfrm>
            <a:off x="-842559" y="1741580"/>
            <a:ext cx="827568" cy="828000"/>
            <a:chOff x="-842559" y="1741580"/>
            <a:chExt cx="827568" cy="828000"/>
          </a:xfrm>
        </p:grpSpPr>
        <p:sp>
          <p:nvSpPr>
            <p:cNvPr id="29" name="Oval 28">
              <a:extLst>
                <a:ext uri="{FF2B5EF4-FFF2-40B4-BE49-F238E27FC236}">
                  <a16:creationId xmlns:a16="http://schemas.microsoft.com/office/drawing/2014/main" id="{CA675418-8523-D340-B3D1-F44CFCA7A477}"/>
                </a:ext>
              </a:extLst>
            </p:cNvPr>
            <p:cNvSpPr>
              <a:spLocks noChangeAspect="1"/>
            </p:cNvSpPr>
            <p:nvPr/>
          </p:nvSpPr>
          <p:spPr>
            <a:xfrm>
              <a:off x="-842559" y="174158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0" name="Graphic 29" descr="Upward trend">
              <a:extLst>
                <a:ext uri="{FF2B5EF4-FFF2-40B4-BE49-F238E27FC236}">
                  <a16:creationId xmlns:a16="http://schemas.microsoft.com/office/drawing/2014/main" id="{11240A1E-FB48-CE42-98C1-896162880997}"/>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734943" y="1849412"/>
              <a:ext cx="612336" cy="612336"/>
            </a:xfrm>
            <a:prstGeom prst="rect">
              <a:avLst/>
            </a:prstGeom>
          </p:spPr>
        </p:pic>
      </p:grpSp>
      <p:grpSp>
        <p:nvGrpSpPr>
          <p:cNvPr id="31" name="Group 30">
            <a:extLst>
              <a:ext uri="{FF2B5EF4-FFF2-40B4-BE49-F238E27FC236}">
                <a16:creationId xmlns:a16="http://schemas.microsoft.com/office/drawing/2014/main" id="{26C59AE6-E4FD-1247-90CD-9E71B4FB6B8E}"/>
              </a:ext>
            </a:extLst>
          </p:cNvPr>
          <p:cNvGrpSpPr/>
          <p:nvPr/>
        </p:nvGrpSpPr>
        <p:grpSpPr>
          <a:xfrm>
            <a:off x="866377" y="4288420"/>
            <a:ext cx="827568" cy="828000"/>
            <a:chOff x="-842559" y="4288420"/>
            <a:chExt cx="827568" cy="828000"/>
          </a:xfrm>
        </p:grpSpPr>
        <p:sp>
          <p:nvSpPr>
            <p:cNvPr id="32" name="Oval 31">
              <a:extLst>
                <a:ext uri="{FF2B5EF4-FFF2-40B4-BE49-F238E27FC236}">
                  <a16:creationId xmlns:a16="http://schemas.microsoft.com/office/drawing/2014/main" id="{545335E2-162B-FE45-B9B7-64BAFAADA8A3}"/>
                </a:ext>
              </a:extLst>
            </p:cNvPr>
            <p:cNvSpPr>
              <a:spLocks noChangeAspect="1"/>
            </p:cNvSpPr>
            <p:nvPr/>
          </p:nvSpPr>
          <p:spPr>
            <a:xfrm>
              <a:off x="-842559" y="428842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3" name="Graphic 32" descr="Single gear">
              <a:extLst>
                <a:ext uri="{FF2B5EF4-FFF2-40B4-BE49-F238E27FC236}">
                  <a16:creationId xmlns:a16="http://schemas.microsoft.com/office/drawing/2014/main" id="{BAA9B317-68EE-B14A-9C24-FD1DCBC4270C}"/>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780293" y="4363185"/>
              <a:ext cx="724649" cy="724649"/>
            </a:xfrm>
            <a:prstGeom prst="rect">
              <a:avLst/>
            </a:prstGeom>
          </p:spPr>
        </p:pic>
      </p:grpSp>
      <p:grpSp>
        <p:nvGrpSpPr>
          <p:cNvPr id="34" name="Group 33">
            <a:extLst>
              <a:ext uri="{FF2B5EF4-FFF2-40B4-BE49-F238E27FC236}">
                <a16:creationId xmlns:a16="http://schemas.microsoft.com/office/drawing/2014/main" id="{56EA1DA1-572D-B245-92EB-61A2A047B751}"/>
              </a:ext>
            </a:extLst>
          </p:cNvPr>
          <p:cNvGrpSpPr/>
          <p:nvPr/>
        </p:nvGrpSpPr>
        <p:grpSpPr>
          <a:xfrm>
            <a:off x="-842559" y="5561839"/>
            <a:ext cx="827568" cy="828000"/>
            <a:chOff x="-842559" y="5561839"/>
            <a:chExt cx="827568" cy="828000"/>
          </a:xfrm>
        </p:grpSpPr>
        <p:sp>
          <p:nvSpPr>
            <p:cNvPr id="35" name="Oval 34">
              <a:extLst>
                <a:ext uri="{FF2B5EF4-FFF2-40B4-BE49-F238E27FC236}">
                  <a16:creationId xmlns:a16="http://schemas.microsoft.com/office/drawing/2014/main" id="{BBFF7D67-BB4C-5A48-B4AA-9FBC7AA1425D}"/>
                </a:ext>
              </a:extLst>
            </p:cNvPr>
            <p:cNvSpPr>
              <a:spLocks noChangeAspect="1"/>
            </p:cNvSpPr>
            <p:nvPr/>
          </p:nvSpPr>
          <p:spPr>
            <a:xfrm>
              <a:off x="-842559" y="5561839"/>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6" name="Graphic 35" descr="Users">
              <a:extLst>
                <a:ext uri="{FF2B5EF4-FFF2-40B4-BE49-F238E27FC236}">
                  <a16:creationId xmlns:a16="http://schemas.microsoft.com/office/drawing/2014/main" id="{B464236C-9F7D-4443-AEB3-2C76AEBA8DD8}"/>
                </a:ext>
              </a:extLst>
            </p:cNvPr>
            <p:cNvPicPr>
              <a:picLocks noChangeAspect="1"/>
            </p:cNvPicPr>
            <p:nvPr/>
          </p:nvPicPr>
          <p:blipFill>
            <a:blip r:embed="rId9">
              <a:extLst>
                <a:ext uri="{96DAC541-7B7A-43D3-8B79-37D633B846F1}">
                  <asvg:svgBlip xmlns="" xmlns:asvg="http://schemas.microsoft.com/office/drawing/2016/SVG/main" r:embed="rId10"/>
                </a:ext>
              </a:extLst>
            </a:blip>
            <a:stretch>
              <a:fillRect/>
            </a:stretch>
          </p:blipFill>
          <p:spPr>
            <a:xfrm>
              <a:off x="-777564" y="5614879"/>
              <a:ext cx="721920" cy="721920"/>
            </a:xfrm>
            <a:prstGeom prst="rect">
              <a:avLst/>
            </a:prstGeom>
          </p:spPr>
        </p:pic>
      </p:grpSp>
      <p:grpSp>
        <p:nvGrpSpPr>
          <p:cNvPr id="37" name="Group 36">
            <a:extLst>
              <a:ext uri="{FF2B5EF4-FFF2-40B4-BE49-F238E27FC236}">
                <a16:creationId xmlns:a16="http://schemas.microsoft.com/office/drawing/2014/main" id="{0FADB3F2-FCE0-F040-BFF2-F08CB43BFE52}"/>
              </a:ext>
            </a:extLst>
          </p:cNvPr>
          <p:cNvGrpSpPr/>
          <p:nvPr/>
        </p:nvGrpSpPr>
        <p:grpSpPr>
          <a:xfrm>
            <a:off x="-842559" y="3015000"/>
            <a:ext cx="827568" cy="828000"/>
            <a:chOff x="-837416" y="3015000"/>
            <a:chExt cx="827568" cy="828000"/>
          </a:xfrm>
        </p:grpSpPr>
        <p:sp>
          <p:nvSpPr>
            <p:cNvPr id="38" name="Oval 37">
              <a:extLst>
                <a:ext uri="{FF2B5EF4-FFF2-40B4-BE49-F238E27FC236}">
                  <a16:creationId xmlns:a16="http://schemas.microsoft.com/office/drawing/2014/main" id="{C4C4BE24-7816-2F41-AD27-6CC03B28405B}"/>
                </a:ext>
              </a:extLst>
            </p:cNvPr>
            <p:cNvSpPr>
              <a:spLocks noChangeAspect="1"/>
            </p:cNvSpPr>
            <p:nvPr/>
          </p:nvSpPr>
          <p:spPr>
            <a:xfrm>
              <a:off x="-837416" y="301500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9" name="Graphic 38" descr="Coffee">
              <a:extLst>
                <a:ext uri="{FF2B5EF4-FFF2-40B4-BE49-F238E27FC236}">
                  <a16:creationId xmlns:a16="http://schemas.microsoft.com/office/drawing/2014/main" id="{90191F78-2A0B-D74E-8D3F-F929E2AB4197}"/>
                </a:ext>
              </a:extLst>
            </p:cNvPr>
            <p:cNvPicPr>
              <a:picLocks noChangeAspect="1"/>
            </p:cNvPicPr>
            <p:nvPr/>
          </p:nvPicPr>
          <p:blipFill>
            <a:blip r:embed="rId11">
              <a:extLst>
                <a:ext uri="{96DAC541-7B7A-43D3-8B79-37D633B846F1}">
                  <asvg:svgBlip xmlns="" xmlns:asvg="http://schemas.microsoft.com/office/drawing/2016/SVG/main" r:embed="rId12"/>
                </a:ext>
              </a:extLst>
            </a:blip>
            <a:stretch>
              <a:fillRect/>
            </a:stretch>
          </p:blipFill>
          <p:spPr>
            <a:xfrm>
              <a:off x="-698172" y="3065465"/>
              <a:ext cx="620915" cy="620915"/>
            </a:xfrm>
            <a:prstGeom prst="rect">
              <a:avLst/>
            </a:prstGeom>
          </p:spPr>
        </p:pic>
      </p:grpSp>
      <p:sp>
        <p:nvSpPr>
          <p:cNvPr id="40" name="Freeform 39">
            <a:extLst>
              <a:ext uri="{FF2B5EF4-FFF2-40B4-BE49-F238E27FC236}">
                <a16:creationId xmlns:a16="http://schemas.microsoft.com/office/drawing/2014/main" id="{B0A97710-16C9-C045-950D-214E7DB1BF46}"/>
              </a:ext>
            </a:extLst>
          </p:cNvPr>
          <p:cNvSpPr/>
          <p:nvPr/>
        </p:nvSpPr>
        <p:spPr>
          <a:xfrm>
            <a:off x="0" y="-7260980"/>
            <a:ext cx="1280242" cy="23926799"/>
          </a:xfrm>
          <a:custGeom>
            <a:avLst/>
            <a:gdLst>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7" fmla="*/ 1280160 w 1280160"/>
              <a:gd name="connsiteY7" fmla="*/ 0 h 23926799"/>
              <a:gd name="connsiteX0" fmla="*/ 1280160 w 1280182"/>
              <a:gd name="connsiteY0" fmla="*/ 0 h 23926799"/>
              <a:gd name="connsiteX1" fmla="*/ 1280160 w 1280182"/>
              <a:gd name="connsiteY1" fmla="*/ 11137327 h 23926799"/>
              <a:gd name="connsiteX2" fmla="*/ 659246 w 1280182"/>
              <a:gd name="connsiteY2" fmla="*/ 11963399 h 23926799"/>
              <a:gd name="connsiteX3" fmla="*/ 1280160 w 1280182"/>
              <a:gd name="connsiteY3" fmla="*/ 12789472 h 23926799"/>
              <a:gd name="connsiteX4" fmla="*/ 1280160 w 1280182"/>
              <a:gd name="connsiteY4" fmla="*/ 23926799 h 23926799"/>
              <a:gd name="connsiteX5" fmla="*/ 0 w 1280182"/>
              <a:gd name="connsiteY5" fmla="*/ 23926799 h 23926799"/>
              <a:gd name="connsiteX6" fmla="*/ 0 w 1280182"/>
              <a:gd name="connsiteY6" fmla="*/ 0 h 23926799"/>
              <a:gd name="connsiteX7" fmla="*/ 1280160 w 1280182"/>
              <a:gd name="connsiteY7" fmla="*/ 0 h 23926799"/>
              <a:gd name="connsiteX0" fmla="*/ 1280160 w 1280231"/>
              <a:gd name="connsiteY0" fmla="*/ 0 h 23926799"/>
              <a:gd name="connsiteX1" fmla="*/ 1280160 w 1280231"/>
              <a:gd name="connsiteY1" fmla="*/ 11137327 h 23926799"/>
              <a:gd name="connsiteX2" fmla="*/ 659246 w 1280231"/>
              <a:gd name="connsiteY2" fmla="*/ 11963399 h 23926799"/>
              <a:gd name="connsiteX3" fmla="*/ 1280160 w 1280231"/>
              <a:gd name="connsiteY3" fmla="*/ 12789472 h 23926799"/>
              <a:gd name="connsiteX4" fmla="*/ 1280160 w 1280231"/>
              <a:gd name="connsiteY4" fmla="*/ 23926799 h 23926799"/>
              <a:gd name="connsiteX5" fmla="*/ 0 w 1280231"/>
              <a:gd name="connsiteY5" fmla="*/ 23926799 h 23926799"/>
              <a:gd name="connsiteX6" fmla="*/ 0 w 1280231"/>
              <a:gd name="connsiteY6" fmla="*/ 0 h 23926799"/>
              <a:gd name="connsiteX7" fmla="*/ 1280160 w 128023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2"/>
              <a:gd name="connsiteY0" fmla="*/ 0 h 23926799"/>
              <a:gd name="connsiteX1" fmla="*/ 1280160 w 1280242"/>
              <a:gd name="connsiteY1" fmla="*/ 11137327 h 23926799"/>
              <a:gd name="connsiteX2" fmla="*/ 742373 w 1280242"/>
              <a:gd name="connsiteY2" fmla="*/ 11966863 h 23926799"/>
              <a:gd name="connsiteX3" fmla="*/ 1280160 w 1280242"/>
              <a:gd name="connsiteY3" fmla="*/ 12789472 h 23926799"/>
              <a:gd name="connsiteX4" fmla="*/ 1280160 w 1280242"/>
              <a:gd name="connsiteY4" fmla="*/ 23926799 h 23926799"/>
              <a:gd name="connsiteX5" fmla="*/ 0 w 1280242"/>
              <a:gd name="connsiteY5" fmla="*/ 23926799 h 23926799"/>
              <a:gd name="connsiteX6" fmla="*/ 0 w 1280242"/>
              <a:gd name="connsiteY6" fmla="*/ 0 h 23926799"/>
              <a:gd name="connsiteX7" fmla="*/ 1280160 w 1280242"/>
              <a:gd name="connsiteY7" fmla="*/ 0 h 2392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0242" h="23926799">
                <a:moveTo>
                  <a:pt x="1280160" y="0"/>
                </a:moveTo>
                <a:lnTo>
                  <a:pt x="1280160" y="11137327"/>
                </a:lnTo>
                <a:cubicBezTo>
                  <a:pt x="1287934" y="11540842"/>
                  <a:pt x="743219" y="11525247"/>
                  <a:pt x="742373" y="11966863"/>
                </a:cubicBezTo>
                <a:cubicBezTo>
                  <a:pt x="741527" y="12408479"/>
                  <a:pt x="1284472" y="12396353"/>
                  <a:pt x="1280160" y="12789472"/>
                </a:cubicBezTo>
                <a:lnTo>
                  <a:pt x="1280160" y="23926799"/>
                </a:lnTo>
                <a:lnTo>
                  <a:pt x="0" y="23926799"/>
                </a:lnTo>
                <a:lnTo>
                  <a:pt x="0" y="0"/>
                </a:lnTo>
                <a:lnTo>
                  <a:pt x="128016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LT"/>
          </a:p>
        </p:txBody>
      </p:sp>
      <p:pic>
        <p:nvPicPr>
          <p:cNvPr id="41" name="Graphic 40" descr="Lightbulb">
            <a:hlinkClick r:id="" action="ppaction://hlinkshowjump?jump=firstslide"/>
            <a:extLst>
              <a:ext uri="{FF2B5EF4-FFF2-40B4-BE49-F238E27FC236}">
                <a16:creationId xmlns:a16="http://schemas.microsoft.com/office/drawing/2014/main" id="{A9C9134B-77D2-F747-9433-19E4D3B55DA9}"/>
              </a:ext>
            </a:extLst>
          </p:cNvPr>
          <p:cNvPicPr>
            <a:picLocks noChangeAspect="1"/>
          </p:cNvPicPr>
          <p:nvPr/>
        </p:nvPicPr>
        <p:blipFill>
          <a:blip r:embed="rId13">
            <a:extLst>
              <a:ext uri="{96DAC541-7B7A-43D3-8B79-37D633B846F1}">
                <asvg:svgBlip xmlns="" xmlns:asvg="http://schemas.microsoft.com/office/drawing/2016/SVG/main" r:embed="rId14"/>
              </a:ext>
            </a:extLst>
          </a:blip>
          <a:stretch>
            <a:fillRect/>
          </a:stretch>
        </p:blipFill>
        <p:spPr>
          <a:xfrm>
            <a:off x="277756" y="530641"/>
            <a:ext cx="703036" cy="703036"/>
          </a:xfrm>
          <a:prstGeom prst="rect">
            <a:avLst/>
          </a:prstGeom>
        </p:spPr>
      </p:pic>
      <p:pic>
        <p:nvPicPr>
          <p:cNvPr id="42" name="Graphic 41" descr="Upward trend">
            <a:hlinkClick r:id="rId15" action="ppaction://hlinksldjump"/>
            <a:extLst>
              <a:ext uri="{FF2B5EF4-FFF2-40B4-BE49-F238E27FC236}">
                <a16:creationId xmlns:a16="http://schemas.microsoft.com/office/drawing/2014/main" id="{915F845C-8AF9-094E-97C1-78346E153827}"/>
              </a:ext>
            </a:extLst>
          </p:cNvPr>
          <p:cNvPicPr>
            <a:picLocks noChangeAspect="1"/>
          </p:cNvPicPr>
          <p:nvPr/>
        </p:nvPicPr>
        <p:blipFill>
          <a:blip r:embed="rId16">
            <a:extLst>
              <a:ext uri="{96DAC541-7B7A-43D3-8B79-37D633B846F1}">
                <asvg:svgBlip xmlns="" xmlns:asvg="http://schemas.microsoft.com/office/drawing/2016/SVG/main" r:embed="rId17"/>
              </a:ext>
            </a:extLst>
          </a:blip>
          <a:stretch>
            <a:fillRect/>
          </a:stretch>
        </p:blipFill>
        <p:spPr>
          <a:xfrm>
            <a:off x="323106" y="1849411"/>
            <a:ext cx="612336" cy="612336"/>
          </a:xfrm>
          <a:prstGeom prst="rect">
            <a:avLst/>
          </a:prstGeom>
        </p:spPr>
      </p:pic>
      <p:pic>
        <p:nvPicPr>
          <p:cNvPr id="43" name="Graphic 42" descr="Coffee">
            <a:hlinkClick r:id="rId18" action="ppaction://hlinksldjump"/>
            <a:extLst>
              <a:ext uri="{FF2B5EF4-FFF2-40B4-BE49-F238E27FC236}">
                <a16:creationId xmlns:a16="http://schemas.microsoft.com/office/drawing/2014/main" id="{77442FFC-4A0E-234A-AACE-E800DFB1F364}"/>
              </a:ext>
            </a:extLst>
          </p:cNvPr>
          <p:cNvPicPr>
            <a:picLocks noChangeAspect="1"/>
          </p:cNvPicPr>
          <p:nvPr/>
        </p:nvPicPr>
        <p:blipFill>
          <a:blip r:embed="rId19">
            <a:extLst>
              <a:ext uri="{96DAC541-7B7A-43D3-8B79-37D633B846F1}">
                <asvg:svgBlip xmlns="" xmlns:asvg="http://schemas.microsoft.com/office/drawing/2016/SVG/main" r:embed="rId20"/>
              </a:ext>
            </a:extLst>
          </a:blip>
          <a:stretch>
            <a:fillRect/>
          </a:stretch>
        </p:blipFill>
        <p:spPr>
          <a:xfrm>
            <a:off x="359877" y="3065464"/>
            <a:ext cx="620915" cy="620915"/>
          </a:xfrm>
          <a:prstGeom prst="rect">
            <a:avLst/>
          </a:prstGeom>
        </p:spPr>
      </p:pic>
      <p:pic>
        <p:nvPicPr>
          <p:cNvPr id="44" name="Graphic 43" descr="Single gear">
            <a:hlinkClick r:id="rId21" action="ppaction://hlinksldjump"/>
            <a:extLst>
              <a:ext uri="{FF2B5EF4-FFF2-40B4-BE49-F238E27FC236}">
                <a16:creationId xmlns:a16="http://schemas.microsoft.com/office/drawing/2014/main" id="{852CEB05-671C-9C41-9B56-CE3D3A915BD2}"/>
              </a:ext>
            </a:extLst>
          </p:cNvPr>
          <p:cNvPicPr>
            <a:picLocks noChangeAspect="1"/>
          </p:cNvPicPr>
          <p:nvPr/>
        </p:nvPicPr>
        <p:blipFill>
          <a:blip r:embed="rId22">
            <a:extLst>
              <a:ext uri="{96DAC541-7B7A-43D3-8B79-37D633B846F1}">
                <asvg:svgBlip xmlns="" xmlns:asvg="http://schemas.microsoft.com/office/drawing/2016/SVG/main" r:embed="rId23"/>
              </a:ext>
            </a:extLst>
          </a:blip>
          <a:stretch>
            <a:fillRect/>
          </a:stretch>
        </p:blipFill>
        <p:spPr>
          <a:xfrm>
            <a:off x="277756" y="4363184"/>
            <a:ext cx="724649" cy="724649"/>
          </a:xfrm>
          <a:prstGeom prst="rect">
            <a:avLst/>
          </a:prstGeom>
        </p:spPr>
      </p:pic>
      <p:pic>
        <p:nvPicPr>
          <p:cNvPr id="45" name="Graphic 44" descr="Users">
            <a:hlinkClick r:id="rId24" action="ppaction://hlinksldjump"/>
            <a:extLst>
              <a:ext uri="{FF2B5EF4-FFF2-40B4-BE49-F238E27FC236}">
                <a16:creationId xmlns:a16="http://schemas.microsoft.com/office/drawing/2014/main" id="{21130883-0A3B-EB43-8662-49C6D40C9CE4}"/>
              </a:ext>
            </a:extLst>
          </p:cNvPr>
          <p:cNvPicPr>
            <a:picLocks noChangeAspect="1"/>
          </p:cNvPicPr>
          <p:nvPr/>
        </p:nvPicPr>
        <p:blipFill>
          <a:blip r:embed="rId25">
            <a:extLst>
              <a:ext uri="{96DAC541-7B7A-43D3-8B79-37D633B846F1}">
                <asvg:svgBlip xmlns="" xmlns:asvg="http://schemas.microsoft.com/office/drawing/2016/SVG/main" r:embed="rId26"/>
              </a:ext>
            </a:extLst>
          </a:blip>
          <a:stretch>
            <a:fillRect/>
          </a:stretch>
        </p:blipFill>
        <p:spPr>
          <a:xfrm>
            <a:off x="280485" y="5614878"/>
            <a:ext cx="721920" cy="721920"/>
          </a:xfrm>
          <a:prstGeom prst="rect">
            <a:avLst/>
          </a:prstGeom>
        </p:spPr>
      </p:pic>
      <p:sp>
        <p:nvSpPr>
          <p:cNvPr id="46" name="TextBox 45">
            <a:extLst>
              <a:ext uri="{FF2B5EF4-FFF2-40B4-BE49-F238E27FC236}">
                <a16:creationId xmlns:a16="http://schemas.microsoft.com/office/drawing/2014/main" id="{81700177-3C7A-8240-9477-5758AF57C67B}"/>
              </a:ext>
            </a:extLst>
          </p:cNvPr>
          <p:cNvSpPr txBox="1"/>
          <p:nvPr/>
        </p:nvSpPr>
        <p:spPr>
          <a:xfrm>
            <a:off x="4052961" y="583080"/>
            <a:ext cx="4729180" cy="584775"/>
          </a:xfrm>
          <a:prstGeom prst="rect">
            <a:avLst/>
          </a:prstGeom>
          <a:noFill/>
        </p:spPr>
        <p:txBody>
          <a:bodyPr wrap="none" rtlCol="0">
            <a:spAutoFit/>
          </a:bodyPr>
          <a:lstStyle/>
          <a:p>
            <a:pPr algn="ctr"/>
            <a:r>
              <a:rPr lang="fr-FR" sz="3200" b="1" spc="300" dirty="0">
                <a:solidFill>
                  <a:schemeClr val="bg1"/>
                </a:solidFill>
                <a:latin typeface="Montserrat" pitchFamily="2" charset="77"/>
              </a:rPr>
              <a:t>Installation de Git</a:t>
            </a:r>
            <a:endParaRPr lang="en-LT" sz="3200" b="1" spc="300" dirty="0">
              <a:solidFill>
                <a:schemeClr val="bg1"/>
              </a:solidFill>
              <a:latin typeface="Montserrat" pitchFamily="2" charset="77"/>
            </a:endParaRPr>
          </a:p>
        </p:txBody>
      </p:sp>
      <p:sp>
        <p:nvSpPr>
          <p:cNvPr id="47" name="TextBox 46">
            <a:extLst>
              <a:ext uri="{FF2B5EF4-FFF2-40B4-BE49-F238E27FC236}">
                <a16:creationId xmlns:a16="http://schemas.microsoft.com/office/drawing/2014/main" id="{F468EA0C-789C-3347-B6A8-E15F5D431AAE}"/>
              </a:ext>
            </a:extLst>
          </p:cNvPr>
          <p:cNvSpPr txBox="1"/>
          <p:nvPr/>
        </p:nvSpPr>
        <p:spPr>
          <a:xfrm>
            <a:off x="2642151" y="2633577"/>
            <a:ext cx="1269899" cy="400110"/>
          </a:xfrm>
          <a:prstGeom prst="rect">
            <a:avLst/>
          </a:prstGeom>
          <a:noFill/>
        </p:spPr>
        <p:txBody>
          <a:bodyPr wrap="none" rtlCol="0">
            <a:spAutoFit/>
          </a:bodyPr>
          <a:lstStyle/>
          <a:p>
            <a:pPr algn="ctr"/>
            <a:r>
              <a:rPr lang="en-LT" sz="2000" b="1" spc="300">
                <a:solidFill>
                  <a:schemeClr val="bg1"/>
                </a:solidFill>
                <a:latin typeface="Montserrat" pitchFamily="2" charset="77"/>
              </a:rPr>
              <a:t>STEP 1</a:t>
            </a:r>
          </a:p>
        </p:txBody>
      </p:sp>
      <p:sp>
        <p:nvSpPr>
          <p:cNvPr id="48" name="TextBox 47">
            <a:extLst>
              <a:ext uri="{FF2B5EF4-FFF2-40B4-BE49-F238E27FC236}">
                <a16:creationId xmlns:a16="http://schemas.microsoft.com/office/drawing/2014/main" id="{8D4594B5-DCFE-B040-B639-11289CE101BD}"/>
              </a:ext>
            </a:extLst>
          </p:cNvPr>
          <p:cNvSpPr txBox="1"/>
          <p:nvPr/>
        </p:nvSpPr>
        <p:spPr>
          <a:xfrm>
            <a:off x="2660585" y="2957463"/>
            <a:ext cx="1233030" cy="523220"/>
          </a:xfrm>
          <a:prstGeom prst="rect">
            <a:avLst/>
          </a:prstGeom>
          <a:noFill/>
        </p:spPr>
        <p:txBody>
          <a:bodyPr wrap="none" rtlCol="0">
            <a:spAutoFit/>
          </a:bodyPr>
          <a:lstStyle/>
          <a:p>
            <a:pPr algn="ctr"/>
            <a:r>
              <a:rPr lang="en-LT" sz="1400">
                <a:solidFill>
                  <a:schemeClr val="bg1"/>
                </a:solidFill>
                <a:latin typeface="Montserrat" pitchFamily="2" charset="77"/>
              </a:rPr>
              <a:t>Insert more</a:t>
            </a:r>
          </a:p>
          <a:p>
            <a:pPr algn="ctr"/>
            <a:r>
              <a:rPr lang="en-GB" sz="1400">
                <a:solidFill>
                  <a:schemeClr val="bg1"/>
                </a:solidFill>
                <a:latin typeface="Montserrat" pitchFamily="2" charset="77"/>
              </a:rPr>
              <a:t>info</a:t>
            </a:r>
            <a:r>
              <a:rPr lang="en-LT" sz="1400">
                <a:solidFill>
                  <a:schemeClr val="bg1"/>
                </a:solidFill>
                <a:latin typeface="Montserrat" pitchFamily="2" charset="77"/>
              </a:rPr>
              <a:t> here</a:t>
            </a:r>
          </a:p>
        </p:txBody>
      </p:sp>
      <p:sp>
        <p:nvSpPr>
          <p:cNvPr id="49" name="TextBox 48">
            <a:extLst>
              <a:ext uri="{FF2B5EF4-FFF2-40B4-BE49-F238E27FC236}">
                <a16:creationId xmlns:a16="http://schemas.microsoft.com/office/drawing/2014/main" id="{372FC868-5893-B849-9781-55B71CB5CA35}"/>
              </a:ext>
            </a:extLst>
          </p:cNvPr>
          <p:cNvSpPr txBox="1"/>
          <p:nvPr/>
        </p:nvSpPr>
        <p:spPr>
          <a:xfrm>
            <a:off x="2617305" y="5112898"/>
            <a:ext cx="1319593" cy="400110"/>
          </a:xfrm>
          <a:prstGeom prst="rect">
            <a:avLst/>
          </a:prstGeom>
          <a:noFill/>
        </p:spPr>
        <p:txBody>
          <a:bodyPr wrap="none" rtlCol="0">
            <a:spAutoFit/>
          </a:bodyPr>
          <a:lstStyle/>
          <a:p>
            <a:pPr algn="ctr"/>
            <a:r>
              <a:rPr lang="en-LT" sz="2000" b="1" spc="300">
                <a:solidFill>
                  <a:schemeClr val="bg1"/>
                </a:solidFill>
                <a:latin typeface="Montserrat" pitchFamily="2" charset="77"/>
              </a:rPr>
              <a:t>STEP 2</a:t>
            </a:r>
          </a:p>
        </p:txBody>
      </p:sp>
      <p:sp>
        <p:nvSpPr>
          <p:cNvPr id="50" name="TextBox 49">
            <a:extLst>
              <a:ext uri="{FF2B5EF4-FFF2-40B4-BE49-F238E27FC236}">
                <a16:creationId xmlns:a16="http://schemas.microsoft.com/office/drawing/2014/main" id="{29F1F473-0378-1E48-85CA-85EC07840C2C}"/>
              </a:ext>
            </a:extLst>
          </p:cNvPr>
          <p:cNvSpPr txBox="1"/>
          <p:nvPr/>
        </p:nvSpPr>
        <p:spPr>
          <a:xfrm>
            <a:off x="2660585" y="5436784"/>
            <a:ext cx="1233030" cy="523220"/>
          </a:xfrm>
          <a:prstGeom prst="rect">
            <a:avLst/>
          </a:prstGeom>
          <a:noFill/>
        </p:spPr>
        <p:txBody>
          <a:bodyPr wrap="none" rtlCol="0">
            <a:spAutoFit/>
          </a:bodyPr>
          <a:lstStyle/>
          <a:p>
            <a:pPr algn="ctr"/>
            <a:r>
              <a:rPr lang="en-LT" sz="1400">
                <a:solidFill>
                  <a:schemeClr val="bg1"/>
                </a:solidFill>
                <a:latin typeface="Montserrat" pitchFamily="2" charset="77"/>
              </a:rPr>
              <a:t>Insert more</a:t>
            </a:r>
          </a:p>
          <a:p>
            <a:pPr algn="ctr"/>
            <a:r>
              <a:rPr lang="en-GB" sz="1400">
                <a:solidFill>
                  <a:schemeClr val="bg1"/>
                </a:solidFill>
                <a:latin typeface="Montserrat" pitchFamily="2" charset="77"/>
              </a:rPr>
              <a:t>info</a:t>
            </a:r>
            <a:r>
              <a:rPr lang="en-LT" sz="1400">
                <a:solidFill>
                  <a:schemeClr val="bg1"/>
                </a:solidFill>
                <a:latin typeface="Montserrat" pitchFamily="2" charset="77"/>
              </a:rPr>
              <a:t> here</a:t>
            </a:r>
          </a:p>
        </p:txBody>
      </p:sp>
      <p:sp>
        <p:nvSpPr>
          <p:cNvPr id="51" name="TextBox 50">
            <a:extLst>
              <a:ext uri="{FF2B5EF4-FFF2-40B4-BE49-F238E27FC236}">
                <a16:creationId xmlns:a16="http://schemas.microsoft.com/office/drawing/2014/main" id="{6FDBA952-862B-5F44-905C-45F445697ADE}"/>
              </a:ext>
            </a:extLst>
          </p:cNvPr>
          <p:cNvSpPr txBox="1"/>
          <p:nvPr/>
        </p:nvSpPr>
        <p:spPr>
          <a:xfrm>
            <a:off x="8892150" y="2633577"/>
            <a:ext cx="1321196" cy="400110"/>
          </a:xfrm>
          <a:prstGeom prst="rect">
            <a:avLst/>
          </a:prstGeom>
          <a:noFill/>
        </p:spPr>
        <p:txBody>
          <a:bodyPr wrap="none" rtlCol="0">
            <a:spAutoFit/>
          </a:bodyPr>
          <a:lstStyle/>
          <a:p>
            <a:pPr algn="ctr"/>
            <a:r>
              <a:rPr lang="en-LT" sz="2000" b="1" spc="300">
                <a:solidFill>
                  <a:schemeClr val="bg1"/>
                </a:solidFill>
                <a:latin typeface="Montserrat" pitchFamily="2" charset="77"/>
              </a:rPr>
              <a:t>STEP 3</a:t>
            </a:r>
          </a:p>
        </p:txBody>
      </p:sp>
      <p:sp>
        <p:nvSpPr>
          <p:cNvPr id="52" name="TextBox 51">
            <a:extLst>
              <a:ext uri="{FF2B5EF4-FFF2-40B4-BE49-F238E27FC236}">
                <a16:creationId xmlns:a16="http://schemas.microsoft.com/office/drawing/2014/main" id="{C7E1247B-20BA-694A-999C-D3C010130C90}"/>
              </a:ext>
            </a:extLst>
          </p:cNvPr>
          <p:cNvSpPr txBox="1"/>
          <p:nvPr/>
        </p:nvSpPr>
        <p:spPr>
          <a:xfrm>
            <a:off x="8936233" y="2957463"/>
            <a:ext cx="1233030" cy="523220"/>
          </a:xfrm>
          <a:prstGeom prst="rect">
            <a:avLst/>
          </a:prstGeom>
          <a:noFill/>
        </p:spPr>
        <p:txBody>
          <a:bodyPr wrap="none" rtlCol="0">
            <a:spAutoFit/>
          </a:bodyPr>
          <a:lstStyle/>
          <a:p>
            <a:pPr algn="ctr"/>
            <a:r>
              <a:rPr lang="en-LT" sz="1400">
                <a:solidFill>
                  <a:schemeClr val="bg1"/>
                </a:solidFill>
                <a:latin typeface="Montserrat" pitchFamily="2" charset="77"/>
              </a:rPr>
              <a:t>Insert more</a:t>
            </a:r>
          </a:p>
          <a:p>
            <a:pPr algn="ctr"/>
            <a:r>
              <a:rPr lang="en-GB" sz="1400">
                <a:solidFill>
                  <a:schemeClr val="bg1"/>
                </a:solidFill>
                <a:latin typeface="Montserrat" pitchFamily="2" charset="77"/>
              </a:rPr>
              <a:t>info</a:t>
            </a:r>
            <a:r>
              <a:rPr lang="en-LT" sz="1400">
                <a:solidFill>
                  <a:schemeClr val="bg1"/>
                </a:solidFill>
                <a:latin typeface="Montserrat" pitchFamily="2" charset="77"/>
              </a:rPr>
              <a:t> here</a:t>
            </a:r>
          </a:p>
        </p:txBody>
      </p:sp>
      <p:sp>
        <p:nvSpPr>
          <p:cNvPr id="53" name="TextBox 52">
            <a:extLst>
              <a:ext uri="{FF2B5EF4-FFF2-40B4-BE49-F238E27FC236}">
                <a16:creationId xmlns:a16="http://schemas.microsoft.com/office/drawing/2014/main" id="{8A54286C-C507-784C-92DE-AC43B04F4310}"/>
              </a:ext>
            </a:extLst>
          </p:cNvPr>
          <p:cNvSpPr txBox="1"/>
          <p:nvPr/>
        </p:nvSpPr>
        <p:spPr>
          <a:xfrm>
            <a:off x="8880129" y="5112898"/>
            <a:ext cx="1345241" cy="400110"/>
          </a:xfrm>
          <a:prstGeom prst="rect">
            <a:avLst/>
          </a:prstGeom>
          <a:noFill/>
        </p:spPr>
        <p:txBody>
          <a:bodyPr wrap="none" rtlCol="0">
            <a:spAutoFit/>
          </a:bodyPr>
          <a:lstStyle/>
          <a:p>
            <a:pPr algn="ctr"/>
            <a:r>
              <a:rPr lang="en-LT" sz="2000" b="1" spc="300">
                <a:solidFill>
                  <a:schemeClr val="bg1"/>
                </a:solidFill>
                <a:latin typeface="Montserrat" pitchFamily="2" charset="77"/>
              </a:rPr>
              <a:t>STEP 4</a:t>
            </a:r>
          </a:p>
        </p:txBody>
      </p:sp>
      <p:sp>
        <p:nvSpPr>
          <p:cNvPr id="54" name="TextBox 53">
            <a:extLst>
              <a:ext uri="{FF2B5EF4-FFF2-40B4-BE49-F238E27FC236}">
                <a16:creationId xmlns:a16="http://schemas.microsoft.com/office/drawing/2014/main" id="{E3CA459F-0A36-4C48-A6D0-1997CECE140A}"/>
              </a:ext>
            </a:extLst>
          </p:cNvPr>
          <p:cNvSpPr txBox="1"/>
          <p:nvPr/>
        </p:nvSpPr>
        <p:spPr>
          <a:xfrm>
            <a:off x="8936233" y="5436784"/>
            <a:ext cx="1233030" cy="523220"/>
          </a:xfrm>
          <a:prstGeom prst="rect">
            <a:avLst/>
          </a:prstGeom>
          <a:noFill/>
        </p:spPr>
        <p:txBody>
          <a:bodyPr wrap="none" rtlCol="0">
            <a:spAutoFit/>
          </a:bodyPr>
          <a:lstStyle/>
          <a:p>
            <a:pPr algn="ctr"/>
            <a:r>
              <a:rPr lang="en-LT" sz="1400">
                <a:solidFill>
                  <a:schemeClr val="bg1"/>
                </a:solidFill>
                <a:latin typeface="Montserrat" pitchFamily="2" charset="77"/>
              </a:rPr>
              <a:t>Insert more</a:t>
            </a:r>
          </a:p>
          <a:p>
            <a:pPr algn="ctr"/>
            <a:r>
              <a:rPr lang="en-GB" sz="1400">
                <a:solidFill>
                  <a:schemeClr val="bg1"/>
                </a:solidFill>
                <a:latin typeface="Montserrat" pitchFamily="2" charset="77"/>
              </a:rPr>
              <a:t>info</a:t>
            </a:r>
            <a:r>
              <a:rPr lang="en-LT" sz="1400">
                <a:solidFill>
                  <a:schemeClr val="bg1"/>
                </a:solidFill>
                <a:latin typeface="Montserrat" pitchFamily="2" charset="77"/>
              </a:rPr>
              <a:t> here</a:t>
            </a:r>
          </a:p>
        </p:txBody>
      </p:sp>
      <p:grpSp>
        <p:nvGrpSpPr>
          <p:cNvPr id="55" name="Graphic 43">
            <a:extLst>
              <a:ext uri="{FF2B5EF4-FFF2-40B4-BE49-F238E27FC236}">
                <a16:creationId xmlns:a16="http://schemas.microsoft.com/office/drawing/2014/main" id="{7251C5B3-8865-8648-8E58-BAEDD8F0A253}"/>
              </a:ext>
            </a:extLst>
          </p:cNvPr>
          <p:cNvGrpSpPr/>
          <p:nvPr/>
        </p:nvGrpSpPr>
        <p:grpSpPr>
          <a:xfrm rot="269299" flipV="1">
            <a:off x="7472552" y="2216626"/>
            <a:ext cx="1458826" cy="482830"/>
            <a:chOff x="5270499" y="2952750"/>
            <a:chExt cx="1652160" cy="946643"/>
          </a:xfrm>
          <a:solidFill>
            <a:schemeClr val="bg1"/>
          </a:solidFill>
        </p:grpSpPr>
        <p:sp>
          <p:nvSpPr>
            <p:cNvPr id="56" name="Freeform 55">
              <a:extLst>
                <a:ext uri="{FF2B5EF4-FFF2-40B4-BE49-F238E27FC236}">
                  <a16:creationId xmlns:a16="http://schemas.microsoft.com/office/drawing/2014/main" id="{CE452365-C244-BF4D-A93C-1012104124F4}"/>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57" name="Freeform 56">
              <a:extLst>
                <a:ext uri="{FF2B5EF4-FFF2-40B4-BE49-F238E27FC236}">
                  <a16:creationId xmlns:a16="http://schemas.microsoft.com/office/drawing/2014/main" id="{9431269C-929B-314E-BC39-0CFAAC0D8CF7}"/>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58" name="Graphic 43">
            <a:extLst>
              <a:ext uri="{FF2B5EF4-FFF2-40B4-BE49-F238E27FC236}">
                <a16:creationId xmlns:a16="http://schemas.microsoft.com/office/drawing/2014/main" id="{B84ECF4B-84E3-DF4E-BB6E-F86CFBFD7053}"/>
              </a:ext>
            </a:extLst>
          </p:cNvPr>
          <p:cNvGrpSpPr/>
          <p:nvPr/>
        </p:nvGrpSpPr>
        <p:grpSpPr>
          <a:xfrm rot="2571606" flipV="1">
            <a:off x="7406172" y="4110037"/>
            <a:ext cx="1356455" cy="777212"/>
            <a:chOff x="5270499" y="2952750"/>
            <a:chExt cx="1652160" cy="946643"/>
          </a:xfrm>
          <a:solidFill>
            <a:schemeClr val="bg1"/>
          </a:solidFill>
        </p:grpSpPr>
        <p:sp>
          <p:nvSpPr>
            <p:cNvPr id="59" name="Freeform 58">
              <a:extLst>
                <a:ext uri="{FF2B5EF4-FFF2-40B4-BE49-F238E27FC236}">
                  <a16:creationId xmlns:a16="http://schemas.microsoft.com/office/drawing/2014/main" id="{11D38C79-8A61-2042-9F8F-3234681A1F9B}"/>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60" name="Freeform 59">
              <a:extLst>
                <a:ext uri="{FF2B5EF4-FFF2-40B4-BE49-F238E27FC236}">
                  <a16:creationId xmlns:a16="http://schemas.microsoft.com/office/drawing/2014/main" id="{167C7498-97A4-3C48-B861-751AED3F611E}"/>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61" name="Graphic 43">
            <a:extLst>
              <a:ext uri="{FF2B5EF4-FFF2-40B4-BE49-F238E27FC236}">
                <a16:creationId xmlns:a16="http://schemas.microsoft.com/office/drawing/2014/main" id="{2B524607-E17C-1440-82A6-159F5D5C6EE7}"/>
              </a:ext>
            </a:extLst>
          </p:cNvPr>
          <p:cNvGrpSpPr/>
          <p:nvPr/>
        </p:nvGrpSpPr>
        <p:grpSpPr>
          <a:xfrm rot="417027" flipH="1" flipV="1">
            <a:off x="3858043" y="2373351"/>
            <a:ext cx="1396237" cy="528243"/>
            <a:chOff x="5270499" y="2952750"/>
            <a:chExt cx="1652160" cy="946643"/>
          </a:xfrm>
          <a:solidFill>
            <a:schemeClr val="bg1"/>
          </a:solidFill>
        </p:grpSpPr>
        <p:sp>
          <p:nvSpPr>
            <p:cNvPr id="62" name="Freeform 61">
              <a:extLst>
                <a:ext uri="{FF2B5EF4-FFF2-40B4-BE49-F238E27FC236}">
                  <a16:creationId xmlns:a16="http://schemas.microsoft.com/office/drawing/2014/main" id="{0BC5ED0C-126C-FC43-9F7A-3D62890A2122}"/>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63" name="Freeform 62">
              <a:extLst>
                <a:ext uri="{FF2B5EF4-FFF2-40B4-BE49-F238E27FC236}">
                  <a16:creationId xmlns:a16="http://schemas.microsoft.com/office/drawing/2014/main" id="{D2794B94-D992-BB4E-9C2D-1397A29AC9F1}"/>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64" name="Graphic 43">
            <a:extLst>
              <a:ext uri="{FF2B5EF4-FFF2-40B4-BE49-F238E27FC236}">
                <a16:creationId xmlns:a16="http://schemas.microsoft.com/office/drawing/2014/main" id="{5BAB5CBC-B660-324C-BB51-20FA989BC212}"/>
              </a:ext>
            </a:extLst>
          </p:cNvPr>
          <p:cNvGrpSpPr/>
          <p:nvPr/>
        </p:nvGrpSpPr>
        <p:grpSpPr>
          <a:xfrm rot="19028394" flipH="1" flipV="1">
            <a:off x="4061834" y="4110037"/>
            <a:ext cx="1356455" cy="777212"/>
            <a:chOff x="5270499" y="2952750"/>
            <a:chExt cx="1652160" cy="946643"/>
          </a:xfrm>
          <a:solidFill>
            <a:schemeClr val="bg1"/>
          </a:solidFill>
        </p:grpSpPr>
        <p:sp>
          <p:nvSpPr>
            <p:cNvPr id="65" name="Freeform 64">
              <a:extLst>
                <a:ext uri="{FF2B5EF4-FFF2-40B4-BE49-F238E27FC236}">
                  <a16:creationId xmlns:a16="http://schemas.microsoft.com/office/drawing/2014/main" id="{E9C6A76D-0412-3049-8E6F-E8799387CD7B}"/>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66" name="Freeform 65">
              <a:extLst>
                <a:ext uri="{FF2B5EF4-FFF2-40B4-BE49-F238E27FC236}">
                  <a16:creationId xmlns:a16="http://schemas.microsoft.com/office/drawing/2014/main" id="{8074F27A-A333-E342-B51B-5249EA62599D}"/>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pic>
        <p:nvPicPr>
          <p:cNvPr id="67" name="Graphic 66">
            <a:extLst>
              <a:ext uri="{FF2B5EF4-FFF2-40B4-BE49-F238E27FC236}">
                <a16:creationId xmlns:a16="http://schemas.microsoft.com/office/drawing/2014/main" id="{C133E10E-E8E2-E24B-95CA-FAC2C3B4DF8D}"/>
              </a:ext>
            </a:extLst>
          </p:cNvPr>
          <p:cNvPicPr>
            <a:picLocks noChangeAspect="1"/>
          </p:cNvPicPr>
          <p:nvPr/>
        </p:nvPicPr>
        <p:blipFill>
          <a:blip r:embed="rId27">
            <a:extLst>
              <a:ext uri="{96DAC541-7B7A-43D3-8B79-37D633B846F1}">
                <asvg:svgBlip xmlns="" xmlns:asvg="http://schemas.microsoft.com/office/drawing/2016/SVG/main" r:embed="rId28"/>
              </a:ext>
            </a:extLst>
          </a:blip>
          <a:stretch>
            <a:fillRect/>
          </a:stretch>
        </p:blipFill>
        <p:spPr>
          <a:xfrm rot="21540000">
            <a:off x="4238566" y="1166190"/>
            <a:ext cx="4479188" cy="161337"/>
          </a:xfrm>
          <a:prstGeom prst="rect">
            <a:avLst/>
          </a:prstGeom>
        </p:spPr>
      </p:pic>
      <p:grpSp>
        <p:nvGrpSpPr>
          <p:cNvPr id="68" name="!!lamp">
            <a:extLst>
              <a:ext uri="{FF2B5EF4-FFF2-40B4-BE49-F238E27FC236}">
                <a16:creationId xmlns:a16="http://schemas.microsoft.com/office/drawing/2014/main" id="{092E1391-7379-534C-95EA-5FDCFA24946F}"/>
              </a:ext>
            </a:extLst>
          </p:cNvPr>
          <p:cNvGrpSpPr/>
          <p:nvPr/>
        </p:nvGrpSpPr>
        <p:grpSpPr>
          <a:xfrm>
            <a:off x="5383797" y="2504750"/>
            <a:ext cx="1974089" cy="1921526"/>
            <a:chOff x="5105414" y="2463804"/>
            <a:chExt cx="1974089" cy="1921526"/>
          </a:xfrm>
          <a:solidFill>
            <a:schemeClr val="bg1"/>
          </a:solidFill>
        </p:grpSpPr>
        <p:sp>
          <p:nvSpPr>
            <p:cNvPr id="69" name="Freeform 68">
              <a:extLst>
                <a:ext uri="{FF2B5EF4-FFF2-40B4-BE49-F238E27FC236}">
                  <a16:creationId xmlns:a16="http://schemas.microsoft.com/office/drawing/2014/main" id="{FE818357-9A56-3F44-A3F9-1776BADE0B61}"/>
                </a:ext>
              </a:extLst>
            </p:cNvPr>
            <p:cNvSpPr/>
            <p:nvPr/>
          </p:nvSpPr>
          <p:spPr>
            <a:xfrm>
              <a:off x="5249687" y="2612395"/>
              <a:ext cx="1670533" cy="1671185"/>
            </a:xfrm>
            <a:custGeom>
              <a:avLst/>
              <a:gdLst>
                <a:gd name="connsiteX0" fmla="*/ 598272 w 1670533"/>
                <a:gd name="connsiteY0" fmla="*/ 1371675 h 1671185"/>
                <a:gd name="connsiteX1" fmla="*/ 533022 w 1670533"/>
                <a:gd name="connsiteY1" fmla="*/ 1330507 h 1671185"/>
                <a:gd name="connsiteX2" fmla="*/ 527611 w 1670533"/>
                <a:gd name="connsiteY2" fmla="*/ 1323375 h 1671185"/>
                <a:gd name="connsiteX3" fmla="*/ 598786 w 1670533"/>
                <a:gd name="connsiteY3" fmla="*/ 1364661 h 1671185"/>
                <a:gd name="connsiteX4" fmla="*/ 610872 w 1670533"/>
                <a:gd name="connsiteY4" fmla="*/ 1343939 h 1671185"/>
                <a:gd name="connsiteX5" fmla="*/ 488824 w 1670533"/>
                <a:gd name="connsiteY5" fmla="*/ 1273134 h 1671185"/>
                <a:gd name="connsiteX6" fmla="*/ 476738 w 1670533"/>
                <a:gd name="connsiteY6" fmla="*/ 1293856 h 1671185"/>
                <a:gd name="connsiteX7" fmla="*/ 527097 w 1670533"/>
                <a:gd name="connsiteY7" fmla="*/ 1323019 h 1671185"/>
                <a:gd name="connsiteX8" fmla="*/ 522279 w 1670533"/>
                <a:gd name="connsiteY8" fmla="*/ 1321711 h 1671185"/>
                <a:gd name="connsiteX9" fmla="*/ 514655 w 1670533"/>
                <a:gd name="connsiteY9" fmla="*/ 1321473 h 1671185"/>
                <a:gd name="connsiteX10" fmla="*/ 493683 w 1670533"/>
                <a:gd name="connsiteY10" fmla="*/ 1311568 h 1671185"/>
                <a:gd name="connsiteX11" fmla="*/ 463743 w 1670533"/>
                <a:gd name="connsiteY11" fmla="*/ 1305466 h 1671185"/>
                <a:gd name="connsiteX12" fmla="*/ 445495 w 1670533"/>
                <a:gd name="connsiteY12" fmla="*/ 1308002 h 1671185"/>
                <a:gd name="connsiteX13" fmla="*/ 420217 w 1670533"/>
                <a:gd name="connsiteY13" fmla="*/ 1267627 h 1671185"/>
                <a:gd name="connsiteX14" fmla="*/ 399559 w 1670533"/>
                <a:gd name="connsiteY14" fmla="*/ 1279751 h 1671185"/>
                <a:gd name="connsiteX15" fmla="*/ 423258 w 1670533"/>
                <a:gd name="connsiteY15" fmla="*/ 1317591 h 1671185"/>
                <a:gd name="connsiteX16" fmla="*/ 414766 w 1670533"/>
                <a:gd name="connsiteY16" fmla="*/ 1323692 h 1671185"/>
                <a:gd name="connsiteX17" fmla="*/ 397347 w 1670533"/>
                <a:gd name="connsiteY17" fmla="*/ 1338749 h 1671185"/>
                <a:gd name="connsiteX18" fmla="*/ 366421 w 1670533"/>
                <a:gd name="connsiteY18" fmla="*/ 1298374 h 1671185"/>
                <a:gd name="connsiteX19" fmla="*/ 345764 w 1670533"/>
                <a:gd name="connsiteY19" fmla="*/ 1310458 h 1671185"/>
                <a:gd name="connsiteX20" fmla="*/ 379337 w 1670533"/>
                <a:gd name="connsiteY20" fmla="*/ 1354360 h 1671185"/>
                <a:gd name="connsiteX21" fmla="*/ 354058 w 1670533"/>
                <a:gd name="connsiteY21" fmla="*/ 1376271 h 1671185"/>
                <a:gd name="connsiteX22" fmla="*/ 320920 w 1670533"/>
                <a:gd name="connsiteY22" fmla="*/ 1335737 h 1671185"/>
                <a:gd name="connsiteX23" fmla="*/ 303975 w 1670533"/>
                <a:gd name="connsiteY23" fmla="*/ 1352656 h 1671185"/>
                <a:gd name="connsiteX24" fmla="*/ 336047 w 1670533"/>
                <a:gd name="connsiteY24" fmla="*/ 1391922 h 1671185"/>
                <a:gd name="connsiteX25" fmla="*/ 331071 w 1670533"/>
                <a:gd name="connsiteY25" fmla="*/ 1396201 h 1671185"/>
                <a:gd name="connsiteX26" fmla="*/ 321907 w 1670533"/>
                <a:gd name="connsiteY26" fmla="*/ 1401788 h 1671185"/>
                <a:gd name="connsiteX27" fmla="*/ 317523 w 1670533"/>
                <a:gd name="connsiteY27" fmla="*/ 1400480 h 1671185"/>
                <a:gd name="connsiteX28" fmla="*/ 316930 w 1670533"/>
                <a:gd name="connsiteY28" fmla="*/ 1399648 h 1671185"/>
                <a:gd name="connsiteX29" fmla="*/ 269059 w 1670533"/>
                <a:gd name="connsiteY29" fmla="*/ 1355707 h 1671185"/>
                <a:gd name="connsiteX30" fmla="*/ 252154 w 1670533"/>
                <a:gd name="connsiteY30" fmla="*/ 1372666 h 1671185"/>
                <a:gd name="connsiteX31" fmla="*/ 290190 w 1670533"/>
                <a:gd name="connsiteY31" fmla="*/ 1407612 h 1671185"/>
                <a:gd name="connsiteX32" fmla="*/ 270521 w 1670533"/>
                <a:gd name="connsiteY32" fmla="*/ 1401471 h 1671185"/>
                <a:gd name="connsiteX33" fmla="*/ 223953 w 1670533"/>
                <a:gd name="connsiteY33" fmla="*/ 1365296 h 1671185"/>
                <a:gd name="connsiteX34" fmla="*/ 181019 w 1670533"/>
                <a:gd name="connsiteY34" fmla="*/ 1303643 h 1671185"/>
                <a:gd name="connsiteX35" fmla="*/ 195554 w 1670533"/>
                <a:gd name="connsiteY35" fmla="*/ 1242427 h 1671185"/>
                <a:gd name="connsiteX36" fmla="*/ 300894 w 1670533"/>
                <a:gd name="connsiteY36" fmla="*/ 1156050 h 1671185"/>
                <a:gd name="connsiteX37" fmla="*/ 326094 w 1670533"/>
                <a:gd name="connsiteY37" fmla="*/ 1079341 h 1671185"/>
                <a:gd name="connsiteX38" fmla="*/ 303501 w 1670533"/>
                <a:gd name="connsiteY38" fmla="*/ 1010041 h 1671185"/>
                <a:gd name="connsiteX39" fmla="*/ 301211 w 1670533"/>
                <a:gd name="connsiteY39" fmla="*/ 1004811 h 1671185"/>
                <a:gd name="connsiteX40" fmla="*/ 300065 w 1670533"/>
                <a:gd name="connsiteY40" fmla="*/ 995223 h 1671185"/>
                <a:gd name="connsiteX41" fmla="*/ 292363 w 1670533"/>
                <a:gd name="connsiteY41" fmla="*/ 984644 h 1671185"/>
                <a:gd name="connsiteX42" fmla="*/ 271863 w 1670533"/>
                <a:gd name="connsiteY42" fmla="*/ 943714 h 1671185"/>
                <a:gd name="connsiteX43" fmla="*/ 238133 w 1670533"/>
                <a:gd name="connsiteY43" fmla="*/ 913600 h 1671185"/>
                <a:gd name="connsiteX44" fmla="*/ 242438 w 1670533"/>
                <a:gd name="connsiteY44" fmla="*/ 904408 h 1671185"/>
                <a:gd name="connsiteX45" fmla="*/ 240858 w 1670533"/>
                <a:gd name="connsiteY45" fmla="*/ 856465 h 1671185"/>
                <a:gd name="connsiteX46" fmla="*/ 216962 w 1670533"/>
                <a:gd name="connsiteY46" fmla="*/ 856465 h 1671185"/>
                <a:gd name="connsiteX47" fmla="*/ 218502 w 1670533"/>
                <a:gd name="connsiteY47" fmla="*/ 904408 h 1671185"/>
                <a:gd name="connsiteX48" fmla="*/ 219331 w 1670533"/>
                <a:gd name="connsiteY48" fmla="*/ 907895 h 1671185"/>
                <a:gd name="connsiteX49" fmla="*/ 207008 w 1670533"/>
                <a:gd name="connsiteY49" fmla="*/ 906270 h 1671185"/>
                <a:gd name="connsiteX50" fmla="*/ 182401 w 1670533"/>
                <a:gd name="connsiteY50" fmla="*/ 906270 h 1671185"/>
                <a:gd name="connsiteX51" fmla="*/ 184376 w 1670533"/>
                <a:gd name="connsiteY51" fmla="*/ 897276 h 1671185"/>
                <a:gd name="connsiteX52" fmla="*/ 176398 w 1670533"/>
                <a:gd name="connsiteY52" fmla="*/ 849294 h 1671185"/>
                <a:gd name="connsiteX53" fmla="*/ 153291 w 1670533"/>
                <a:gd name="connsiteY53" fmla="*/ 855673 h 1671185"/>
                <a:gd name="connsiteX54" fmla="*/ 161270 w 1670533"/>
                <a:gd name="connsiteY54" fmla="*/ 903655 h 1671185"/>
                <a:gd name="connsiteX55" fmla="*/ 162258 w 1670533"/>
                <a:gd name="connsiteY55" fmla="*/ 906270 h 1671185"/>
                <a:gd name="connsiteX56" fmla="*/ 121062 w 1670533"/>
                <a:gd name="connsiteY56" fmla="*/ 906270 h 1671185"/>
                <a:gd name="connsiteX57" fmla="*/ 117388 w 1670533"/>
                <a:gd name="connsiteY57" fmla="*/ 856465 h 1671185"/>
                <a:gd name="connsiteX58" fmla="*/ 93492 w 1670533"/>
                <a:gd name="connsiteY58" fmla="*/ 856465 h 1671185"/>
                <a:gd name="connsiteX59" fmla="*/ 97166 w 1670533"/>
                <a:gd name="connsiteY59" fmla="*/ 906270 h 1671185"/>
                <a:gd name="connsiteX60" fmla="*/ 80814 w 1670533"/>
                <a:gd name="connsiteY60" fmla="*/ 906270 h 1671185"/>
                <a:gd name="connsiteX61" fmla="*/ 76666 w 1670533"/>
                <a:gd name="connsiteY61" fmla="*/ 905914 h 1671185"/>
                <a:gd name="connsiteX62" fmla="*/ 76666 w 1670533"/>
                <a:gd name="connsiteY62" fmla="*/ 905240 h 1671185"/>
                <a:gd name="connsiteX63" fmla="*/ 68688 w 1670533"/>
                <a:gd name="connsiteY63" fmla="*/ 857297 h 1671185"/>
                <a:gd name="connsiteX64" fmla="*/ 45621 w 1670533"/>
                <a:gd name="connsiteY64" fmla="*/ 863676 h 1671185"/>
                <a:gd name="connsiteX65" fmla="*/ 51151 w 1670533"/>
                <a:gd name="connsiteY65" fmla="*/ 896801 h 1671185"/>
                <a:gd name="connsiteX66" fmla="*/ 30178 w 1670533"/>
                <a:gd name="connsiteY66" fmla="*/ 865697 h 1671185"/>
                <a:gd name="connsiteX67" fmla="*/ 23029 w 1670533"/>
                <a:gd name="connsiteY67" fmla="*/ 794575 h 1671185"/>
                <a:gd name="connsiteX68" fmla="*/ 25991 w 1670533"/>
                <a:gd name="connsiteY68" fmla="*/ 759272 h 1671185"/>
                <a:gd name="connsiteX69" fmla="*/ 76113 w 1670533"/>
                <a:gd name="connsiteY69" fmla="*/ 716163 h 1671185"/>
                <a:gd name="connsiteX70" fmla="*/ 201242 w 1670533"/>
                <a:gd name="connsiteY70" fmla="*/ 713745 h 1671185"/>
                <a:gd name="connsiteX71" fmla="*/ 256301 w 1670533"/>
                <a:gd name="connsiteY71" fmla="*/ 688030 h 1671185"/>
                <a:gd name="connsiteX72" fmla="*/ 291691 w 1670533"/>
                <a:gd name="connsiteY72" fmla="*/ 633272 h 1671185"/>
                <a:gd name="connsiteX73" fmla="*/ 312072 w 1670533"/>
                <a:gd name="connsiteY73" fmla="*/ 569362 h 1671185"/>
                <a:gd name="connsiteX74" fmla="*/ 303777 w 1670533"/>
                <a:gd name="connsiteY74" fmla="*/ 522449 h 1671185"/>
                <a:gd name="connsiteX75" fmla="*/ 303383 w 1670533"/>
                <a:gd name="connsiteY75" fmla="*/ 516624 h 1671185"/>
                <a:gd name="connsiteX76" fmla="*/ 310808 w 1670533"/>
                <a:gd name="connsiteY76" fmla="*/ 510760 h 1671185"/>
                <a:gd name="connsiteX77" fmla="*/ 318787 w 1670533"/>
                <a:gd name="connsiteY77" fmla="*/ 494752 h 1671185"/>
                <a:gd name="connsiteX78" fmla="*/ 298169 w 1670533"/>
                <a:gd name="connsiteY78" fmla="*/ 482668 h 1671185"/>
                <a:gd name="connsiteX79" fmla="*/ 290151 w 1670533"/>
                <a:gd name="connsiteY79" fmla="*/ 498636 h 1671185"/>
                <a:gd name="connsiteX80" fmla="*/ 289045 w 1670533"/>
                <a:gd name="connsiteY80" fmla="*/ 502717 h 1671185"/>
                <a:gd name="connsiteX81" fmla="*/ 288176 w 1670533"/>
                <a:gd name="connsiteY81" fmla="*/ 501686 h 1671185"/>
                <a:gd name="connsiteX82" fmla="*/ 275181 w 1670533"/>
                <a:gd name="connsiteY82" fmla="*/ 491662 h 1671185"/>
                <a:gd name="connsiteX83" fmla="*/ 275221 w 1670533"/>
                <a:gd name="connsiteY83" fmla="*/ 491622 h 1671185"/>
                <a:gd name="connsiteX84" fmla="*/ 287109 w 1670533"/>
                <a:gd name="connsiteY84" fmla="*/ 451643 h 1671185"/>
                <a:gd name="connsiteX85" fmla="*/ 264043 w 1670533"/>
                <a:gd name="connsiteY85" fmla="*/ 445264 h 1671185"/>
                <a:gd name="connsiteX86" fmla="*/ 254761 w 1670533"/>
                <a:gd name="connsiteY86" fmla="*/ 476328 h 1671185"/>
                <a:gd name="connsiteX87" fmla="*/ 229522 w 1670533"/>
                <a:gd name="connsiteY87" fmla="*/ 457389 h 1671185"/>
                <a:gd name="connsiteX88" fmla="*/ 227271 w 1670533"/>
                <a:gd name="connsiteY88" fmla="*/ 455685 h 1671185"/>
                <a:gd name="connsiteX89" fmla="*/ 239397 w 1670533"/>
                <a:gd name="connsiteY89" fmla="*/ 407742 h 1671185"/>
                <a:gd name="connsiteX90" fmla="*/ 216330 w 1670533"/>
                <a:gd name="connsiteY90" fmla="*/ 401363 h 1671185"/>
                <a:gd name="connsiteX91" fmla="*/ 206495 w 1670533"/>
                <a:gd name="connsiteY91" fmla="*/ 440113 h 1671185"/>
                <a:gd name="connsiteX92" fmla="*/ 189037 w 1670533"/>
                <a:gd name="connsiteY92" fmla="*/ 426998 h 1671185"/>
                <a:gd name="connsiteX93" fmla="*/ 190735 w 1670533"/>
                <a:gd name="connsiteY93" fmla="*/ 423512 h 1671185"/>
                <a:gd name="connsiteX94" fmla="*/ 203454 w 1670533"/>
                <a:gd name="connsiteY94" fmla="*/ 375767 h 1671185"/>
                <a:gd name="connsiteX95" fmla="*/ 183547 w 1670533"/>
                <a:gd name="connsiteY95" fmla="*/ 364038 h 1671185"/>
                <a:gd name="connsiteX96" fmla="*/ 252193 w 1670533"/>
                <a:gd name="connsiteY96" fmla="*/ 278652 h 1671185"/>
                <a:gd name="connsiteX97" fmla="*/ 273088 w 1670533"/>
                <a:gd name="connsiteY97" fmla="*/ 261179 h 1671185"/>
                <a:gd name="connsiteX98" fmla="*/ 340392 w 1670533"/>
                <a:gd name="connsiteY98" fmla="*/ 257494 h 1671185"/>
                <a:gd name="connsiteX99" fmla="*/ 446996 w 1670533"/>
                <a:gd name="connsiteY99" fmla="*/ 339512 h 1671185"/>
                <a:gd name="connsiteX100" fmla="*/ 492497 w 1670533"/>
                <a:gd name="connsiteY100" fmla="*/ 355084 h 1671185"/>
                <a:gd name="connsiteX101" fmla="*/ 496724 w 1670533"/>
                <a:gd name="connsiteY101" fmla="*/ 354965 h 1671185"/>
                <a:gd name="connsiteX102" fmla="*/ 580419 w 1670533"/>
                <a:gd name="connsiteY102" fmla="*/ 325248 h 1671185"/>
                <a:gd name="connsiteX103" fmla="*/ 588951 w 1670533"/>
                <a:gd name="connsiteY103" fmla="*/ 319503 h 1671185"/>
                <a:gd name="connsiteX104" fmla="*/ 590334 w 1670533"/>
                <a:gd name="connsiteY104" fmla="*/ 316611 h 1671185"/>
                <a:gd name="connsiteX105" fmla="*/ 632872 w 1670533"/>
                <a:gd name="connsiteY105" fmla="*/ 256900 h 1671185"/>
                <a:gd name="connsiteX106" fmla="*/ 634768 w 1670533"/>
                <a:gd name="connsiteY106" fmla="*/ 250917 h 1671185"/>
                <a:gd name="connsiteX107" fmla="*/ 683547 w 1670533"/>
                <a:gd name="connsiteY107" fmla="*/ 232968 h 1671185"/>
                <a:gd name="connsiteX108" fmla="*/ 666603 w 1670533"/>
                <a:gd name="connsiteY108" fmla="*/ 216009 h 1671185"/>
                <a:gd name="connsiteX109" fmla="*/ 637888 w 1670533"/>
                <a:gd name="connsiteY109" fmla="*/ 227381 h 1671185"/>
                <a:gd name="connsiteX110" fmla="*/ 636901 w 1670533"/>
                <a:gd name="connsiteY110" fmla="*/ 217436 h 1671185"/>
                <a:gd name="connsiteX111" fmla="*/ 634413 w 1670533"/>
                <a:gd name="connsiteY111" fmla="*/ 202458 h 1671185"/>
                <a:gd name="connsiteX112" fmla="*/ 675569 w 1670533"/>
                <a:gd name="connsiteY112" fmla="*/ 201864 h 1671185"/>
                <a:gd name="connsiteX113" fmla="*/ 675569 w 1670533"/>
                <a:gd name="connsiteY113" fmla="*/ 177893 h 1671185"/>
                <a:gd name="connsiteX114" fmla="*/ 630463 w 1670533"/>
                <a:gd name="connsiteY114" fmla="*/ 178566 h 1671185"/>
                <a:gd name="connsiteX115" fmla="*/ 625802 w 1670533"/>
                <a:gd name="connsiteY115" fmla="*/ 150553 h 1671185"/>
                <a:gd name="connsiteX116" fmla="*/ 675687 w 1670533"/>
                <a:gd name="connsiteY116" fmla="*/ 147026 h 1671185"/>
                <a:gd name="connsiteX117" fmla="*/ 675687 w 1670533"/>
                <a:gd name="connsiteY117" fmla="*/ 123055 h 1671185"/>
                <a:gd name="connsiteX118" fmla="*/ 621813 w 1670533"/>
                <a:gd name="connsiteY118" fmla="*/ 126819 h 1671185"/>
                <a:gd name="connsiteX119" fmla="*/ 617389 w 1670533"/>
                <a:gd name="connsiteY119" fmla="*/ 100153 h 1671185"/>
                <a:gd name="connsiteX120" fmla="*/ 666880 w 1670533"/>
                <a:gd name="connsiteY120" fmla="*/ 93259 h 1671185"/>
                <a:gd name="connsiteX121" fmla="*/ 660481 w 1670533"/>
                <a:gd name="connsiteY121" fmla="*/ 70160 h 1671185"/>
                <a:gd name="connsiteX122" fmla="*/ 617231 w 1670533"/>
                <a:gd name="connsiteY122" fmla="*/ 76143 h 1671185"/>
                <a:gd name="connsiteX123" fmla="*/ 651120 w 1670533"/>
                <a:gd name="connsiteY123" fmla="*/ 38145 h 1671185"/>
                <a:gd name="connsiteX124" fmla="*/ 702862 w 1670533"/>
                <a:gd name="connsiteY124" fmla="*/ 25901 h 1671185"/>
                <a:gd name="connsiteX125" fmla="*/ 798012 w 1670533"/>
                <a:gd name="connsiteY125" fmla="*/ 28278 h 1671185"/>
                <a:gd name="connsiteX126" fmla="*/ 840591 w 1670533"/>
                <a:gd name="connsiteY126" fmla="*/ 74121 h 1671185"/>
                <a:gd name="connsiteX127" fmla="*/ 849516 w 1670533"/>
                <a:gd name="connsiteY127" fmla="*/ 161132 h 1671185"/>
                <a:gd name="connsiteX128" fmla="*/ 870924 w 1670533"/>
                <a:gd name="connsiteY128" fmla="*/ 206421 h 1671185"/>
                <a:gd name="connsiteX129" fmla="*/ 924206 w 1670533"/>
                <a:gd name="connsiteY129" fmla="*/ 241368 h 1671185"/>
                <a:gd name="connsiteX130" fmla="*/ 1046807 w 1670533"/>
                <a:gd name="connsiteY130" fmla="*/ 243784 h 1671185"/>
                <a:gd name="connsiteX131" fmla="*/ 1078010 w 1670533"/>
                <a:gd name="connsiteY131" fmla="*/ 223617 h 1671185"/>
                <a:gd name="connsiteX132" fmla="*/ 1107989 w 1670533"/>
                <a:gd name="connsiteY132" fmla="*/ 240060 h 1671185"/>
                <a:gd name="connsiteX133" fmla="*/ 1120036 w 1670533"/>
                <a:gd name="connsiteY133" fmla="*/ 219338 h 1671185"/>
                <a:gd name="connsiteX134" fmla="*/ 1091913 w 1670533"/>
                <a:gd name="connsiteY134" fmla="*/ 203924 h 1671185"/>
                <a:gd name="connsiteX135" fmla="*/ 1099971 w 1670533"/>
                <a:gd name="connsiteY135" fmla="*/ 190215 h 1671185"/>
                <a:gd name="connsiteX136" fmla="*/ 1147724 w 1670533"/>
                <a:gd name="connsiteY136" fmla="*/ 212483 h 1671185"/>
                <a:gd name="connsiteX137" fmla="*/ 1159811 w 1670533"/>
                <a:gd name="connsiteY137" fmla="*/ 191761 h 1671185"/>
                <a:gd name="connsiteX138" fmla="*/ 1112137 w 1670533"/>
                <a:gd name="connsiteY138" fmla="*/ 169572 h 1671185"/>
                <a:gd name="connsiteX139" fmla="*/ 1128449 w 1670533"/>
                <a:gd name="connsiteY139" fmla="*/ 141836 h 1671185"/>
                <a:gd name="connsiteX140" fmla="*/ 1188051 w 1670533"/>
                <a:gd name="connsiteY140" fmla="*/ 175515 h 1671185"/>
                <a:gd name="connsiteX141" fmla="*/ 1200137 w 1670533"/>
                <a:gd name="connsiteY141" fmla="*/ 154832 h 1671185"/>
                <a:gd name="connsiteX142" fmla="*/ 1140614 w 1670533"/>
                <a:gd name="connsiteY142" fmla="*/ 121193 h 1671185"/>
                <a:gd name="connsiteX143" fmla="*/ 1146380 w 1670533"/>
                <a:gd name="connsiteY143" fmla="*/ 111367 h 1671185"/>
                <a:gd name="connsiteX144" fmla="*/ 1158309 w 1670533"/>
                <a:gd name="connsiteY144" fmla="*/ 97855 h 1671185"/>
                <a:gd name="connsiteX145" fmla="*/ 1164313 w 1670533"/>
                <a:gd name="connsiteY145" fmla="*/ 107166 h 1671185"/>
                <a:gd name="connsiteX146" fmla="*/ 1236199 w 1670533"/>
                <a:gd name="connsiteY146" fmla="*/ 139063 h 1671185"/>
                <a:gd name="connsiteX147" fmla="*/ 1248245 w 1670533"/>
                <a:gd name="connsiteY147" fmla="*/ 118380 h 1671185"/>
                <a:gd name="connsiteX148" fmla="*/ 1178848 w 1670533"/>
                <a:gd name="connsiteY148" fmla="*/ 87554 h 1671185"/>
                <a:gd name="connsiteX149" fmla="*/ 1197768 w 1670533"/>
                <a:gd name="connsiteY149" fmla="*/ 86286 h 1671185"/>
                <a:gd name="connsiteX150" fmla="*/ 1258633 w 1670533"/>
                <a:gd name="connsiteY150" fmla="*/ 105859 h 1671185"/>
                <a:gd name="connsiteX151" fmla="*/ 1332099 w 1670533"/>
                <a:gd name="connsiteY151" fmla="*/ 168621 h 1671185"/>
                <a:gd name="connsiteX152" fmla="*/ 1333284 w 1670533"/>
                <a:gd name="connsiteY152" fmla="*/ 226351 h 1671185"/>
                <a:gd name="connsiteX153" fmla="*/ 1273169 w 1670533"/>
                <a:gd name="connsiteY153" fmla="*/ 320335 h 1671185"/>
                <a:gd name="connsiteX154" fmla="*/ 1265308 w 1670533"/>
                <a:gd name="connsiteY154" fmla="*/ 385078 h 1671185"/>
                <a:gd name="connsiteX155" fmla="*/ 1300461 w 1670533"/>
                <a:gd name="connsiteY155" fmla="*/ 457111 h 1671185"/>
                <a:gd name="connsiteX156" fmla="*/ 1338695 w 1670533"/>
                <a:gd name="connsiteY156" fmla="*/ 503984 h 1671185"/>
                <a:gd name="connsiteX157" fmla="*/ 1405209 w 1670533"/>
                <a:gd name="connsiteY157" fmla="*/ 524548 h 1671185"/>
                <a:gd name="connsiteX158" fmla="*/ 1429026 w 1670533"/>
                <a:gd name="connsiteY158" fmla="*/ 588222 h 1671185"/>
                <a:gd name="connsiteX159" fmla="*/ 1452133 w 1670533"/>
                <a:gd name="connsiteY159" fmla="*/ 581843 h 1671185"/>
                <a:gd name="connsiteX160" fmla="*/ 1428196 w 1670533"/>
                <a:gd name="connsiteY160" fmla="*/ 517892 h 1671185"/>
                <a:gd name="connsiteX161" fmla="*/ 1427841 w 1670533"/>
                <a:gd name="connsiteY161" fmla="*/ 517297 h 1671185"/>
                <a:gd name="connsiteX162" fmla="*/ 1466825 w 1670533"/>
                <a:gd name="connsiteY162" fmla="*/ 501845 h 1671185"/>
                <a:gd name="connsiteX163" fmla="*/ 1467141 w 1670533"/>
                <a:gd name="connsiteY163" fmla="*/ 510760 h 1671185"/>
                <a:gd name="connsiteX164" fmla="*/ 1491117 w 1670533"/>
                <a:gd name="connsiteY164" fmla="*/ 566746 h 1671185"/>
                <a:gd name="connsiteX165" fmla="*/ 1511773 w 1670533"/>
                <a:gd name="connsiteY165" fmla="*/ 554622 h 1671185"/>
                <a:gd name="connsiteX166" fmla="*/ 1487838 w 1670533"/>
                <a:gd name="connsiteY166" fmla="*/ 498675 h 1671185"/>
                <a:gd name="connsiteX167" fmla="*/ 1484995 w 1670533"/>
                <a:gd name="connsiteY167" fmla="*/ 494634 h 1671185"/>
                <a:gd name="connsiteX168" fmla="*/ 1519357 w 1670533"/>
                <a:gd name="connsiteY168" fmla="*/ 481043 h 1671185"/>
                <a:gd name="connsiteX169" fmla="*/ 1533813 w 1670533"/>
                <a:gd name="connsiteY169" fmla="*/ 531879 h 1671185"/>
                <a:gd name="connsiteX170" fmla="*/ 1556919 w 1670533"/>
                <a:gd name="connsiteY170" fmla="*/ 525499 h 1671185"/>
                <a:gd name="connsiteX171" fmla="*/ 1541989 w 1670533"/>
                <a:gd name="connsiteY171" fmla="*/ 473158 h 1671185"/>
                <a:gd name="connsiteX172" fmla="*/ 1565253 w 1670533"/>
                <a:gd name="connsiteY172" fmla="*/ 472326 h 1671185"/>
                <a:gd name="connsiteX173" fmla="*/ 1565727 w 1670533"/>
                <a:gd name="connsiteY173" fmla="*/ 475892 h 1671185"/>
                <a:gd name="connsiteX174" fmla="*/ 1589703 w 1670533"/>
                <a:gd name="connsiteY174" fmla="*/ 543884 h 1671185"/>
                <a:gd name="connsiteX175" fmla="*/ 1612769 w 1670533"/>
                <a:gd name="connsiteY175" fmla="*/ 537505 h 1671185"/>
                <a:gd name="connsiteX176" fmla="*/ 1597326 w 1670533"/>
                <a:gd name="connsiteY176" fmla="*/ 493722 h 1671185"/>
                <a:gd name="connsiteX177" fmla="*/ 1623236 w 1670533"/>
                <a:gd name="connsiteY177" fmla="*/ 532711 h 1671185"/>
                <a:gd name="connsiteX178" fmla="*/ 1635441 w 1670533"/>
                <a:gd name="connsiteY178" fmla="*/ 624952 h 1671185"/>
                <a:gd name="connsiteX179" fmla="*/ 1603922 w 1670533"/>
                <a:gd name="connsiteY179" fmla="*/ 664336 h 1671185"/>
                <a:gd name="connsiteX180" fmla="*/ 1466351 w 1670533"/>
                <a:gd name="connsiteY180" fmla="*/ 720560 h 1671185"/>
                <a:gd name="connsiteX181" fmla="*/ 1425431 w 1670533"/>
                <a:gd name="connsiteY181" fmla="*/ 761292 h 1671185"/>
                <a:gd name="connsiteX182" fmla="*/ 1410264 w 1670533"/>
                <a:gd name="connsiteY182" fmla="*/ 832573 h 1671185"/>
                <a:gd name="connsiteX183" fmla="*/ 1423101 w 1670533"/>
                <a:gd name="connsiteY183" fmla="*/ 909282 h 1671185"/>
                <a:gd name="connsiteX184" fmla="*/ 1444984 w 1670533"/>
                <a:gd name="connsiteY184" fmla="*/ 939672 h 1671185"/>
                <a:gd name="connsiteX185" fmla="*/ 1422588 w 1670533"/>
                <a:gd name="connsiteY185" fmla="*/ 1017371 h 1671185"/>
                <a:gd name="connsiteX186" fmla="*/ 1445693 w 1670533"/>
                <a:gd name="connsiteY186" fmla="*/ 1023711 h 1671185"/>
                <a:gd name="connsiteX187" fmla="*/ 1466114 w 1670533"/>
                <a:gd name="connsiteY187" fmla="*/ 952747 h 1671185"/>
                <a:gd name="connsiteX188" fmla="*/ 1487047 w 1670533"/>
                <a:gd name="connsiteY188" fmla="*/ 963049 h 1671185"/>
                <a:gd name="connsiteX189" fmla="*/ 1485153 w 1670533"/>
                <a:gd name="connsiteY189" fmla="*/ 968398 h 1671185"/>
                <a:gd name="connsiteX190" fmla="*/ 1477332 w 1670533"/>
                <a:gd name="connsiteY190" fmla="*/ 1040352 h 1671185"/>
                <a:gd name="connsiteX191" fmla="*/ 1501267 w 1670533"/>
                <a:gd name="connsiteY191" fmla="*/ 1040352 h 1671185"/>
                <a:gd name="connsiteX192" fmla="*/ 1508534 w 1670533"/>
                <a:gd name="connsiteY192" fmla="*/ 973629 h 1671185"/>
                <a:gd name="connsiteX193" fmla="*/ 1535354 w 1670533"/>
                <a:gd name="connsiteY193" fmla="*/ 986783 h 1671185"/>
                <a:gd name="connsiteX194" fmla="*/ 1533813 w 1670533"/>
                <a:gd name="connsiteY194" fmla="*/ 989240 h 1671185"/>
                <a:gd name="connsiteX195" fmla="*/ 1509877 w 1670533"/>
                <a:gd name="connsiteY195" fmla="*/ 1053190 h 1671185"/>
                <a:gd name="connsiteX196" fmla="*/ 1532944 w 1670533"/>
                <a:gd name="connsiteY196" fmla="*/ 1059530 h 1671185"/>
                <a:gd name="connsiteX197" fmla="*/ 1556327 w 1670533"/>
                <a:gd name="connsiteY197" fmla="*/ 997124 h 1671185"/>
                <a:gd name="connsiteX198" fmla="*/ 1591046 w 1670533"/>
                <a:gd name="connsiteY198" fmla="*/ 1014162 h 1671185"/>
                <a:gd name="connsiteX199" fmla="*/ 1585673 w 1670533"/>
                <a:gd name="connsiteY199" fmla="*/ 1021215 h 1671185"/>
                <a:gd name="connsiteX200" fmla="*/ 1569717 w 1670533"/>
                <a:gd name="connsiteY200" fmla="*/ 1081163 h 1671185"/>
                <a:gd name="connsiteX201" fmla="*/ 1592822 w 1670533"/>
                <a:gd name="connsiteY201" fmla="*/ 1087543 h 1671185"/>
                <a:gd name="connsiteX202" fmla="*/ 1608779 w 1670533"/>
                <a:gd name="connsiteY202" fmla="*/ 1027594 h 1671185"/>
                <a:gd name="connsiteX203" fmla="*/ 1609056 w 1670533"/>
                <a:gd name="connsiteY203" fmla="*/ 1023038 h 1671185"/>
                <a:gd name="connsiteX204" fmla="*/ 1617786 w 1670533"/>
                <a:gd name="connsiteY204" fmla="*/ 1027317 h 1671185"/>
                <a:gd name="connsiteX205" fmla="*/ 1646618 w 1670533"/>
                <a:gd name="connsiteY205" fmla="*/ 1077717 h 1671185"/>
                <a:gd name="connsiteX206" fmla="*/ 1620352 w 1670533"/>
                <a:gd name="connsiteY206" fmla="*/ 1150661 h 1671185"/>
                <a:gd name="connsiteX207" fmla="*/ 1568610 w 1670533"/>
                <a:gd name="connsiteY207" fmla="*/ 1198208 h 1671185"/>
                <a:gd name="connsiteX208" fmla="*/ 1520463 w 1670533"/>
                <a:gd name="connsiteY208" fmla="*/ 1200110 h 1671185"/>
                <a:gd name="connsiteX209" fmla="*/ 1409554 w 1670533"/>
                <a:gd name="connsiteY209" fmla="*/ 1147333 h 1671185"/>
                <a:gd name="connsiteX210" fmla="*/ 1360616 w 1670533"/>
                <a:gd name="connsiteY210" fmla="*/ 1141944 h 1671185"/>
                <a:gd name="connsiteX211" fmla="*/ 1287071 w 1670533"/>
                <a:gd name="connsiteY211" fmla="*/ 1179387 h 1671185"/>
                <a:gd name="connsiteX212" fmla="*/ 1234382 w 1670533"/>
                <a:gd name="connsiteY212" fmla="*/ 1267587 h 1671185"/>
                <a:gd name="connsiteX213" fmla="*/ 1237502 w 1670533"/>
                <a:gd name="connsiteY213" fmla="*/ 1311092 h 1671185"/>
                <a:gd name="connsiteX214" fmla="*/ 1177781 w 1670533"/>
                <a:gd name="connsiteY214" fmla="*/ 1359709 h 1671185"/>
                <a:gd name="connsiteX215" fmla="*/ 1194727 w 1670533"/>
                <a:gd name="connsiteY215" fmla="*/ 1376667 h 1671185"/>
                <a:gd name="connsiteX216" fmla="*/ 1249194 w 1670533"/>
                <a:gd name="connsiteY216" fmla="*/ 1332330 h 1671185"/>
                <a:gd name="connsiteX217" fmla="*/ 1249510 w 1670533"/>
                <a:gd name="connsiteY217" fmla="*/ 1332766 h 1671185"/>
                <a:gd name="connsiteX218" fmla="*/ 1259226 w 1670533"/>
                <a:gd name="connsiteY218" fmla="*/ 1344573 h 1671185"/>
                <a:gd name="connsiteX219" fmla="*/ 1213171 w 1670533"/>
                <a:gd name="connsiteY219" fmla="*/ 1387127 h 1671185"/>
                <a:gd name="connsiteX220" fmla="*/ 1230076 w 1670533"/>
                <a:gd name="connsiteY220" fmla="*/ 1404086 h 1671185"/>
                <a:gd name="connsiteX221" fmla="*/ 1274432 w 1670533"/>
                <a:gd name="connsiteY221" fmla="*/ 1363077 h 1671185"/>
                <a:gd name="connsiteX222" fmla="*/ 1291771 w 1670533"/>
                <a:gd name="connsiteY222" fmla="*/ 1384116 h 1671185"/>
                <a:gd name="connsiteX223" fmla="*/ 1248956 w 1670533"/>
                <a:gd name="connsiteY223" fmla="*/ 1426987 h 1671185"/>
                <a:gd name="connsiteX224" fmla="*/ 1265900 w 1670533"/>
                <a:gd name="connsiteY224" fmla="*/ 1443946 h 1671185"/>
                <a:gd name="connsiteX225" fmla="*/ 1307096 w 1670533"/>
                <a:gd name="connsiteY225" fmla="*/ 1402699 h 1671185"/>
                <a:gd name="connsiteX226" fmla="*/ 1326332 w 1670533"/>
                <a:gd name="connsiteY226" fmla="*/ 1426037 h 1671185"/>
                <a:gd name="connsiteX227" fmla="*/ 1332731 w 1670533"/>
                <a:gd name="connsiteY227" fmla="*/ 1436339 h 1671185"/>
                <a:gd name="connsiteX228" fmla="*/ 1281660 w 1670533"/>
                <a:gd name="connsiteY228" fmla="*/ 1483767 h 1671185"/>
                <a:gd name="connsiteX229" fmla="*/ 1298604 w 1670533"/>
                <a:gd name="connsiteY229" fmla="*/ 1500725 h 1671185"/>
                <a:gd name="connsiteX230" fmla="*/ 1337588 w 1670533"/>
                <a:gd name="connsiteY230" fmla="*/ 1464510 h 1671185"/>
                <a:gd name="connsiteX231" fmla="*/ 1322896 w 1670533"/>
                <a:gd name="connsiteY231" fmla="*/ 1495930 h 1671185"/>
                <a:gd name="connsiteX232" fmla="*/ 1265624 w 1670533"/>
                <a:gd name="connsiteY232" fmla="*/ 1541061 h 1671185"/>
                <a:gd name="connsiteX233" fmla="*/ 1213409 w 1670533"/>
                <a:gd name="connsiteY233" fmla="*/ 1565468 h 1671185"/>
                <a:gd name="connsiteX234" fmla="*/ 1151397 w 1670533"/>
                <a:gd name="connsiteY234" fmla="*/ 1539198 h 1671185"/>
                <a:gd name="connsiteX235" fmla="*/ 1105184 w 1670533"/>
                <a:gd name="connsiteY235" fmla="*/ 1446561 h 1671185"/>
                <a:gd name="connsiteX236" fmla="*/ 1072520 w 1670533"/>
                <a:gd name="connsiteY236" fmla="*/ 1413357 h 1671185"/>
                <a:gd name="connsiteX237" fmla="*/ 958688 w 1670533"/>
                <a:gd name="connsiteY237" fmla="*/ 1388871 h 1671185"/>
                <a:gd name="connsiteX238" fmla="*/ 869463 w 1670533"/>
                <a:gd name="connsiteY238" fmla="*/ 1414903 h 1671185"/>
                <a:gd name="connsiteX239" fmla="*/ 834744 w 1670533"/>
                <a:gd name="connsiteY239" fmla="*/ 1459874 h 1671185"/>
                <a:gd name="connsiteX240" fmla="*/ 767322 w 1670533"/>
                <a:gd name="connsiteY240" fmla="*/ 1456110 h 1671185"/>
                <a:gd name="connsiteX241" fmla="*/ 767322 w 1670533"/>
                <a:gd name="connsiteY241" fmla="*/ 1480121 h 1671185"/>
                <a:gd name="connsiteX242" fmla="*/ 830203 w 1670533"/>
                <a:gd name="connsiteY242" fmla="*/ 1483608 h 1671185"/>
                <a:gd name="connsiteX243" fmla="*/ 826292 w 1670533"/>
                <a:gd name="connsiteY243" fmla="*/ 1510987 h 1671185"/>
                <a:gd name="connsiteX244" fmla="*/ 762464 w 1670533"/>
                <a:gd name="connsiteY244" fmla="*/ 1500804 h 1671185"/>
                <a:gd name="connsiteX245" fmla="*/ 756105 w 1670533"/>
                <a:gd name="connsiteY245" fmla="*/ 1523904 h 1671185"/>
                <a:gd name="connsiteX246" fmla="*/ 822934 w 1670533"/>
                <a:gd name="connsiteY246" fmla="*/ 1534602 h 1671185"/>
                <a:gd name="connsiteX247" fmla="*/ 819459 w 1670533"/>
                <a:gd name="connsiteY247" fmla="*/ 1558930 h 1671185"/>
                <a:gd name="connsiteX248" fmla="*/ 763294 w 1670533"/>
                <a:gd name="connsiteY248" fmla="*/ 1551957 h 1671185"/>
                <a:gd name="connsiteX249" fmla="*/ 763294 w 1670533"/>
                <a:gd name="connsiteY249" fmla="*/ 1575928 h 1671185"/>
                <a:gd name="connsiteX250" fmla="*/ 816101 w 1670533"/>
                <a:gd name="connsiteY250" fmla="*/ 1582505 h 1671185"/>
                <a:gd name="connsiteX251" fmla="*/ 814048 w 1670533"/>
                <a:gd name="connsiteY251" fmla="*/ 1596690 h 1671185"/>
                <a:gd name="connsiteX252" fmla="*/ 813139 w 1670533"/>
                <a:gd name="connsiteY252" fmla="*/ 1600058 h 1671185"/>
                <a:gd name="connsiteX253" fmla="*/ 751365 w 1670533"/>
                <a:gd name="connsiteY253" fmla="*/ 1600058 h 1671185"/>
                <a:gd name="connsiteX254" fmla="*/ 751365 w 1670533"/>
                <a:gd name="connsiteY254" fmla="*/ 1624030 h 1671185"/>
                <a:gd name="connsiteX255" fmla="*/ 801251 w 1670533"/>
                <a:gd name="connsiteY255" fmla="*/ 1624030 h 1671185"/>
                <a:gd name="connsiteX256" fmla="*/ 780751 w 1670533"/>
                <a:gd name="connsiteY256" fmla="*/ 1638056 h 1671185"/>
                <a:gd name="connsiteX257" fmla="*/ 717121 w 1670533"/>
                <a:gd name="connsiteY257" fmla="*/ 1647565 h 1671185"/>
                <a:gd name="connsiteX258" fmla="*/ 642589 w 1670533"/>
                <a:gd name="connsiteY258" fmla="*/ 1627318 h 1671185"/>
                <a:gd name="connsiteX259" fmla="*/ 615967 w 1670533"/>
                <a:gd name="connsiteY259" fmla="*/ 1576958 h 1671185"/>
                <a:gd name="connsiteX260" fmla="*/ 628725 w 1670533"/>
                <a:gd name="connsiteY260" fmla="*/ 1439231 h 1671185"/>
                <a:gd name="connsiteX261" fmla="*/ 598272 w 1670533"/>
                <a:gd name="connsiteY261" fmla="*/ 1371675 h 1671185"/>
                <a:gd name="connsiteX262" fmla="*/ 1360853 w 1670533"/>
                <a:gd name="connsiteY262" fmla="*/ 488175 h 1671185"/>
                <a:gd name="connsiteX263" fmla="*/ 1358246 w 1670533"/>
                <a:gd name="connsiteY263" fmla="*/ 490038 h 1671185"/>
                <a:gd name="connsiteX264" fmla="*/ 1355087 w 1670533"/>
                <a:gd name="connsiteY264" fmla="*/ 487660 h 1671185"/>
                <a:gd name="connsiteX265" fmla="*/ 1351966 w 1670533"/>
                <a:gd name="connsiteY265" fmla="*/ 484173 h 1671185"/>
                <a:gd name="connsiteX266" fmla="*/ 1360853 w 1670533"/>
                <a:gd name="connsiteY266" fmla="*/ 488175 h 1671185"/>
                <a:gd name="connsiteX267" fmla="*/ 631885 w 1670533"/>
                <a:gd name="connsiteY267" fmla="*/ 1647803 h 1671185"/>
                <a:gd name="connsiteX268" fmla="*/ 716212 w 1670533"/>
                <a:gd name="connsiteY268" fmla="*/ 1670705 h 1671185"/>
                <a:gd name="connsiteX269" fmla="*/ 851728 w 1670533"/>
                <a:gd name="connsiteY269" fmla="*/ 1575334 h 1671185"/>
                <a:gd name="connsiteX270" fmla="*/ 1061856 w 1670533"/>
                <a:gd name="connsiteY270" fmla="*/ 1433921 h 1671185"/>
                <a:gd name="connsiteX271" fmla="*/ 1084488 w 1670533"/>
                <a:gd name="connsiteY271" fmla="*/ 1456902 h 1671185"/>
                <a:gd name="connsiteX272" fmla="*/ 1130739 w 1670533"/>
                <a:gd name="connsiteY272" fmla="*/ 1549579 h 1671185"/>
                <a:gd name="connsiteX273" fmla="*/ 1221031 w 1670533"/>
                <a:gd name="connsiteY273" fmla="*/ 1587340 h 1671185"/>
                <a:gd name="connsiteX274" fmla="*/ 1277473 w 1670533"/>
                <a:gd name="connsiteY274" fmla="*/ 1560951 h 1671185"/>
                <a:gd name="connsiteX275" fmla="*/ 1349201 w 1670533"/>
                <a:gd name="connsiteY275" fmla="*/ 1395924 h 1671185"/>
                <a:gd name="connsiteX276" fmla="*/ 1367449 w 1670533"/>
                <a:gd name="connsiteY276" fmla="*/ 1160250 h 1671185"/>
                <a:gd name="connsiteX277" fmla="*/ 1510549 w 1670533"/>
                <a:gd name="connsiteY277" fmla="*/ 1221030 h 1671185"/>
                <a:gd name="connsiteX278" fmla="*/ 1580065 w 1670533"/>
                <a:gd name="connsiteY278" fmla="*/ 1218376 h 1671185"/>
                <a:gd name="connsiteX279" fmla="*/ 1639469 w 1670533"/>
                <a:gd name="connsiteY279" fmla="*/ 1163736 h 1671185"/>
                <a:gd name="connsiteX280" fmla="*/ 1634769 w 1670533"/>
                <a:gd name="connsiteY280" fmla="*/ 998234 h 1671185"/>
                <a:gd name="connsiteX281" fmla="*/ 1611505 w 1670533"/>
                <a:gd name="connsiteY281" fmla="*/ 982147 h 1671185"/>
                <a:gd name="connsiteX282" fmla="*/ 1440007 w 1670533"/>
                <a:gd name="connsiteY282" fmla="*/ 788949 h 1671185"/>
                <a:gd name="connsiteX283" fmla="*/ 1612651 w 1670533"/>
                <a:gd name="connsiteY283" fmla="*/ 685772 h 1671185"/>
                <a:gd name="connsiteX284" fmla="*/ 1658310 w 1670533"/>
                <a:gd name="connsiteY284" fmla="*/ 628399 h 1671185"/>
                <a:gd name="connsiteX285" fmla="*/ 1644328 w 1670533"/>
                <a:gd name="connsiteY285" fmla="*/ 523122 h 1671185"/>
                <a:gd name="connsiteX286" fmla="*/ 1536617 w 1670533"/>
                <a:gd name="connsiteY286" fmla="*/ 439241 h 1671185"/>
                <a:gd name="connsiteX287" fmla="*/ 1414056 w 1670533"/>
                <a:gd name="connsiteY287" fmla="*/ 476606 h 1671185"/>
                <a:gd name="connsiteX288" fmla="*/ 1352756 w 1670533"/>
                <a:gd name="connsiteY288" fmla="*/ 238871 h 1671185"/>
                <a:gd name="connsiteX289" fmla="*/ 1350741 w 1670533"/>
                <a:gd name="connsiteY289" fmla="*/ 154872 h 1671185"/>
                <a:gd name="connsiteX290" fmla="*/ 1269061 w 1670533"/>
                <a:gd name="connsiteY290" fmla="*/ 85176 h 1671185"/>
                <a:gd name="connsiteX291" fmla="*/ 1201322 w 1670533"/>
                <a:gd name="connsiteY291" fmla="*/ 63384 h 1671185"/>
                <a:gd name="connsiteX292" fmla="*/ 970774 w 1670533"/>
                <a:gd name="connsiteY292" fmla="*/ 224528 h 1671185"/>
                <a:gd name="connsiteX293" fmla="*/ 802120 w 1670533"/>
                <a:gd name="connsiteY293" fmla="*/ 5456 h 1671185"/>
                <a:gd name="connsiteX294" fmla="*/ 699623 w 1670533"/>
                <a:gd name="connsiteY294" fmla="*/ 2960 h 1671185"/>
                <a:gd name="connsiteX295" fmla="*/ 643774 w 1670533"/>
                <a:gd name="connsiteY295" fmla="*/ 16154 h 1671185"/>
                <a:gd name="connsiteX296" fmla="*/ 586502 w 1670533"/>
                <a:gd name="connsiteY296" fmla="*/ 112555 h 1671185"/>
                <a:gd name="connsiteX297" fmla="*/ 569874 w 1670533"/>
                <a:gd name="connsiteY297" fmla="*/ 303892 h 1671185"/>
                <a:gd name="connsiteX298" fmla="*/ 567188 w 1670533"/>
                <a:gd name="connsiteY298" fmla="*/ 306269 h 1671185"/>
                <a:gd name="connsiteX299" fmla="*/ 354414 w 1670533"/>
                <a:gd name="connsiteY299" fmla="*/ 239109 h 1671185"/>
                <a:gd name="connsiteX300" fmla="*/ 257605 w 1670533"/>
                <a:gd name="connsiteY300" fmla="*/ 243943 h 1671185"/>
                <a:gd name="connsiteX301" fmla="*/ 237501 w 1670533"/>
                <a:gd name="connsiteY301" fmla="*/ 260743 h 1671185"/>
                <a:gd name="connsiteX302" fmla="*/ 157360 w 1670533"/>
                <a:gd name="connsiteY302" fmla="*/ 433298 h 1671185"/>
                <a:gd name="connsiteX303" fmla="*/ 228653 w 1670533"/>
                <a:gd name="connsiteY303" fmla="*/ 499309 h 1671185"/>
                <a:gd name="connsiteX304" fmla="*/ 225888 w 1670533"/>
                <a:gd name="connsiteY304" fmla="*/ 683118 h 1671185"/>
                <a:gd name="connsiteX305" fmla="*/ 75600 w 1670533"/>
                <a:gd name="connsiteY305" fmla="*/ 692983 h 1671185"/>
                <a:gd name="connsiteX306" fmla="*/ 3121 w 1670533"/>
                <a:gd name="connsiteY306" fmla="*/ 755943 h 1671185"/>
                <a:gd name="connsiteX307" fmla="*/ -78 w 1670533"/>
                <a:gd name="connsiteY307" fmla="*/ 794060 h 1671185"/>
                <a:gd name="connsiteX308" fmla="*/ 7625 w 1670533"/>
                <a:gd name="connsiteY308" fmla="*/ 870848 h 1671185"/>
                <a:gd name="connsiteX309" fmla="*/ 168064 w 1670533"/>
                <a:gd name="connsiteY309" fmla="*/ 943119 h 1671185"/>
                <a:gd name="connsiteX310" fmla="*/ 277512 w 1670533"/>
                <a:gd name="connsiteY310" fmla="*/ 999106 h 1671185"/>
                <a:gd name="connsiteX311" fmla="*/ 180901 w 1670533"/>
                <a:gd name="connsiteY311" fmla="*/ 1224478 h 1671185"/>
                <a:gd name="connsiteX312" fmla="*/ 160085 w 1670533"/>
                <a:gd name="connsiteY312" fmla="*/ 1313549 h 1671185"/>
                <a:gd name="connsiteX313" fmla="*/ 207483 w 1670533"/>
                <a:gd name="connsiteY313" fmla="*/ 1381541 h 1671185"/>
                <a:gd name="connsiteX314" fmla="*/ 258988 w 1670533"/>
                <a:gd name="connsiteY314" fmla="*/ 1421599 h 1671185"/>
                <a:gd name="connsiteX315" fmla="*/ 371161 w 1670533"/>
                <a:gd name="connsiteY315" fmla="*/ 1394775 h 1671185"/>
                <a:gd name="connsiteX316" fmla="*/ 514103 w 1670533"/>
                <a:gd name="connsiteY316" fmla="*/ 1365732 h 1671185"/>
                <a:gd name="connsiteX317" fmla="*/ 605619 w 1670533"/>
                <a:gd name="connsiteY317" fmla="*/ 1429286 h 1671185"/>
                <a:gd name="connsiteX318" fmla="*/ 592940 w 1670533"/>
                <a:gd name="connsiteY318" fmla="*/ 1574818 h 1671185"/>
                <a:gd name="connsiteX319" fmla="*/ 631885 w 1670533"/>
                <a:gd name="connsiteY319" fmla="*/ 1647803 h 167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1670533" h="1671185">
                  <a:moveTo>
                    <a:pt x="598272" y="1371675"/>
                  </a:moveTo>
                  <a:cubicBezTo>
                    <a:pt x="577694" y="1356301"/>
                    <a:pt x="555694" y="1342592"/>
                    <a:pt x="533022" y="1330507"/>
                  </a:cubicBezTo>
                  <a:cubicBezTo>
                    <a:pt x="532113" y="1327655"/>
                    <a:pt x="530415" y="1325000"/>
                    <a:pt x="527611" y="1323375"/>
                  </a:cubicBezTo>
                  <a:cubicBezTo>
                    <a:pt x="551349" y="1337124"/>
                    <a:pt x="575008" y="1350873"/>
                    <a:pt x="598786" y="1364661"/>
                  </a:cubicBezTo>
                  <a:cubicBezTo>
                    <a:pt x="612136" y="1372388"/>
                    <a:pt x="624183" y="1351665"/>
                    <a:pt x="610872" y="1343939"/>
                  </a:cubicBezTo>
                  <a:cubicBezTo>
                    <a:pt x="570150" y="1320324"/>
                    <a:pt x="529507" y="1296749"/>
                    <a:pt x="488824" y="1273134"/>
                  </a:cubicBezTo>
                  <a:cubicBezTo>
                    <a:pt x="475474" y="1265368"/>
                    <a:pt x="463387" y="1286090"/>
                    <a:pt x="476738" y="1293856"/>
                  </a:cubicBezTo>
                  <a:cubicBezTo>
                    <a:pt x="493524" y="1303564"/>
                    <a:pt x="510311" y="1313311"/>
                    <a:pt x="527097" y="1323019"/>
                  </a:cubicBezTo>
                  <a:cubicBezTo>
                    <a:pt x="525676" y="1322345"/>
                    <a:pt x="524095" y="1321830"/>
                    <a:pt x="522279" y="1321711"/>
                  </a:cubicBezTo>
                  <a:cubicBezTo>
                    <a:pt x="519751" y="1321513"/>
                    <a:pt x="517223" y="1321592"/>
                    <a:pt x="514655" y="1321473"/>
                  </a:cubicBezTo>
                  <a:cubicBezTo>
                    <a:pt x="507664" y="1318105"/>
                    <a:pt x="500752" y="1314579"/>
                    <a:pt x="493683" y="1311568"/>
                  </a:cubicBezTo>
                  <a:cubicBezTo>
                    <a:pt x="484124" y="1307526"/>
                    <a:pt x="474052" y="1305466"/>
                    <a:pt x="463743" y="1305466"/>
                  </a:cubicBezTo>
                  <a:cubicBezTo>
                    <a:pt x="457503" y="1305466"/>
                    <a:pt x="451420" y="1306496"/>
                    <a:pt x="445495" y="1308002"/>
                  </a:cubicBezTo>
                  <a:cubicBezTo>
                    <a:pt x="437082" y="1294570"/>
                    <a:pt x="428630" y="1281098"/>
                    <a:pt x="420217" y="1267627"/>
                  </a:cubicBezTo>
                  <a:cubicBezTo>
                    <a:pt x="412041" y="1254591"/>
                    <a:pt x="391344" y="1266636"/>
                    <a:pt x="399559" y="1279751"/>
                  </a:cubicBezTo>
                  <a:lnTo>
                    <a:pt x="423258" y="1317591"/>
                  </a:lnTo>
                  <a:cubicBezTo>
                    <a:pt x="420296" y="1319453"/>
                    <a:pt x="417413" y="1321394"/>
                    <a:pt x="414766" y="1323692"/>
                  </a:cubicBezTo>
                  <a:lnTo>
                    <a:pt x="397347" y="1338749"/>
                  </a:lnTo>
                  <a:cubicBezTo>
                    <a:pt x="387038" y="1325277"/>
                    <a:pt x="376730" y="1311845"/>
                    <a:pt x="366421" y="1298374"/>
                  </a:cubicBezTo>
                  <a:cubicBezTo>
                    <a:pt x="357178" y="1286289"/>
                    <a:pt x="336363" y="1298215"/>
                    <a:pt x="345764" y="1310458"/>
                  </a:cubicBezTo>
                  <a:cubicBezTo>
                    <a:pt x="356942" y="1325118"/>
                    <a:pt x="368159" y="1339739"/>
                    <a:pt x="379337" y="1354360"/>
                  </a:cubicBezTo>
                  <a:lnTo>
                    <a:pt x="354058" y="1376271"/>
                  </a:lnTo>
                  <a:cubicBezTo>
                    <a:pt x="342999" y="1362760"/>
                    <a:pt x="331979" y="1349249"/>
                    <a:pt x="320920" y="1335737"/>
                  </a:cubicBezTo>
                  <a:cubicBezTo>
                    <a:pt x="311164" y="1323771"/>
                    <a:pt x="294298" y="1340809"/>
                    <a:pt x="303975" y="1352656"/>
                  </a:cubicBezTo>
                  <a:lnTo>
                    <a:pt x="336047" y="1391922"/>
                  </a:lnTo>
                  <a:lnTo>
                    <a:pt x="331071" y="1396201"/>
                  </a:lnTo>
                  <a:cubicBezTo>
                    <a:pt x="328305" y="1398578"/>
                    <a:pt x="325067" y="1400124"/>
                    <a:pt x="321907" y="1401788"/>
                  </a:cubicBezTo>
                  <a:cubicBezTo>
                    <a:pt x="320683" y="1401114"/>
                    <a:pt x="319221" y="1400639"/>
                    <a:pt x="317523" y="1400480"/>
                  </a:cubicBezTo>
                  <a:cubicBezTo>
                    <a:pt x="317286" y="1400243"/>
                    <a:pt x="317207" y="1399925"/>
                    <a:pt x="316930" y="1399648"/>
                  </a:cubicBezTo>
                  <a:cubicBezTo>
                    <a:pt x="300973" y="1385028"/>
                    <a:pt x="285016" y="1370367"/>
                    <a:pt x="269059" y="1355707"/>
                  </a:cubicBezTo>
                  <a:cubicBezTo>
                    <a:pt x="257723" y="1345286"/>
                    <a:pt x="240739" y="1362205"/>
                    <a:pt x="252154" y="1372666"/>
                  </a:cubicBezTo>
                  <a:cubicBezTo>
                    <a:pt x="264833" y="1384314"/>
                    <a:pt x="277512" y="1395963"/>
                    <a:pt x="290190" y="1407612"/>
                  </a:cubicBezTo>
                  <a:cubicBezTo>
                    <a:pt x="283357" y="1406741"/>
                    <a:pt x="276603" y="1405037"/>
                    <a:pt x="270521" y="1401471"/>
                  </a:cubicBezTo>
                  <a:cubicBezTo>
                    <a:pt x="253418" y="1391486"/>
                    <a:pt x="237737" y="1379322"/>
                    <a:pt x="223953" y="1365296"/>
                  </a:cubicBezTo>
                  <a:cubicBezTo>
                    <a:pt x="206298" y="1347387"/>
                    <a:pt x="191841" y="1326624"/>
                    <a:pt x="181019" y="1303643"/>
                  </a:cubicBezTo>
                  <a:cubicBezTo>
                    <a:pt x="171145" y="1282683"/>
                    <a:pt x="177109" y="1257523"/>
                    <a:pt x="195554" y="1242427"/>
                  </a:cubicBezTo>
                  <a:lnTo>
                    <a:pt x="300894" y="1156050"/>
                  </a:lnTo>
                  <a:cubicBezTo>
                    <a:pt x="323408" y="1137625"/>
                    <a:pt x="333282" y="1107473"/>
                    <a:pt x="326094" y="1079341"/>
                  </a:cubicBezTo>
                  <a:cubicBezTo>
                    <a:pt x="320051" y="1055845"/>
                    <a:pt x="312507" y="1032547"/>
                    <a:pt x="303501" y="1010041"/>
                  </a:cubicBezTo>
                  <a:cubicBezTo>
                    <a:pt x="302830" y="1008298"/>
                    <a:pt x="301921" y="1006594"/>
                    <a:pt x="301211" y="1004811"/>
                  </a:cubicBezTo>
                  <a:cubicBezTo>
                    <a:pt x="302238" y="1001959"/>
                    <a:pt x="302158" y="998630"/>
                    <a:pt x="300065" y="995223"/>
                  </a:cubicBezTo>
                  <a:cubicBezTo>
                    <a:pt x="297734" y="991340"/>
                    <a:pt x="294970" y="988170"/>
                    <a:pt x="292363" y="984644"/>
                  </a:cubicBezTo>
                  <a:cubicBezTo>
                    <a:pt x="286004" y="970736"/>
                    <a:pt x="279289" y="956987"/>
                    <a:pt x="271863" y="943714"/>
                  </a:cubicBezTo>
                  <a:cubicBezTo>
                    <a:pt x="264162" y="930044"/>
                    <a:pt x="252115" y="919980"/>
                    <a:pt x="238133" y="913600"/>
                  </a:cubicBezTo>
                  <a:cubicBezTo>
                    <a:pt x="240739" y="911699"/>
                    <a:pt x="242557" y="908727"/>
                    <a:pt x="242438" y="904408"/>
                  </a:cubicBezTo>
                  <a:cubicBezTo>
                    <a:pt x="241924" y="888440"/>
                    <a:pt x="241411" y="872473"/>
                    <a:pt x="240858" y="856465"/>
                  </a:cubicBezTo>
                  <a:cubicBezTo>
                    <a:pt x="240384" y="841092"/>
                    <a:pt x="216448" y="841013"/>
                    <a:pt x="216962" y="856465"/>
                  </a:cubicBezTo>
                  <a:cubicBezTo>
                    <a:pt x="217475" y="872473"/>
                    <a:pt x="217989" y="888440"/>
                    <a:pt x="218502" y="904408"/>
                  </a:cubicBezTo>
                  <a:cubicBezTo>
                    <a:pt x="218542" y="905755"/>
                    <a:pt x="218976" y="906785"/>
                    <a:pt x="219331" y="907895"/>
                  </a:cubicBezTo>
                  <a:cubicBezTo>
                    <a:pt x="215263" y="907221"/>
                    <a:pt x="211195" y="906270"/>
                    <a:pt x="207008" y="906270"/>
                  </a:cubicBezTo>
                  <a:lnTo>
                    <a:pt x="182401" y="906270"/>
                  </a:lnTo>
                  <a:cubicBezTo>
                    <a:pt x="184021" y="903854"/>
                    <a:pt x="184929" y="900842"/>
                    <a:pt x="184376" y="897276"/>
                  </a:cubicBezTo>
                  <a:cubicBezTo>
                    <a:pt x="181691" y="881269"/>
                    <a:pt x="179044" y="865301"/>
                    <a:pt x="176398" y="849294"/>
                  </a:cubicBezTo>
                  <a:cubicBezTo>
                    <a:pt x="173830" y="834118"/>
                    <a:pt x="150764" y="840577"/>
                    <a:pt x="153291" y="855673"/>
                  </a:cubicBezTo>
                  <a:cubicBezTo>
                    <a:pt x="155938" y="871680"/>
                    <a:pt x="158584" y="887688"/>
                    <a:pt x="161270" y="903655"/>
                  </a:cubicBezTo>
                  <a:cubicBezTo>
                    <a:pt x="161467" y="904725"/>
                    <a:pt x="161902" y="905399"/>
                    <a:pt x="162258" y="906270"/>
                  </a:cubicBezTo>
                  <a:lnTo>
                    <a:pt x="121062" y="906270"/>
                  </a:lnTo>
                  <a:lnTo>
                    <a:pt x="117388" y="856465"/>
                  </a:lnTo>
                  <a:cubicBezTo>
                    <a:pt x="116282" y="841171"/>
                    <a:pt x="92347" y="841013"/>
                    <a:pt x="93492" y="856465"/>
                  </a:cubicBezTo>
                  <a:lnTo>
                    <a:pt x="97166" y="906270"/>
                  </a:lnTo>
                  <a:lnTo>
                    <a:pt x="80814" y="906270"/>
                  </a:lnTo>
                  <a:cubicBezTo>
                    <a:pt x="79391" y="906270"/>
                    <a:pt x="78049" y="906033"/>
                    <a:pt x="76666" y="905914"/>
                  </a:cubicBezTo>
                  <a:cubicBezTo>
                    <a:pt x="76627" y="905676"/>
                    <a:pt x="76706" y="905478"/>
                    <a:pt x="76666" y="905240"/>
                  </a:cubicBezTo>
                  <a:cubicBezTo>
                    <a:pt x="74020" y="889272"/>
                    <a:pt x="71334" y="873265"/>
                    <a:pt x="68688" y="857297"/>
                  </a:cubicBezTo>
                  <a:cubicBezTo>
                    <a:pt x="66160" y="842122"/>
                    <a:pt x="43093" y="848540"/>
                    <a:pt x="45621" y="863676"/>
                  </a:cubicBezTo>
                  <a:lnTo>
                    <a:pt x="51151" y="896801"/>
                  </a:lnTo>
                  <a:cubicBezTo>
                    <a:pt x="40842" y="889590"/>
                    <a:pt x="33179" y="878812"/>
                    <a:pt x="30178" y="865697"/>
                  </a:cubicBezTo>
                  <a:cubicBezTo>
                    <a:pt x="24924" y="842320"/>
                    <a:pt x="22475" y="818388"/>
                    <a:pt x="23029" y="794575"/>
                  </a:cubicBezTo>
                  <a:cubicBezTo>
                    <a:pt x="23305" y="782807"/>
                    <a:pt x="24293" y="770960"/>
                    <a:pt x="25991" y="759272"/>
                  </a:cubicBezTo>
                  <a:cubicBezTo>
                    <a:pt x="29585" y="734785"/>
                    <a:pt x="50637" y="716638"/>
                    <a:pt x="76113" y="716163"/>
                  </a:cubicBezTo>
                  <a:lnTo>
                    <a:pt x="201242" y="713745"/>
                  </a:lnTo>
                  <a:cubicBezTo>
                    <a:pt x="222729" y="713310"/>
                    <a:pt x="242833" y="703919"/>
                    <a:pt x="256301" y="688030"/>
                  </a:cubicBezTo>
                  <a:cubicBezTo>
                    <a:pt x="270402" y="671349"/>
                    <a:pt x="282330" y="652925"/>
                    <a:pt x="291691" y="633272"/>
                  </a:cubicBezTo>
                  <a:cubicBezTo>
                    <a:pt x="301289" y="613025"/>
                    <a:pt x="308162" y="591510"/>
                    <a:pt x="312072" y="569362"/>
                  </a:cubicBezTo>
                  <a:cubicBezTo>
                    <a:pt x="314916" y="553315"/>
                    <a:pt x="311519" y="536871"/>
                    <a:pt x="303777" y="522449"/>
                  </a:cubicBezTo>
                  <a:cubicBezTo>
                    <a:pt x="304015" y="520467"/>
                    <a:pt x="303975" y="518526"/>
                    <a:pt x="303383" y="516624"/>
                  </a:cubicBezTo>
                  <a:cubicBezTo>
                    <a:pt x="306345" y="516109"/>
                    <a:pt x="309031" y="514326"/>
                    <a:pt x="310808" y="510760"/>
                  </a:cubicBezTo>
                  <a:cubicBezTo>
                    <a:pt x="313494" y="505451"/>
                    <a:pt x="316140" y="500102"/>
                    <a:pt x="318787" y="494752"/>
                  </a:cubicBezTo>
                  <a:cubicBezTo>
                    <a:pt x="325659" y="481003"/>
                    <a:pt x="305002" y="468840"/>
                    <a:pt x="298169" y="482668"/>
                  </a:cubicBezTo>
                  <a:cubicBezTo>
                    <a:pt x="295443" y="487977"/>
                    <a:pt x="292837" y="493326"/>
                    <a:pt x="290151" y="498636"/>
                  </a:cubicBezTo>
                  <a:cubicBezTo>
                    <a:pt x="289479" y="500023"/>
                    <a:pt x="289242" y="501370"/>
                    <a:pt x="289045" y="502717"/>
                  </a:cubicBezTo>
                  <a:cubicBezTo>
                    <a:pt x="288690" y="502400"/>
                    <a:pt x="288492" y="502004"/>
                    <a:pt x="288176" y="501686"/>
                  </a:cubicBezTo>
                  <a:cubicBezTo>
                    <a:pt x="287188" y="500815"/>
                    <a:pt x="283476" y="497922"/>
                    <a:pt x="275181" y="491662"/>
                  </a:cubicBezTo>
                  <a:lnTo>
                    <a:pt x="275221" y="491622"/>
                  </a:lnTo>
                  <a:cubicBezTo>
                    <a:pt x="279171" y="478309"/>
                    <a:pt x="283160" y="464956"/>
                    <a:pt x="287109" y="451643"/>
                  </a:cubicBezTo>
                  <a:cubicBezTo>
                    <a:pt x="291573" y="436825"/>
                    <a:pt x="268467" y="430485"/>
                    <a:pt x="264043" y="445264"/>
                  </a:cubicBezTo>
                  <a:cubicBezTo>
                    <a:pt x="260962" y="455606"/>
                    <a:pt x="257882" y="465947"/>
                    <a:pt x="254761" y="476328"/>
                  </a:cubicBezTo>
                  <a:cubicBezTo>
                    <a:pt x="247731" y="471019"/>
                    <a:pt x="239476" y="464877"/>
                    <a:pt x="229522" y="457389"/>
                  </a:cubicBezTo>
                  <a:cubicBezTo>
                    <a:pt x="228811" y="456834"/>
                    <a:pt x="227982" y="456239"/>
                    <a:pt x="227271" y="455685"/>
                  </a:cubicBezTo>
                  <a:cubicBezTo>
                    <a:pt x="231300" y="439677"/>
                    <a:pt x="235368" y="423749"/>
                    <a:pt x="239397" y="407742"/>
                  </a:cubicBezTo>
                  <a:cubicBezTo>
                    <a:pt x="243228" y="392765"/>
                    <a:pt x="220161" y="386425"/>
                    <a:pt x="216330" y="401363"/>
                  </a:cubicBezTo>
                  <a:cubicBezTo>
                    <a:pt x="213051" y="414280"/>
                    <a:pt x="209773" y="427197"/>
                    <a:pt x="206495" y="440113"/>
                  </a:cubicBezTo>
                  <a:cubicBezTo>
                    <a:pt x="200136" y="435359"/>
                    <a:pt x="194211" y="430881"/>
                    <a:pt x="189037" y="426998"/>
                  </a:cubicBezTo>
                  <a:cubicBezTo>
                    <a:pt x="189708" y="425968"/>
                    <a:pt x="190380" y="424898"/>
                    <a:pt x="190735" y="423512"/>
                  </a:cubicBezTo>
                  <a:cubicBezTo>
                    <a:pt x="194962" y="407583"/>
                    <a:pt x="199228" y="391655"/>
                    <a:pt x="203454" y="375767"/>
                  </a:cubicBezTo>
                  <a:cubicBezTo>
                    <a:pt x="206811" y="363127"/>
                    <a:pt x="190973" y="356827"/>
                    <a:pt x="183547" y="364038"/>
                  </a:cubicBezTo>
                  <a:cubicBezTo>
                    <a:pt x="193856" y="327388"/>
                    <a:pt x="216725" y="307933"/>
                    <a:pt x="252193" y="278652"/>
                  </a:cubicBezTo>
                  <a:cubicBezTo>
                    <a:pt x="258632" y="273343"/>
                    <a:pt x="265425" y="267716"/>
                    <a:pt x="273088" y="261179"/>
                  </a:cubicBezTo>
                  <a:cubicBezTo>
                    <a:pt x="291059" y="243943"/>
                    <a:pt x="320604" y="242319"/>
                    <a:pt x="340392" y="257494"/>
                  </a:cubicBezTo>
                  <a:lnTo>
                    <a:pt x="446996" y="339512"/>
                  </a:lnTo>
                  <a:cubicBezTo>
                    <a:pt x="460070" y="349537"/>
                    <a:pt x="476185" y="355084"/>
                    <a:pt x="492497" y="355084"/>
                  </a:cubicBezTo>
                  <a:cubicBezTo>
                    <a:pt x="492853" y="355559"/>
                    <a:pt x="495302" y="355044"/>
                    <a:pt x="496724" y="354965"/>
                  </a:cubicBezTo>
                  <a:cubicBezTo>
                    <a:pt x="518210" y="353697"/>
                    <a:pt x="550125" y="347516"/>
                    <a:pt x="580419" y="325248"/>
                  </a:cubicBezTo>
                  <a:cubicBezTo>
                    <a:pt x="583698" y="324971"/>
                    <a:pt x="586857" y="323386"/>
                    <a:pt x="588951" y="319503"/>
                  </a:cubicBezTo>
                  <a:cubicBezTo>
                    <a:pt x="589464" y="318552"/>
                    <a:pt x="589820" y="317561"/>
                    <a:pt x="590334" y="316611"/>
                  </a:cubicBezTo>
                  <a:cubicBezTo>
                    <a:pt x="613044" y="296601"/>
                    <a:pt x="626197" y="273660"/>
                    <a:pt x="632872" y="256900"/>
                  </a:cubicBezTo>
                  <a:cubicBezTo>
                    <a:pt x="633662" y="254958"/>
                    <a:pt x="634175" y="252937"/>
                    <a:pt x="634768" y="250917"/>
                  </a:cubicBezTo>
                  <a:cubicBezTo>
                    <a:pt x="652819" y="252264"/>
                    <a:pt x="670434" y="246360"/>
                    <a:pt x="683547" y="232968"/>
                  </a:cubicBezTo>
                  <a:cubicBezTo>
                    <a:pt x="694409" y="221953"/>
                    <a:pt x="677465" y="204994"/>
                    <a:pt x="666603" y="216009"/>
                  </a:cubicBezTo>
                  <a:cubicBezTo>
                    <a:pt x="658743" y="224092"/>
                    <a:pt x="648671" y="227936"/>
                    <a:pt x="637888" y="227381"/>
                  </a:cubicBezTo>
                  <a:cubicBezTo>
                    <a:pt x="637770" y="224092"/>
                    <a:pt x="637454" y="220764"/>
                    <a:pt x="636901" y="217436"/>
                  </a:cubicBezTo>
                  <a:lnTo>
                    <a:pt x="634413" y="202458"/>
                  </a:lnTo>
                  <a:cubicBezTo>
                    <a:pt x="648118" y="202300"/>
                    <a:pt x="661824" y="202102"/>
                    <a:pt x="675569" y="201864"/>
                  </a:cubicBezTo>
                  <a:cubicBezTo>
                    <a:pt x="690934" y="201705"/>
                    <a:pt x="691012" y="177694"/>
                    <a:pt x="675569" y="177893"/>
                  </a:cubicBezTo>
                  <a:cubicBezTo>
                    <a:pt x="660481" y="178130"/>
                    <a:pt x="645472" y="178328"/>
                    <a:pt x="630463" y="178566"/>
                  </a:cubicBezTo>
                  <a:lnTo>
                    <a:pt x="625802" y="150553"/>
                  </a:lnTo>
                  <a:cubicBezTo>
                    <a:pt x="642391" y="149364"/>
                    <a:pt x="659019" y="148176"/>
                    <a:pt x="675687" y="147026"/>
                  </a:cubicBezTo>
                  <a:cubicBezTo>
                    <a:pt x="690934" y="145957"/>
                    <a:pt x="691092" y="121986"/>
                    <a:pt x="675687" y="123055"/>
                  </a:cubicBezTo>
                  <a:cubicBezTo>
                    <a:pt x="657716" y="124284"/>
                    <a:pt x="639784" y="125551"/>
                    <a:pt x="621813" y="126819"/>
                  </a:cubicBezTo>
                  <a:lnTo>
                    <a:pt x="617389" y="100153"/>
                  </a:lnTo>
                  <a:cubicBezTo>
                    <a:pt x="633899" y="97816"/>
                    <a:pt x="650409" y="95557"/>
                    <a:pt x="666880" y="93259"/>
                  </a:cubicBezTo>
                  <a:cubicBezTo>
                    <a:pt x="682047" y="91199"/>
                    <a:pt x="675569" y="68059"/>
                    <a:pt x="660481" y="70160"/>
                  </a:cubicBezTo>
                  <a:cubicBezTo>
                    <a:pt x="646064" y="72140"/>
                    <a:pt x="631648" y="74121"/>
                    <a:pt x="617231" y="76143"/>
                  </a:cubicBezTo>
                  <a:cubicBezTo>
                    <a:pt x="620944" y="58748"/>
                    <a:pt x="633386" y="44088"/>
                    <a:pt x="651120" y="38145"/>
                  </a:cubicBezTo>
                  <a:cubicBezTo>
                    <a:pt x="667946" y="32479"/>
                    <a:pt x="685325" y="28358"/>
                    <a:pt x="702862" y="25901"/>
                  </a:cubicBezTo>
                  <a:cubicBezTo>
                    <a:pt x="734184" y="21464"/>
                    <a:pt x="766532" y="22295"/>
                    <a:pt x="798012" y="28278"/>
                  </a:cubicBezTo>
                  <a:cubicBezTo>
                    <a:pt x="821118" y="32637"/>
                    <a:pt x="838181" y="51101"/>
                    <a:pt x="840591" y="74121"/>
                  </a:cubicBezTo>
                  <a:lnTo>
                    <a:pt x="849516" y="161132"/>
                  </a:lnTo>
                  <a:cubicBezTo>
                    <a:pt x="851294" y="178724"/>
                    <a:pt x="858917" y="194811"/>
                    <a:pt x="870924" y="206421"/>
                  </a:cubicBezTo>
                  <a:cubicBezTo>
                    <a:pt x="886604" y="221596"/>
                    <a:pt x="904537" y="233324"/>
                    <a:pt x="924206" y="241368"/>
                  </a:cubicBezTo>
                  <a:cubicBezTo>
                    <a:pt x="961927" y="256781"/>
                    <a:pt x="1005019" y="257454"/>
                    <a:pt x="1046807" y="243784"/>
                  </a:cubicBezTo>
                  <a:cubicBezTo>
                    <a:pt x="1058815" y="239822"/>
                    <a:pt x="1069439" y="232769"/>
                    <a:pt x="1078010" y="223617"/>
                  </a:cubicBezTo>
                  <a:cubicBezTo>
                    <a:pt x="1088003" y="229085"/>
                    <a:pt x="1097997" y="234592"/>
                    <a:pt x="1107989" y="240060"/>
                  </a:cubicBezTo>
                  <a:cubicBezTo>
                    <a:pt x="1121458" y="247469"/>
                    <a:pt x="1133584" y="226747"/>
                    <a:pt x="1120036" y="219338"/>
                  </a:cubicBezTo>
                  <a:cubicBezTo>
                    <a:pt x="1110675" y="214187"/>
                    <a:pt x="1101314" y="209075"/>
                    <a:pt x="1091913" y="203924"/>
                  </a:cubicBezTo>
                  <a:lnTo>
                    <a:pt x="1099971" y="190215"/>
                  </a:lnTo>
                  <a:lnTo>
                    <a:pt x="1147724" y="212483"/>
                  </a:lnTo>
                  <a:cubicBezTo>
                    <a:pt x="1161627" y="218941"/>
                    <a:pt x="1173792" y="198298"/>
                    <a:pt x="1159811" y="191761"/>
                  </a:cubicBezTo>
                  <a:cubicBezTo>
                    <a:pt x="1143932" y="184351"/>
                    <a:pt x="1128014" y="176942"/>
                    <a:pt x="1112137" y="169572"/>
                  </a:cubicBezTo>
                  <a:lnTo>
                    <a:pt x="1128449" y="141836"/>
                  </a:lnTo>
                  <a:cubicBezTo>
                    <a:pt x="1148316" y="153089"/>
                    <a:pt x="1168183" y="164302"/>
                    <a:pt x="1188051" y="175515"/>
                  </a:cubicBezTo>
                  <a:cubicBezTo>
                    <a:pt x="1201520" y="183123"/>
                    <a:pt x="1213567" y="162400"/>
                    <a:pt x="1200137" y="154832"/>
                  </a:cubicBezTo>
                  <a:cubicBezTo>
                    <a:pt x="1180309" y="143619"/>
                    <a:pt x="1160482" y="132406"/>
                    <a:pt x="1140614" y="121193"/>
                  </a:cubicBezTo>
                  <a:lnTo>
                    <a:pt x="1146380" y="111367"/>
                  </a:lnTo>
                  <a:cubicBezTo>
                    <a:pt x="1149541" y="106057"/>
                    <a:pt x="1153727" y="101699"/>
                    <a:pt x="1158309" y="97855"/>
                  </a:cubicBezTo>
                  <a:cubicBezTo>
                    <a:pt x="1158151" y="101540"/>
                    <a:pt x="1159731" y="105146"/>
                    <a:pt x="1164313" y="107166"/>
                  </a:cubicBezTo>
                  <a:cubicBezTo>
                    <a:pt x="1188287" y="117785"/>
                    <a:pt x="1212224" y="128444"/>
                    <a:pt x="1236199" y="139063"/>
                  </a:cubicBezTo>
                  <a:cubicBezTo>
                    <a:pt x="1250141" y="145283"/>
                    <a:pt x="1262346" y="124640"/>
                    <a:pt x="1248245" y="118380"/>
                  </a:cubicBezTo>
                  <a:cubicBezTo>
                    <a:pt x="1225100" y="108117"/>
                    <a:pt x="1201994" y="97816"/>
                    <a:pt x="1178848" y="87554"/>
                  </a:cubicBezTo>
                  <a:cubicBezTo>
                    <a:pt x="1185010" y="86048"/>
                    <a:pt x="1191329" y="85295"/>
                    <a:pt x="1197768" y="86286"/>
                  </a:cubicBezTo>
                  <a:cubicBezTo>
                    <a:pt x="1219096" y="89614"/>
                    <a:pt x="1239635" y="96191"/>
                    <a:pt x="1258633" y="105859"/>
                  </a:cubicBezTo>
                  <a:cubicBezTo>
                    <a:pt x="1287585" y="120519"/>
                    <a:pt x="1312271" y="141598"/>
                    <a:pt x="1332099" y="168621"/>
                  </a:cubicBezTo>
                  <a:cubicBezTo>
                    <a:pt x="1344304" y="185223"/>
                    <a:pt x="1344777" y="208402"/>
                    <a:pt x="1333284" y="226351"/>
                  </a:cubicBezTo>
                  <a:lnTo>
                    <a:pt x="1273169" y="320335"/>
                  </a:lnTo>
                  <a:cubicBezTo>
                    <a:pt x="1260845" y="339591"/>
                    <a:pt x="1257962" y="363206"/>
                    <a:pt x="1265308" y="385078"/>
                  </a:cubicBezTo>
                  <a:cubicBezTo>
                    <a:pt x="1273840" y="410555"/>
                    <a:pt x="1285689" y="434764"/>
                    <a:pt x="1300461" y="457111"/>
                  </a:cubicBezTo>
                  <a:cubicBezTo>
                    <a:pt x="1311639" y="473951"/>
                    <a:pt x="1324475" y="489720"/>
                    <a:pt x="1338695" y="503984"/>
                  </a:cubicBezTo>
                  <a:cubicBezTo>
                    <a:pt x="1356074" y="521418"/>
                    <a:pt x="1381313" y="528828"/>
                    <a:pt x="1405209" y="524548"/>
                  </a:cubicBezTo>
                  <a:cubicBezTo>
                    <a:pt x="1413148" y="545786"/>
                    <a:pt x="1421087" y="566984"/>
                    <a:pt x="1429026" y="588222"/>
                  </a:cubicBezTo>
                  <a:cubicBezTo>
                    <a:pt x="1434398" y="602565"/>
                    <a:pt x="1457583" y="596345"/>
                    <a:pt x="1452133" y="581843"/>
                  </a:cubicBezTo>
                  <a:cubicBezTo>
                    <a:pt x="1444153" y="560526"/>
                    <a:pt x="1436175" y="539209"/>
                    <a:pt x="1428196" y="517892"/>
                  </a:cubicBezTo>
                  <a:cubicBezTo>
                    <a:pt x="1428118" y="517654"/>
                    <a:pt x="1427920" y="517536"/>
                    <a:pt x="1427841" y="517297"/>
                  </a:cubicBezTo>
                  <a:lnTo>
                    <a:pt x="1466825" y="501845"/>
                  </a:lnTo>
                  <a:cubicBezTo>
                    <a:pt x="1465917" y="504579"/>
                    <a:pt x="1465798" y="507590"/>
                    <a:pt x="1467141" y="510760"/>
                  </a:cubicBezTo>
                  <a:cubicBezTo>
                    <a:pt x="1475120" y="529422"/>
                    <a:pt x="1483137" y="548084"/>
                    <a:pt x="1491117" y="566746"/>
                  </a:cubicBezTo>
                  <a:cubicBezTo>
                    <a:pt x="1497159" y="580892"/>
                    <a:pt x="1517817" y="568688"/>
                    <a:pt x="1511773" y="554622"/>
                  </a:cubicBezTo>
                  <a:cubicBezTo>
                    <a:pt x="1503795" y="535999"/>
                    <a:pt x="1495816" y="517337"/>
                    <a:pt x="1487838" y="498675"/>
                  </a:cubicBezTo>
                  <a:cubicBezTo>
                    <a:pt x="1487087" y="496932"/>
                    <a:pt x="1486140" y="495624"/>
                    <a:pt x="1484995" y="494634"/>
                  </a:cubicBezTo>
                  <a:lnTo>
                    <a:pt x="1519357" y="481043"/>
                  </a:lnTo>
                  <a:lnTo>
                    <a:pt x="1533813" y="531879"/>
                  </a:lnTo>
                  <a:cubicBezTo>
                    <a:pt x="1538039" y="546697"/>
                    <a:pt x="1561145" y="540398"/>
                    <a:pt x="1556919" y="525499"/>
                  </a:cubicBezTo>
                  <a:cubicBezTo>
                    <a:pt x="1551942" y="508066"/>
                    <a:pt x="1546966" y="490632"/>
                    <a:pt x="1541989" y="473158"/>
                  </a:cubicBezTo>
                  <a:cubicBezTo>
                    <a:pt x="1549692" y="471296"/>
                    <a:pt x="1557591" y="470702"/>
                    <a:pt x="1565253" y="472326"/>
                  </a:cubicBezTo>
                  <a:cubicBezTo>
                    <a:pt x="1565293" y="473476"/>
                    <a:pt x="1565293" y="474624"/>
                    <a:pt x="1565727" y="475892"/>
                  </a:cubicBezTo>
                  <a:cubicBezTo>
                    <a:pt x="1573745" y="498556"/>
                    <a:pt x="1581723" y="521220"/>
                    <a:pt x="1589703" y="543884"/>
                  </a:cubicBezTo>
                  <a:cubicBezTo>
                    <a:pt x="1594798" y="558347"/>
                    <a:pt x="1617944" y="552086"/>
                    <a:pt x="1612769" y="537505"/>
                  </a:cubicBezTo>
                  <a:cubicBezTo>
                    <a:pt x="1607634" y="522924"/>
                    <a:pt x="1602499" y="508304"/>
                    <a:pt x="1597326" y="493722"/>
                  </a:cubicBezTo>
                  <a:cubicBezTo>
                    <a:pt x="1607792" y="505609"/>
                    <a:pt x="1616759" y="518486"/>
                    <a:pt x="1623236" y="532711"/>
                  </a:cubicBezTo>
                  <a:cubicBezTo>
                    <a:pt x="1639429" y="568292"/>
                    <a:pt x="1638798" y="602486"/>
                    <a:pt x="1635441" y="624952"/>
                  </a:cubicBezTo>
                  <a:cubicBezTo>
                    <a:pt x="1632834" y="642346"/>
                    <a:pt x="1620747" y="657442"/>
                    <a:pt x="1603922" y="664336"/>
                  </a:cubicBezTo>
                  <a:lnTo>
                    <a:pt x="1466351" y="720560"/>
                  </a:lnTo>
                  <a:cubicBezTo>
                    <a:pt x="1447550" y="728247"/>
                    <a:pt x="1433015" y="742710"/>
                    <a:pt x="1425431" y="761292"/>
                  </a:cubicBezTo>
                  <a:cubicBezTo>
                    <a:pt x="1416032" y="784115"/>
                    <a:pt x="1410937" y="808086"/>
                    <a:pt x="1410264" y="832573"/>
                  </a:cubicBezTo>
                  <a:cubicBezTo>
                    <a:pt x="1409554" y="858803"/>
                    <a:pt x="1413898" y="884597"/>
                    <a:pt x="1423101" y="909282"/>
                  </a:cubicBezTo>
                  <a:cubicBezTo>
                    <a:pt x="1427565" y="921248"/>
                    <a:pt x="1435267" y="931510"/>
                    <a:pt x="1444984" y="939672"/>
                  </a:cubicBezTo>
                  <a:cubicBezTo>
                    <a:pt x="1437517" y="965545"/>
                    <a:pt x="1430092" y="991459"/>
                    <a:pt x="1422588" y="1017371"/>
                  </a:cubicBezTo>
                  <a:cubicBezTo>
                    <a:pt x="1418362" y="1032230"/>
                    <a:pt x="1441428" y="1038570"/>
                    <a:pt x="1445693" y="1023711"/>
                  </a:cubicBezTo>
                  <a:cubicBezTo>
                    <a:pt x="1452487" y="1000057"/>
                    <a:pt x="1459320" y="976402"/>
                    <a:pt x="1466114" y="952747"/>
                  </a:cubicBezTo>
                  <a:lnTo>
                    <a:pt x="1487047" y="963049"/>
                  </a:lnTo>
                  <a:cubicBezTo>
                    <a:pt x="1486100" y="964555"/>
                    <a:pt x="1485389" y="966298"/>
                    <a:pt x="1485153" y="968398"/>
                  </a:cubicBezTo>
                  <a:lnTo>
                    <a:pt x="1477332" y="1040352"/>
                  </a:lnTo>
                  <a:cubicBezTo>
                    <a:pt x="1475634" y="1055687"/>
                    <a:pt x="1499609" y="1055568"/>
                    <a:pt x="1501267" y="1040352"/>
                  </a:cubicBezTo>
                  <a:lnTo>
                    <a:pt x="1508534" y="973629"/>
                  </a:lnTo>
                  <a:lnTo>
                    <a:pt x="1535354" y="986783"/>
                  </a:lnTo>
                  <a:cubicBezTo>
                    <a:pt x="1534801" y="987575"/>
                    <a:pt x="1534208" y="988249"/>
                    <a:pt x="1533813" y="989240"/>
                  </a:cubicBezTo>
                  <a:cubicBezTo>
                    <a:pt x="1525835" y="1010556"/>
                    <a:pt x="1517857" y="1031873"/>
                    <a:pt x="1509877" y="1053190"/>
                  </a:cubicBezTo>
                  <a:cubicBezTo>
                    <a:pt x="1504466" y="1067652"/>
                    <a:pt x="1527612" y="1073913"/>
                    <a:pt x="1532944" y="1059530"/>
                  </a:cubicBezTo>
                  <a:cubicBezTo>
                    <a:pt x="1540765" y="1038768"/>
                    <a:pt x="1548545" y="1017926"/>
                    <a:pt x="1556327" y="997124"/>
                  </a:cubicBezTo>
                  <a:lnTo>
                    <a:pt x="1591046" y="1014162"/>
                  </a:lnTo>
                  <a:cubicBezTo>
                    <a:pt x="1588596" y="1015509"/>
                    <a:pt x="1586622" y="1017728"/>
                    <a:pt x="1585673" y="1021215"/>
                  </a:cubicBezTo>
                  <a:cubicBezTo>
                    <a:pt x="1580381" y="1041184"/>
                    <a:pt x="1575049" y="1061155"/>
                    <a:pt x="1569717" y="1081163"/>
                  </a:cubicBezTo>
                  <a:cubicBezTo>
                    <a:pt x="1565727" y="1096101"/>
                    <a:pt x="1588834" y="1102441"/>
                    <a:pt x="1592822" y="1087543"/>
                  </a:cubicBezTo>
                  <a:cubicBezTo>
                    <a:pt x="1598155" y="1067573"/>
                    <a:pt x="1603448" y="1047564"/>
                    <a:pt x="1608779" y="1027594"/>
                  </a:cubicBezTo>
                  <a:cubicBezTo>
                    <a:pt x="1609214" y="1025930"/>
                    <a:pt x="1609214" y="1024464"/>
                    <a:pt x="1609056" y="1023038"/>
                  </a:cubicBezTo>
                  <a:lnTo>
                    <a:pt x="1617786" y="1027317"/>
                  </a:lnTo>
                  <a:cubicBezTo>
                    <a:pt x="1637099" y="1036826"/>
                    <a:pt x="1648672" y="1057073"/>
                    <a:pt x="1646618" y="1077717"/>
                  </a:cubicBezTo>
                  <a:cubicBezTo>
                    <a:pt x="1643933" y="1104580"/>
                    <a:pt x="1635085" y="1129107"/>
                    <a:pt x="1620352" y="1150661"/>
                  </a:cubicBezTo>
                  <a:cubicBezTo>
                    <a:pt x="1607002" y="1170235"/>
                    <a:pt x="1589623" y="1186242"/>
                    <a:pt x="1568610" y="1198208"/>
                  </a:cubicBezTo>
                  <a:cubicBezTo>
                    <a:pt x="1553918" y="1206608"/>
                    <a:pt x="1535670" y="1207321"/>
                    <a:pt x="1520463" y="1200110"/>
                  </a:cubicBezTo>
                  <a:lnTo>
                    <a:pt x="1409554" y="1147333"/>
                  </a:lnTo>
                  <a:cubicBezTo>
                    <a:pt x="1394229" y="1140043"/>
                    <a:pt x="1377008" y="1138101"/>
                    <a:pt x="1360616" y="1141944"/>
                  </a:cubicBezTo>
                  <a:cubicBezTo>
                    <a:pt x="1332731" y="1148442"/>
                    <a:pt x="1307965" y="1161042"/>
                    <a:pt x="1287071" y="1179387"/>
                  </a:cubicBezTo>
                  <a:cubicBezTo>
                    <a:pt x="1254485" y="1208034"/>
                    <a:pt x="1240425" y="1243140"/>
                    <a:pt x="1234382" y="1267587"/>
                  </a:cubicBezTo>
                  <a:cubicBezTo>
                    <a:pt x="1230788" y="1282088"/>
                    <a:pt x="1232288" y="1297184"/>
                    <a:pt x="1237502" y="1311092"/>
                  </a:cubicBezTo>
                  <a:cubicBezTo>
                    <a:pt x="1217595" y="1327298"/>
                    <a:pt x="1197688" y="1343503"/>
                    <a:pt x="1177781" y="1359709"/>
                  </a:cubicBezTo>
                  <a:cubicBezTo>
                    <a:pt x="1165813" y="1369456"/>
                    <a:pt x="1182877" y="1386335"/>
                    <a:pt x="1194727" y="1376667"/>
                  </a:cubicBezTo>
                  <a:cubicBezTo>
                    <a:pt x="1212895" y="1361888"/>
                    <a:pt x="1231024" y="1347109"/>
                    <a:pt x="1249194" y="1332330"/>
                  </a:cubicBezTo>
                  <a:cubicBezTo>
                    <a:pt x="1249312" y="1332449"/>
                    <a:pt x="1249390" y="1332647"/>
                    <a:pt x="1249510" y="1332766"/>
                  </a:cubicBezTo>
                  <a:lnTo>
                    <a:pt x="1259226" y="1344573"/>
                  </a:lnTo>
                  <a:cubicBezTo>
                    <a:pt x="1243861" y="1358758"/>
                    <a:pt x="1228496" y="1372943"/>
                    <a:pt x="1213171" y="1387127"/>
                  </a:cubicBezTo>
                  <a:cubicBezTo>
                    <a:pt x="1201836" y="1397588"/>
                    <a:pt x="1218780" y="1414507"/>
                    <a:pt x="1230076" y="1404086"/>
                  </a:cubicBezTo>
                  <a:cubicBezTo>
                    <a:pt x="1244888" y="1390416"/>
                    <a:pt x="1259660" y="1376747"/>
                    <a:pt x="1274432" y="1363077"/>
                  </a:cubicBezTo>
                  <a:lnTo>
                    <a:pt x="1291771" y="1384116"/>
                  </a:lnTo>
                  <a:cubicBezTo>
                    <a:pt x="1277513" y="1398420"/>
                    <a:pt x="1263215" y="1412684"/>
                    <a:pt x="1248956" y="1426987"/>
                  </a:cubicBezTo>
                  <a:cubicBezTo>
                    <a:pt x="1238055" y="1437884"/>
                    <a:pt x="1254960" y="1454882"/>
                    <a:pt x="1265900" y="1443946"/>
                  </a:cubicBezTo>
                  <a:cubicBezTo>
                    <a:pt x="1279606" y="1430197"/>
                    <a:pt x="1293351" y="1416448"/>
                    <a:pt x="1307096" y="1402699"/>
                  </a:cubicBezTo>
                  <a:lnTo>
                    <a:pt x="1326332" y="1426037"/>
                  </a:lnTo>
                  <a:cubicBezTo>
                    <a:pt x="1328939" y="1429286"/>
                    <a:pt x="1330993" y="1432773"/>
                    <a:pt x="1332731" y="1436339"/>
                  </a:cubicBezTo>
                  <a:cubicBezTo>
                    <a:pt x="1315707" y="1452148"/>
                    <a:pt x="1298684" y="1467957"/>
                    <a:pt x="1281660" y="1483767"/>
                  </a:cubicBezTo>
                  <a:cubicBezTo>
                    <a:pt x="1270324" y="1494267"/>
                    <a:pt x="1287309" y="1511185"/>
                    <a:pt x="1298604" y="1500725"/>
                  </a:cubicBezTo>
                  <a:cubicBezTo>
                    <a:pt x="1311599" y="1488640"/>
                    <a:pt x="1324595" y="1476555"/>
                    <a:pt x="1337588" y="1464510"/>
                  </a:cubicBezTo>
                  <a:cubicBezTo>
                    <a:pt x="1336404" y="1475921"/>
                    <a:pt x="1331586" y="1487055"/>
                    <a:pt x="1322896" y="1495930"/>
                  </a:cubicBezTo>
                  <a:cubicBezTo>
                    <a:pt x="1305753" y="1513444"/>
                    <a:pt x="1286479" y="1528619"/>
                    <a:pt x="1265624" y="1541061"/>
                  </a:cubicBezTo>
                  <a:cubicBezTo>
                    <a:pt x="1249154" y="1550926"/>
                    <a:pt x="1231577" y="1559128"/>
                    <a:pt x="1213409" y="1565468"/>
                  </a:cubicBezTo>
                  <a:cubicBezTo>
                    <a:pt x="1190105" y="1573551"/>
                    <a:pt x="1162654" y="1561783"/>
                    <a:pt x="1151397" y="1539198"/>
                  </a:cubicBezTo>
                  <a:lnTo>
                    <a:pt x="1105184" y="1446561"/>
                  </a:lnTo>
                  <a:cubicBezTo>
                    <a:pt x="1098075" y="1432258"/>
                    <a:pt x="1086740" y="1420807"/>
                    <a:pt x="1072520" y="1413357"/>
                  </a:cubicBezTo>
                  <a:cubicBezTo>
                    <a:pt x="1048585" y="1400837"/>
                    <a:pt x="1008534" y="1385780"/>
                    <a:pt x="958688" y="1388871"/>
                  </a:cubicBezTo>
                  <a:cubicBezTo>
                    <a:pt x="927406" y="1390892"/>
                    <a:pt x="897388" y="1399648"/>
                    <a:pt x="869463" y="1414903"/>
                  </a:cubicBezTo>
                  <a:cubicBezTo>
                    <a:pt x="852360" y="1424253"/>
                    <a:pt x="840116" y="1440736"/>
                    <a:pt x="834744" y="1459874"/>
                  </a:cubicBezTo>
                  <a:cubicBezTo>
                    <a:pt x="812270" y="1458646"/>
                    <a:pt x="789796" y="1457378"/>
                    <a:pt x="767322" y="1456110"/>
                  </a:cubicBezTo>
                  <a:cubicBezTo>
                    <a:pt x="751879" y="1455278"/>
                    <a:pt x="751997" y="1479249"/>
                    <a:pt x="767322" y="1480121"/>
                  </a:cubicBezTo>
                  <a:cubicBezTo>
                    <a:pt x="788295" y="1481270"/>
                    <a:pt x="809229" y="1482459"/>
                    <a:pt x="830203" y="1483608"/>
                  </a:cubicBezTo>
                  <a:lnTo>
                    <a:pt x="826292" y="1510987"/>
                  </a:lnTo>
                  <a:cubicBezTo>
                    <a:pt x="805042" y="1507619"/>
                    <a:pt x="783714" y="1504212"/>
                    <a:pt x="762464" y="1500804"/>
                  </a:cubicBezTo>
                  <a:cubicBezTo>
                    <a:pt x="747415" y="1498387"/>
                    <a:pt x="740938" y="1521487"/>
                    <a:pt x="756105" y="1523904"/>
                  </a:cubicBezTo>
                  <a:cubicBezTo>
                    <a:pt x="778381" y="1527470"/>
                    <a:pt x="800658" y="1531036"/>
                    <a:pt x="822934" y="1534602"/>
                  </a:cubicBezTo>
                  <a:lnTo>
                    <a:pt x="819459" y="1558930"/>
                  </a:lnTo>
                  <a:cubicBezTo>
                    <a:pt x="800737" y="1556593"/>
                    <a:pt x="782015" y="1554294"/>
                    <a:pt x="763294" y="1551957"/>
                  </a:cubicBezTo>
                  <a:cubicBezTo>
                    <a:pt x="748087" y="1550015"/>
                    <a:pt x="748245" y="1574026"/>
                    <a:pt x="763294" y="1575928"/>
                  </a:cubicBezTo>
                  <a:cubicBezTo>
                    <a:pt x="780909" y="1578107"/>
                    <a:pt x="798525" y="1580326"/>
                    <a:pt x="816101" y="1582505"/>
                  </a:cubicBezTo>
                  <a:lnTo>
                    <a:pt x="814048" y="1596690"/>
                  </a:lnTo>
                  <a:cubicBezTo>
                    <a:pt x="813889" y="1597879"/>
                    <a:pt x="813376" y="1598909"/>
                    <a:pt x="813139" y="1600058"/>
                  </a:cubicBezTo>
                  <a:lnTo>
                    <a:pt x="751365" y="1600058"/>
                  </a:lnTo>
                  <a:cubicBezTo>
                    <a:pt x="735961" y="1600058"/>
                    <a:pt x="735961" y="1624030"/>
                    <a:pt x="751365" y="1624030"/>
                  </a:cubicBezTo>
                  <a:lnTo>
                    <a:pt x="801251" y="1624030"/>
                  </a:lnTo>
                  <a:cubicBezTo>
                    <a:pt x="795721" y="1630250"/>
                    <a:pt x="788849" y="1635282"/>
                    <a:pt x="780751" y="1638056"/>
                  </a:cubicBezTo>
                  <a:cubicBezTo>
                    <a:pt x="760133" y="1645188"/>
                    <a:pt x="739121" y="1648437"/>
                    <a:pt x="717121" y="1647565"/>
                  </a:cubicBezTo>
                  <a:cubicBezTo>
                    <a:pt x="691210" y="1646496"/>
                    <a:pt x="666090" y="1639720"/>
                    <a:pt x="642589" y="1627318"/>
                  </a:cubicBezTo>
                  <a:cubicBezTo>
                    <a:pt x="624499" y="1617730"/>
                    <a:pt x="613993" y="1597958"/>
                    <a:pt x="615967" y="1576958"/>
                  </a:cubicBezTo>
                  <a:lnTo>
                    <a:pt x="628725" y="1439231"/>
                  </a:lnTo>
                  <a:cubicBezTo>
                    <a:pt x="631134" y="1412961"/>
                    <a:pt x="619759" y="1387722"/>
                    <a:pt x="598272" y="1371675"/>
                  </a:cubicBezTo>
                  <a:close/>
                  <a:moveTo>
                    <a:pt x="1360853" y="488175"/>
                  </a:moveTo>
                  <a:cubicBezTo>
                    <a:pt x="1359866" y="488690"/>
                    <a:pt x="1359036" y="489284"/>
                    <a:pt x="1358246" y="490038"/>
                  </a:cubicBezTo>
                  <a:cubicBezTo>
                    <a:pt x="1357259" y="489166"/>
                    <a:pt x="1356034" y="488611"/>
                    <a:pt x="1355087" y="487660"/>
                  </a:cubicBezTo>
                  <a:cubicBezTo>
                    <a:pt x="1353980" y="486550"/>
                    <a:pt x="1353071" y="485283"/>
                    <a:pt x="1351966" y="484173"/>
                  </a:cubicBezTo>
                  <a:cubicBezTo>
                    <a:pt x="1354889" y="485679"/>
                    <a:pt x="1357891" y="486868"/>
                    <a:pt x="1360853" y="488175"/>
                  </a:cubicBezTo>
                  <a:close/>
                  <a:moveTo>
                    <a:pt x="631885" y="1647803"/>
                  </a:moveTo>
                  <a:cubicBezTo>
                    <a:pt x="658427" y="1661829"/>
                    <a:pt x="686786" y="1669516"/>
                    <a:pt x="716212" y="1670705"/>
                  </a:cubicBezTo>
                  <a:cubicBezTo>
                    <a:pt x="802633" y="1674112"/>
                    <a:pt x="838101" y="1657946"/>
                    <a:pt x="851728" y="1575334"/>
                  </a:cubicBezTo>
                  <a:cubicBezTo>
                    <a:pt x="869739" y="1466570"/>
                    <a:pt x="935305" y="1367792"/>
                    <a:pt x="1061856" y="1433921"/>
                  </a:cubicBezTo>
                  <a:cubicBezTo>
                    <a:pt x="1071730" y="1439072"/>
                    <a:pt x="1079551" y="1447037"/>
                    <a:pt x="1084488" y="1456902"/>
                  </a:cubicBezTo>
                  <a:lnTo>
                    <a:pt x="1130739" y="1549579"/>
                  </a:lnTo>
                  <a:cubicBezTo>
                    <a:pt x="1147053" y="1582228"/>
                    <a:pt x="1187024" y="1599147"/>
                    <a:pt x="1221031" y="1587340"/>
                  </a:cubicBezTo>
                  <a:cubicBezTo>
                    <a:pt x="1240662" y="1580485"/>
                    <a:pt x="1259660" y="1571609"/>
                    <a:pt x="1277473" y="1560951"/>
                  </a:cubicBezTo>
                  <a:cubicBezTo>
                    <a:pt x="1345922" y="1520060"/>
                    <a:pt x="1390634" y="1471682"/>
                    <a:pt x="1349201" y="1395924"/>
                  </a:cubicBezTo>
                  <a:cubicBezTo>
                    <a:pt x="1320881" y="1344137"/>
                    <a:pt x="1246151" y="1166154"/>
                    <a:pt x="1367449" y="1160250"/>
                  </a:cubicBezTo>
                  <a:cubicBezTo>
                    <a:pt x="1412160" y="1158071"/>
                    <a:pt x="1471762" y="1202567"/>
                    <a:pt x="1510549" y="1221030"/>
                  </a:cubicBezTo>
                  <a:cubicBezTo>
                    <a:pt x="1532471" y="1231451"/>
                    <a:pt x="1558894" y="1230461"/>
                    <a:pt x="1580065" y="1218376"/>
                  </a:cubicBezTo>
                  <a:cubicBezTo>
                    <a:pt x="1604159" y="1204587"/>
                    <a:pt x="1624144" y="1186242"/>
                    <a:pt x="1639469" y="1163736"/>
                  </a:cubicBezTo>
                  <a:cubicBezTo>
                    <a:pt x="1679836" y="1104541"/>
                    <a:pt x="1683075" y="1039917"/>
                    <a:pt x="1634769" y="998234"/>
                  </a:cubicBezTo>
                  <a:cubicBezTo>
                    <a:pt x="1628054" y="992410"/>
                    <a:pt x="1620274" y="987021"/>
                    <a:pt x="1611505" y="982147"/>
                  </a:cubicBezTo>
                  <a:cubicBezTo>
                    <a:pt x="1535630" y="940306"/>
                    <a:pt x="1406236" y="901317"/>
                    <a:pt x="1440007" y="788949"/>
                  </a:cubicBezTo>
                  <a:cubicBezTo>
                    <a:pt x="1458886" y="725989"/>
                    <a:pt x="1555892" y="708951"/>
                    <a:pt x="1612651" y="685772"/>
                  </a:cubicBezTo>
                  <a:cubicBezTo>
                    <a:pt x="1637021" y="675787"/>
                    <a:pt x="1654478" y="653797"/>
                    <a:pt x="1658310" y="628399"/>
                  </a:cubicBezTo>
                  <a:cubicBezTo>
                    <a:pt x="1662141" y="602843"/>
                    <a:pt x="1662773" y="563854"/>
                    <a:pt x="1644328" y="523122"/>
                  </a:cubicBezTo>
                  <a:cubicBezTo>
                    <a:pt x="1625448" y="481638"/>
                    <a:pt x="1585753" y="440153"/>
                    <a:pt x="1536617" y="439241"/>
                  </a:cubicBezTo>
                  <a:cubicBezTo>
                    <a:pt x="1492854" y="438449"/>
                    <a:pt x="1459162" y="478428"/>
                    <a:pt x="1414056" y="476606"/>
                  </a:cubicBezTo>
                  <a:cubicBezTo>
                    <a:pt x="1276999" y="471098"/>
                    <a:pt x="1300461" y="320652"/>
                    <a:pt x="1352756" y="238871"/>
                  </a:cubicBezTo>
                  <a:cubicBezTo>
                    <a:pt x="1369385" y="212879"/>
                    <a:pt x="1368554" y="179160"/>
                    <a:pt x="1350741" y="154872"/>
                  </a:cubicBezTo>
                  <a:cubicBezTo>
                    <a:pt x="1328741" y="124957"/>
                    <a:pt x="1301291" y="101501"/>
                    <a:pt x="1269061" y="85176"/>
                  </a:cubicBezTo>
                  <a:cubicBezTo>
                    <a:pt x="1247889" y="74439"/>
                    <a:pt x="1225060" y="67148"/>
                    <a:pt x="1201322" y="63384"/>
                  </a:cubicBezTo>
                  <a:cubicBezTo>
                    <a:pt x="1081881" y="44603"/>
                    <a:pt x="1093217" y="253967"/>
                    <a:pt x="970774" y="224528"/>
                  </a:cubicBezTo>
                  <a:cubicBezTo>
                    <a:pt x="868238" y="199883"/>
                    <a:pt x="894189" y="22930"/>
                    <a:pt x="802120" y="5456"/>
                  </a:cubicBezTo>
                  <a:cubicBezTo>
                    <a:pt x="768231" y="-923"/>
                    <a:pt x="733433" y="-1795"/>
                    <a:pt x="699623" y="2960"/>
                  </a:cubicBezTo>
                  <a:cubicBezTo>
                    <a:pt x="680744" y="5614"/>
                    <a:pt x="661982" y="10052"/>
                    <a:pt x="643774" y="16154"/>
                  </a:cubicBezTo>
                  <a:cubicBezTo>
                    <a:pt x="596298" y="32083"/>
                    <a:pt x="580537" y="66990"/>
                    <a:pt x="586502" y="112555"/>
                  </a:cubicBezTo>
                  <a:cubicBezTo>
                    <a:pt x="595705" y="182370"/>
                    <a:pt x="604039" y="237643"/>
                    <a:pt x="569874" y="303892"/>
                  </a:cubicBezTo>
                  <a:cubicBezTo>
                    <a:pt x="568886" y="304645"/>
                    <a:pt x="568254" y="305516"/>
                    <a:pt x="567188" y="306269"/>
                  </a:cubicBezTo>
                  <a:cubicBezTo>
                    <a:pt x="495381" y="359521"/>
                    <a:pt x="408920" y="280990"/>
                    <a:pt x="354414" y="239109"/>
                  </a:cubicBezTo>
                  <a:cubicBezTo>
                    <a:pt x="325857" y="217158"/>
                    <a:pt x="282686" y="219932"/>
                    <a:pt x="257605" y="243943"/>
                  </a:cubicBezTo>
                  <a:cubicBezTo>
                    <a:pt x="250614" y="249966"/>
                    <a:pt x="243899" y="255473"/>
                    <a:pt x="237501" y="260743"/>
                  </a:cubicBezTo>
                  <a:cubicBezTo>
                    <a:pt x="191328" y="298899"/>
                    <a:pt x="132437" y="367842"/>
                    <a:pt x="157360" y="433298"/>
                  </a:cubicBezTo>
                  <a:cubicBezTo>
                    <a:pt x="171855" y="471494"/>
                    <a:pt x="200096" y="478508"/>
                    <a:pt x="228653" y="499309"/>
                  </a:cubicBezTo>
                  <a:cubicBezTo>
                    <a:pt x="287505" y="542181"/>
                    <a:pt x="291771" y="643336"/>
                    <a:pt x="225888" y="683118"/>
                  </a:cubicBezTo>
                  <a:cubicBezTo>
                    <a:pt x="188998" y="705425"/>
                    <a:pt x="117467" y="692151"/>
                    <a:pt x="75600" y="692983"/>
                  </a:cubicBezTo>
                  <a:cubicBezTo>
                    <a:pt x="38827" y="693697"/>
                    <a:pt x="8335" y="720164"/>
                    <a:pt x="3121" y="755943"/>
                  </a:cubicBezTo>
                  <a:cubicBezTo>
                    <a:pt x="1305" y="768543"/>
                    <a:pt x="238" y="781341"/>
                    <a:pt x="-78" y="794060"/>
                  </a:cubicBezTo>
                  <a:cubicBezTo>
                    <a:pt x="-670" y="819735"/>
                    <a:pt x="1936" y="845569"/>
                    <a:pt x="7625" y="870848"/>
                  </a:cubicBezTo>
                  <a:cubicBezTo>
                    <a:pt x="25201" y="948746"/>
                    <a:pt x="106448" y="937731"/>
                    <a:pt x="168064" y="943119"/>
                  </a:cubicBezTo>
                  <a:cubicBezTo>
                    <a:pt x="212815" y="947042"/>
                    <a:pt x="251799" y="960672"/>
                    <a:pt x="277512" y="999106"/>
                  </a:cubicBezTo>
                  <a:cubicBezTo>
                    <a:pt x="352557" y="1111118"/>
                    <a:pt x="258632" y="1160765"/>
                    <a:pt x="180901" y="1224478"/>
                  </a:cubicBezTo>
                  <a:cubicBezTo>
                    <a:pt x="154239" y="1246349"/>
                    <a:pt x="145669" y="1282960"/>
                    <a:pt x="160085" y="1313549"/>
                  </a:cubicBezTo>
                  <a:cubicBezTo>
                    <a:pt x="172053" y="1338867"/>
                    <a:pt x="188050" y="1361769"/>
                    <a:pt x="207483" y="1381541"/>
                  </a:cubicBezTo>
                  <a:cubicBezTo>
                    <a:pt x="222689" y="1397033"/>
                    <a:pt x="239989" y="1410465"/>
                    <a:pt x="258988" y="1421599"/>
                  </a:cubicBezTo>
                  <a:cubicBezTo>
                    <a:pt x="313376" y="1453337"/>
                    <a:pt x="332571" y="1428374"/>
                    <a:pt x="371161" y="1394775"/>
                  </a:cubicBezTo>
                  <a:cubicBezTo>
                    <a:pt x="415753" y="1355984"/>
                    <a:pt x="459319" y="1349565"/>
                    <a:pt x="514103" y="1365732"/>
                  </a:cubicBezTo>
                  <a:cubicBezTo>
                    <a:pt x="554746" y="1377737"/>
                    <a:pt x="597641" y="1381818"/>
                    <a:pt x="605619" y="1429286"/>
                  </a:cubicBezTo>
                  <a:cubicBezTo>
                    <a:pt x="612966" y="1473504"/>
                    <a:pt x="597087" y="1530164"/>
                    <a:pt x="592940" y="1574818"/>
                  </a:cubicBezTo>
                  <a:cubicBezTo>
                    <a:pt x="590136" y="1605169"/>
                    <a:pt x="605421" y="1633816"/>
                    <a:pt x="631885" y="1647803"/>
                  </a:cubicBezTo>
                  <a:close/>
                </a:path>
              </a:pathLst>
            </a:custGeom>
            <a:grpFill/>
            <a:ln w="39496" cap="flat">
              <a:noFill/>
              <a:prstDash val="solid"/>
              <a:round/>
            </a:ln>
          </p:spPr>
          <p:txBody>
            <a:bodyPr rtlCol="0" anchor="ctr"/>
            <a:lstStyle/>
            <a:p>
              <a:endParaRPr lang="en-LT"/>
            </a:p>
          </p:txBody>
        </p:sp>
        <p:sp>
          <p:nvSpPr>
            <p:cNvPr id="70" name="Freeform 69">
              <a:extLst>
                <a:ext uri="{FF2B5EF4-FFF2-40B4-BE49-F238E27FC236}">
                  <a16:creationId xmlns:a16="http://schemas.microsoft.com/office/drawing/2014/main" id="{26CFC472-6F3F-3C42-B894-6D32D8D42C32}"/>
                </a:ext>
              </a:extLst>
            </p:cNvPr>
            <p:cNvSpPr/>
            <p:nvPr/>
          </p:nvSpPr>
          <p:spPr>
            <a:xfrm>
              <a:off x="5616101" y="2976892"/>
              <a:ext cx="975245" cy="969519"/>
            </a:xfrm>
            <a:custGeom>
              <a:avLst/>
              <a:gdLst>
                <a:gd name="connsiteX0" fmla="*/ 186398 w 975245"/>
                <a:gd name="connsiteY0" fmla="*/ 834306 h 969519"/>
                <a:gd name="connsiteX1" fmla="*/ 26195 w 975245"/>
                <a:gd name="connsiteY1" fmla="*/ 563170 h 969519"/>
                <a:gd name="connsiteX2" fmla="*/ 86390 w 975245"/>
                <a:gd name="connsiteY2" fmla="*/ 234027 h 969519"/>
                <a:gd name="connsiteX3" fmla="*/ 472440 w 975245"/>
                <a:gd name="connsiteY3" fmla="*/ 23117 h 969519"/>
                <a:gd name="connsiteX4" fmla="*/ 604520 w 975245"/>
                <a:gd name="connsiteY4" fmla="*/ 35955 h 969519"/>
                <a:gd name="connsiteX5" fmla="*/ 951625 w 975245"/>
                <a:gd name="connsiteY5" fmla="*/ 467838 h 969519"/>
                <a:gd name="connsiteX6" fmla="*/ 913431 w 975245"/>
                <a:gd name="connsiteY6" fmla="*/ 652083 h 969519"/>
                <a:gd name="connsiteX7" fmla="*/ 610800 w 975245"/>
                <a:gd name="connsiteY7" fmla="*/ 936849 h 969519"/>
                <a:gd name="connsiteX8" fmla="*/ 525367 w 975245"/>
                <a:gd name="connsiteY8" fmla="*/ 944337 h 969519"/>
                <a:gd name="connsiteX9" fmla="*/ 495664 w 975245"/>
                <a:gd name="connsiteY9" fmla="*/ 944059 h 969519"/>
                <a:gd name="connsiteX10" fmla="*/ 465646 w 975245"/>
                <a:gd name="connsiteY10" fmla="*/ 943743 h 969519"/>
                <a:gd name="connsiteX11" fmla="*/ 416985 w 975245"/>
                <a:gd name="connsiteY11" fmla="*/ 945566 h 969519"/>
                <a:gd name="connsiteX12" fmla="*/ 186398 w 975245"/>
                <a:gd name="connsiteY12" fmla="*/ 834306 h 969519"/>
                <a:gd name="connsiteX13" fmla="*/ 419038 w 975245"/>
                <a:gd name="connsiteY13" fmla="*/ 968626 h 969519"/>
                <a:gd name="connsiteX14" fmla="*/ 465646 w 975245"/>
                <a:gd name="connsiteY14" fmla="*/ 966922 h 969519"/>
                <a:gd name="connsiteX15" fmla="*/ 495308 w 975245"/>
                <a:gd name="connsiteY15" fmla="*/ 967239 h 969519"/>
                <a:gd name="connsiteX16" fmla="*/ 525367 w 975245"/>
                <a:gd name="connsiteY16" fmla="*/ 967516 h 969519"/>
                <a:gd name="connsiteX17" fmla="*/ 615855 w 975245"/>
                <a:gd name="connsiteY17" fmla="*/ 959433 h 969519"/>
                <a:gd name="connsiteX18" fmla="*/ 934601 w 975245"/>
                <a:gd name="connsiteY18" fmla="*/ 661354 h 969519"/>
                <a:gd name="connsiteX19" fmla="*/ 974731 w 975245"/>
                <a:gd name="connsiteY19" fmla="*/ 468829 h 969519"/>
                <a:gd name="connsiteX20" fmla="*/ 608746 w 975245"/>
                <a:gd name="connsiteY20" fmla="*/ 13172 h 969519"/>
                <a:gd name="connsiteX21" fmla="*/ 472440 w 975245"/>
                <a:gd name="connsiteY21" fmla="*/ -62 h 969519"/>
                <a:gd name="connsiteX22" fmla="*/ 66285 w 975245"/>
                <a:gd name="connsiteY22" fmla="*/ 222497 h 969519"/>
                <a:gd name="connsiteX23" fmla="*/ 3168 w 975245"/>
                <a:gd name="connsiteY23" fmla="*/ 565468 h 969519"/>
                <a:gd name="connsiteX24" fmla="*/ 169809 w 975245"/>
                <a:gd name="connsiteY24" fmla="*/ 850432 h 969519"/>
                <a:gd name="connsiteX25" fmla="*/ 400356 w 975245"/>
                <a:gd name="connsiteY25" fmla="*/ 969458 h 969519"/>
                <a:gd name="connsiteX26" fmla="*/ 419038 w 975245"/>
                <a:gd name="connsiteY26" fmla="*/ 968626 h 969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75245" h="969519">
                  <a:moveTo>
                    <a:pt x="186398" y="834306"/>
                  </a:moveTo>
                  <a:cubicBezTo>
                    <a:pt x="114591" y="760370"/>
                    <a:pt x="37018" y="672369"/>
                    <a:pt x="26195" y="563170"/>
                  </a:cubicBezTo>
                  <a:cubicBezTo>
                    <a:pt x="14188" y="441926"/>
                    <a:pt x="36070" y="321949"/>
                    <a:pt x="86390" y="234027"/>
                  </a:cubicBezTo>
                  <a:cubicBezTo>
                    <a:pt x="185964" y="59728"/>
                    <a:pt x="351340" y="23117"/>
                    <a:pt x="472440" y="23117"/>
                  </a:cubicBezTo>
                  <a:cubicBezTo>
                    <a:pt x="514583" y="23117"/>
                    <a:pt x="559018" y="27436"/>
                    <a:pt x="604520" y="35955"/>
                  </a:cubicBezTo>
                  <a:cubicBezTo>
                    <a:pt x="804496" y="73438"/>
                    <a:pt x="960236" y="267191"/>
                    <a:pt x="951625" y="467838"/>
                  </a:cubicBezTo>
                  <a:cubicBezTo>
                    <a:pt x="948544" y="539991"/>
                    <a:pt x="936024" y="600296"/>
                    <a:pt x="913431" y="652083"/>
                  </a:cubicBezTo>
                  <a:cubicBezTo>
                    <a:pt x="841940" y="815960"/>
                    <a:pt x="745763" y="906458"/>
                    <a:pt x="610800" y="936849"/>
                  </a:cubicBezTo>
                  <a:cubicBezTo>
                    <a:pt x="581374" y="943465"/>
                    <a:pt x="551080" y="944337"/>
                    <a:pt x="525367" y="944337"/>
                  </a:cubicBezTo>
                  <a:cubicBezTo>
                    <a:pt x="515452" y="944337"/>
                    <a:pt x="505578" y="944218"/>
                    <a:pt x="495664" y="944059"/>
                  </a:cubicBezTo>
                  <a:cubicBezTo>
                    <a:pt x="485671" y="943901"/>
                    <a:pt x="475639" y="943743"/>
                    <a:pt x="465646" y="943743"/>
                  </a:cubicBezTo>
                  <a:cubicBezTo>
                    <a:pt x="446569" y="943743"/>
                    <a:pt x="431086" y="944337"/>
                    <a:pt x="416985" y="945566"/>
                  </a:cubicBezTo>
                  <a:cubicBezTo>
                    <a:pt x="340636" y="952222"/>
                    <a:pt x="264248" y="914501"/>
                    <a:pt x="186398" y="834306"/>
                  </a:cubicBezTo>
                  <a:close/>
                  <a:moveTo>
                    <a:pt x="419038" y="968626"/>
                  </a:moveTo>
                  <a:cubicBezTo>
                    <a:pt x="432429" y="967476"/>
                    <a:pt x="447240" y="966922"/>
                    <a:pt x="465646" y="966922"/>
                  </a:cubicBezTo>
                  <a:cubicBezTo>
                    <a:pt x="475521" y="966922"/>
                    <a:pt x="485395" y="967080"/>
                    <a:pt x="495308" y="967239"/>
                  </a:cubicBezTo>
                  <a:cubicBezTo>
                    <a:pt x="505342" y="967357"/>
                    <a:pt x="515334" y="967516"/>
                    <a:pt x="525367" y="967516"/>
                  </a:cubicBezTo>
                  <a:cubicBezTo>
                    <a:pt x="552383" y="967516"/>
                    <a:pt x="584218" y="966565"/>
                    <a:pt x="615855" y="959433"/>
                  </a:cubicBezTo>
                  <a:cubicBezTo>
                    <a:pt x="758600" y="927300"/>
                    <a:pt x="859912" y="832602"/>
                    <a:pt x="934601" y="661354"/>
                  </a:cubicBezTo>
                  <a:cubicBezTo>
                    <a:pt x="958418" y="606873"/>
                    <a:pt x="971532" y="543913"/>
                    <a:pt x="974731" y="468829"/>
                  </a:cubicBezTo>
                  <a:cubicBezTo>
                    <a:pt x="983776" y="257127"/>
                    <a:pt x="819585" y="52715"/>
                    <a:pt x="608746" y="13172"/>
                  </a:cubicBezTo>
                  <a:cubicBezTo>
                    <a:pt x="561901" y="4415"/>
                    <a:pt x="516045" y="-62"/>
                    <a:pt x="472440" y="-62"/>
                  </a:cubicBezTo>
                  <a:cubicBezTo>
                    <a:pt x="289961" y="-62"/>
                    <a:pt x="149507" y="76924"/>
                    <a:pt x="66285" y="222497"/>
                  </a:cubicBezTo>
                  <a:cubicBezTo>
                    <a:pt x="13675" y="314500"/>
                    <a:pt x="-9313" y="439509"/>
                    <a:pt x="3168" y="565468"/>
                  </a:cubicBezTo>
                  <a:cubicBezTo>
                    <a:pt x="14741" y="682076"/>
                    <a:pt x="95237" y="773684"/>
                    <a:pt x="169809" y="850432"/>
                  </a:cubicBezTo>
                  <a:cubicBezTo>
                    <a:pt x="246513" y="929399"/>
                    <a:pt x="324086" y="969458"/>
                    <a:pt x="400356" y="969458"/>
                  </a:cubicBezTo>
                  <a:cubicBezTo>
                    <a:pt x="406518" y="969458"/>
                    <a:pt x="412720" y="969180"/>
                    <a:pt x="419038" y="968626"/>
                  </a:cubicBezTo>
                  <a:close/>
                </a:path>
              </a:pathLst>
            </a:custGeom>
            <a:grpFill/>
            <a:ln w="39496" cap="flat">
              <a:noFill/>
              <a:prstDash val="solid"/>
              <a:round/>
            </a:ln>
          </p:spPr>
          <p:txBody>
            <a:bodyPr rtlCol="0" anchor="ctr"/>
            <a:lstStyle/>
            <a:p>
              <a:endParaRPr lang="en-LT"/>
            </a:p>
          </p:txBody>
        </p:sp>
        <p:sp>
          <p:nvSpPr>
            <p:cNvPr id="71" name="Freeform 70">
              <a:extLst>
                <a:ext uri="{FF2B5EF4-FFF2-40B4-BE49-F238E27FC236}">
                  <a16:creationId xmlns:a16="http://schemas.microsoft.com/office/drawing/2014/main" id="{ADD6C1C5-2E50-6843-8243-332FC6C94D18}"/>
                </a:ext>
              </a:extLst>
            </p:cNvPr>
            <p:cNvSpPr/>
            <p:nvPr/>
          </p:nvSpPr>
          <p:spPr>
            <a:xfrm>
              <a:off x="5689916" y="3050273"/>
              <a:ext cx="827635" cy="822758"/>
            </a:xfrm>
            <a:custGeom>
              <a:avLst/>
              <a:gdLst>
                <a:gd name="connsiteX0" fmla="*/ 163456 w 827635"/>
                <a:gd name="connsiteY0" fmla="*/ 699868 h 822758"/>
                <a:gd name="connsiteX1" fmla="*/ 33035 w 827635"/>
                <a:gd name="connsiteY1" fmla="*/ 476199 h 822758"/>
                <a:gd name="connsiteX2" fmla="*/ 81973 w 827635"/>
                <a:gd name="connsiteY2" fmla="*/ 204429 h 822758"/>
                <a:gd name="connsiteX3" fmla="*/ 395940 w 827635"/>
                <a:gd name="connsiteY3" fmla="*/ 30527 h 822758"/>
                <a:gd name="connsiteX4" fmla="*/ 503531 w 827635"/>
                <a:gd name="connsiteY4" fmla="*/ 41146 h 822758"/>
                <a:gd name="connsiteX5" fmla="*/ 785781 w 827635"/>
                <a:gd name="connsiteY5" fmla="*/ 397271 h 822758"/>
                <a:gd name="connsiteX6" fmla="*/ 754736 w 827635"/>
                <a:gd name="connsiteY6" fmla="*/ 549382 h 822758"/>
                <a:gd name="connsiteX7" fmla="*/ 508587 w 827635"/>
                <a:gd name="connsiteY7" fmla="*/ 784342 h 822758"/>
                <a:gd name="connsiteX8" fmla="*/ 439190 w 827635"/>
                <a:gd name="connsiteY8" fmla="*/ 790563 h 822758"/>
                <a:gd name="connsiteX9" fmla="*/ 414938 w 827635"/>
                <a:gd name="connsiteY9" fmla="*/ 790325 h 822758"/>
                <a:gd name="connsiteX10" fmla="*/ 390370 w 827635"/>
                <a:gd name="connsiteY10" fmla="*/ 790048 h 822758"/>
                <a:gd name="connsiteX11" fmla="*/ 350478 w 827635"/>
                <a:gd name="connsiteY11" fmla="*/ 791554 h 822758"/>
                <a:gd name="connsiteX12" fmla="*/ 163456 w 827635"/>
                <a:gd name="connsiteY12" fmla="*/ 699868 h 822758"/>
                <a:gd name="connsiteX13" fmla="*/ 395189 w 827635"/>
                <a:gd name="connsiteY13" fmla="*/ 820597 h 822758"/>
                <a:gd name="connsiteX14" fmla="*/ 420270 w 827635"/>
                <a:gd name="connsiteY14" fmla="*/ 820835 h 822758"/>
                <a:gd name="connsiteX15" fmla="*/ 445706 w 827635"/>
                <a:gd name="connsiteY15" fmla="*/ 821112 h 822758"/>
                <a:gd name="connsiteX16" fmla="*/ 522529 w 827635"/>
                <a:gd name="connsiteY16" fmla="*/ 814218 h 822758"/>
                <a:gd name="connsiteX17" fmla="*/ 793128 w 827635"/>
                <a:gd name="connsiteY17" fmla="*/ 561348 h 822758"/>
                <a:gd name="connsiteX18" fmla="*/ 827175 w 827635"/>
                <a:gd name="connsiteY18" fmla="*/ 397985 h 822758"/>
                <a:gd name="connsiteX19" fmla="*/ 516447 w 827635"/>
                <a:gd name="connsiteY19" fmla="*/ 11152 h 822758"/>
                <a:gd name="connsiteX20" fmla="*/ 400955 w 827635"/>
                <a:gd name="connsiteY20" fmla="*/ -62 h 822758"/>
                <a:gd name="connsiteX21" fmla="*/ 56220 w 827635"/>
                <a:gd name="connsiteY21" fmla="*/ 188897 h 822758"/>
                <a:gd name="connsiteX22" fmla="*/ 2661 w 827635"/>
                <a:gd name="connsiteY22" fmla="*/ 479726 h 822758"/>
                <a:gd name="connsiteX23" fmla="*/ 143984 w 827635"/>
                <a:gd name="connsiteY23" fmla="*/ 721620 h 822758"/>
                <a:gd name="connsiteX24" fmla="*/ 340050 w 827635"/>
                <a:gd name="connsiteY24" fmla="*/ 822697 h 822758"/>
                <a:gd name="connsiteX25" fmla="*/ 355967 w 827635"/>
                <a:gd name="connsiteY25" fmla="*/ 822023 h 822758"/>
                <a:gd name="connsiteX26" fmla="*/ 395189 w 827635"/>
                <a:gd name="connsiteY26" fmla="*/ 820597 h 822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7635" h="822758">
                  <a:moveTo>
                    <a:pt x="163456" y="699868"/>
                  </a:moveTo>
                  <a:cubicBezTo>
                    <a:pt x="104961" y="638810"/>
                    <a:pt x="41803" y="566102"/>
                    <a:pt x="33035" y="476199"/>
                  </a:cubicBezTo>
                  <a:cubicBezTo>
                    <a:pt x="23240" y="376034"/>
                    <a:pt x="41053" y="276978"/>
                    <a:pt x="81973" y="204429"/>
                  </a:cubicBezTo>
                  <a:cubicBezTo>
                    <a:pt x="162982" y="60680"/>
                    <a:pt x="297432" y="30527"/>
                    <a:pt x="395940" y="30527"/>
                  </a:cubicBezTo>
                  <a:cubicBezTo>
                    <a:pt x="430303" y="30527"/>
                    <a:pt x="466522" y="33855"/>
                    <a:pt x="503531" y="41146"/>
                  </a:cubicBezTo>
                  <a:cubicBezTo>
                    <a:pt x="663930" y="72606"/>
                    <a:pt x="793562" y="236484"/>
                    <a:pt x="785781" y="397271"/>
                  </a:cubicBezTo>
                  <a:cubicBezTo>
                    <a:pt x="782898" y="456824"/>
                    <a:pt x="773102" y="506629"/>
                    <a:pt x="754736" y="549382"/>
                  </a:cubicBezTo>
                  <a:cubicBezTo>
                    <a:pt x="696516" y="684653"/>
                    <a:pt x="618311" y="759301"/>
                    <a:pt x="508587" y="784342"/>
                  </a:cubicBezTo>
                  <a:cubicBezTo>
                    <a:pt x="484730" y="789810"/>
                    <a:pt x="460162" y="790563"/>
                    <a:pt x="439190" y="790563"/>
                  </a:cubicBezTo>
                  <a:cubicBezTo>
                    <a:pt x="431132" y="790563"/>
                    <a:pt x="423034" y="790444"/>
                    <a:pt x="414938" y="790325"/>
                  </a:cubicBezTo>
                  <a:cubicBezTo>
                    <a:pt x="406722" y="790167"/>
                    <a:pt x="398546" y="790048"/>
                    <a:pt x="390370" y="790048"/>
                  </a:cubicBezTo>
                  <a:cubicBezTo>
                    <a:pt x="374729" y="790048"/>
                    <a:pt x="362051" y="790523"/>
                    <a:pt x="350478" y="791554"/>
                  </a:cubicBezTo>
                  <a:cubicBezTo>
                    <a:pt x="288506" y="797022"/>
                    <a:pt x="226692" y="765918"/>
                    <a:pt x="163456" y="699868"/>
                  </a:cubicBezTo>
                  <a:close/>
                  <a:moveTo>
                    <a:pt x="395189" y="820597"/>
                  </a:moveTo>
                  <a:cubicBezTo>
                    <a:pt x="403523" y="820597"/>
                    <a:pt x="411897" y="820715"/>
                    <a:pt x="420270" y="820835"/>
                  </a:cubicBezTo>
                  <a:cubicBezTo>
                    <a:pt x="428762" y="820954"/>
                    <a:pt x="437254" y="821112"/>
                    <a:pt x="445706" y="821112"/>
                  </a:cubicBezTo>
                  <a:cubicBezTo>
                    <a:pt x="468615" y="821112"/>
                    <a:pt x="495631" y="820280"/>
                    <a:pt x="522529" y="814218"/>
                  </a:cubicBezTo>
                  <a:cubicBezTo>
                    <a:pt x="643747" y="786918"/>
                    <a:pt x="729734" y="706564"/>
                    <a:pt x="793128" y="561348"/>
                  </a:cubicBezTo>
                  <a:cubicBezTo>
                    <a:pt x="813311" y="515069"/>
                    <a:pt x="824450" y="461658"/>
                    <a:pt x="827175" y="397985"/>
                  </a:cubicBezTo>
                  <a:cubicBezTo>
                    <a:pt x="834838" y="218218"/>
                    <a:pt x="695489" y="44672"/>
                    <a:pt x="516447" y="11152"/>
                  </a:cubicBezTo>
                  <a:cubicBezTo>
                    <a:pt x="476791" y="3702"/>
                    <a:pt x="437886" y="-62"/>
                    <a:pt x="400955" y="-62"/>
                  </a:cubicBezTo>
                  <a:cubicBezTo>
                    <a:pt x="246125" y="-62"/>
                    <a:pt x="126881" y="65276"/>
                    <a:pt x="56220" y="188897"/>
                  </a:cubicBezTo>
                  <a:cubicBezTo>
                    <a:pt x="11588" y="266914"/>
                    <a:pt x="-7924" y="372943"/>
                    <a:pt x="2661" y="479726"/>
                  </a:cubicBezTo>
                  <a:cubicBezTo>
                    <a:pt x="12496" y="578821"/>
                    <a:pt x="80748" y="656560"/>
                    <a:pt x="143984" y="721620"/>
                  </a:cubicBezTo>
                  <a:cubicBezTo>
                    <a:pt x="209116" y="788701"/>
                    <a:pt x="275077" y="822737"/>
                    <a:pt x="340050" y="822697"/>
                  </a:cubicBezTo>
                  <a:cubicBezTo>
                    <a:pt x="345303" y="822697"/>
                    <a:pt x="350636" y="822459"/>
                    <a:pt x="355967" y="822023"/>
                  </a:cubicBezTo>
                  <a:cubicBezTo>
                    <a:pt x="367224" y="821033"/>
                    <a:pt x="379706" y="820597"/>
                    <a:pt x="395189" y="820597"/>
                  </a:cubicBezTo>
                  <a:close/>
                </a:path>
              </a:pathLst>
            </a:custGeom>
            <a:grpFill/>
            <a:ln w="39496" cap="flat">
              <a:noFill/>
              <a:prstDash val="solid"/>
              <a:round/>
            </a:ln>
          </p:spPr>
          <p:txBody>
            <a:bodyPr rtlCol="0" anchor="ctr"/>
            <a:lstStyle/>
            <a:p>
              <a:endParaRPr lang="en-LT"/>
            </a:p>
          </p:txBody>
        </p:sp>
        <p:sp>
          <p:nvSpPr>
            <p:cNvPr id="72" name="Freeform 71">
              <a:extLst>
                <a:ext uri="{FF2B5EF4-FFF2-40B4-BE49-F238E27FC236}">
                  <a16:creationId xmlns:a16="http://schemas.microsoft.com/office/drawing/2014/main" id="{67AC6F4D-5E6A-3D44-A387-F5014D14B480}"/>
                </a:ext>
              </a:extLst>
            </p:cNvPr>
            <p:cNvSpPr/>
            <p:nvPr/>
          </p:nvSpPr>
          <p:spPr>
            <a:xfrm>
              <a:off x="5706218" y="2941915"/>
              <a:ext cx="168034" cy="71169"/>
            </a:xfrm>
            <a:custGeom>
              <a:avLst/>
              <a:gdLst>
                <a:gd name="connsiteX0" fmla="*/ 8373 w 168034"/>
                <a:gd name="connsiteY0" fmla="*/ 66575 h 71169"/>
                <a:gd name="connsiteX1" fmla="*/ 164429 w 168034"/>
                <a:gd name="connsiteY1" fmla="*/ 20533 h 71169"/>
                <a:gd name="connsiteX2" fmla="*/ 147563 w 168034"/>
                <a:gd name="connsiteY2" fmla="*/ 3536 h 71169"/>
                <a:gd name="connsiteX3" fmla="*/ 14733 w 168034"/>
                <a:gd name="connsiteY3" fmla="*/ 43435 h 71169"/>
                <a:gd name="connsiteX4" fmla="*/ 8373 w 168034"/>
                <a:gd name="connsiteY4" fmla="*/ 66575 h 71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34" h="71169">
                  <a:moveTo>
                    <a:pt x="8373" y="66575"/>
                  </a:moveTo>
                  <a:cubicBezTo>
                    <a:pt x="65605" y="79967"/>
                    <a:pt x="123825" y="63088"/>
                    <a:pt x="164429" y="20533"/>
                  </a:cubicBezTo>
                  <a:cubicBezTo>
                    <a:pt x="175133" y="9360"/>
                    <a:pt x="158267" y="-7598"/>
                    <a:pt x="147563" y="3536"/>
                  </a:cubicBezTo>
                  <a:cubicBezTo>
                    <a:pt x="112766" y="39989"/>
                    <a:pt x="63867" y="54965"/>
                    <a:pt x="14733" y="43435"/>
                  </a:cubicBezTo>
                  <a:cubicBezTo>
                    <a:pt x="-238" y="39909"/>
                    <a:pt x="-6636" y="63049"/>
                    <a:pt x="8373" y="66575"/>
                  </a:cubicBezTo>
                  <a:close/>
                </a:path>
              </a:pathLst>
            </a:custGeom>
            <a:grpFill/>
            <a:ln w="39496" cap="flat">
              <a:noFill/>
              <a:prstDash val="solid"/>
              <a:round/>
            </a:ln>
          </p:spPr>
          <p:txBody>
            <a:bodyPr rtlCol="0" anchor="ctr"/>
            <a:lstStyle/>
            <a:p>
              <a:endParaRPr lang="en-LT"/>
            </a:p>
          </p:txBody>
        </p:sp>
        <p:sp>
          <p:nvSpPr>
            <p:cNvPr id="73" name="Freeform 72">
              <a:extLst>
                <a:ext uri="{FF2B5EF4-FFF2-40B4-BE49-F238E27FC236}">
                  <a16:creationId xmlns:a16="http://schemas.microsoft.com/office/drawing/2014/main" id="{25D0E7E3-A59A-0246-B1D4-BB9481E0DF4F}"/>
                </a:ext>
              </a:extLst>
            </p:cNvPr>
            <p:cNvSpPr/>
            <p:nvPr/>
          </p:nvSpPr>
          <p:spPr>
            <a:xfrm>
              <a:off x="5521442" y="3178159"/>
              <a:ext cx="86704" cy="186436"/>
            </a:xfrm>
            <a:custGeom>
              <a:avLst/>
              <a:gdLst>
                <a:gd name="connsiteX0" fmla="*/ 20527 w 86704"/>
                <a:gd name="connsiteY0" fmla="*/ 183112 h 186436"/>
                <a:gd name="connsiteX1" fmla="*/ 85184 w 86704"/>
                <a:gd name="connsiteY1" fmla="*/ 11349 h 186436"/>
                <a:gd name="connsiteX2" fmla="*/ 61209 w 86704"/>
                <a:gd name="connsiteY2" fmla="*/ 11349 h 186436"/>
                <a:gd name="connsiteX3" fmla="*/ 3582 w 86704"/>
                <a:gd name="connsiteY3" fmla="*/ 166154 h 186436"/>
                <a:gd name="connsiteX4" fmla="*/ 20527 w 86704"/>
                <a:gd name="connsiteY4" fmla="*/ 183112 h 186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04" h="186436">
                  <a:moveTo>
                    <a:pt x="20527" y="183112"/>
                  </a:moveTo>
                  <a:cubicBezTo>
                    <a:pt x="68635" y="139171"/>
                    <a:pt x="92571" y="76251"/>
                    <a:pt x="85184" y="11349"/>
                  </a:cubicBezTo>
                  <a:cubicBezTo>
                    <a:pt x="83446" y="-3786"/>
                    <a:pt x="59472" y="-3985"/>
                    <a:pt x="61209" y="11349"/>
                  </a:cubicBezTo>
                  <a:cubicBezTo>
                    <a:pt x="67963" y="70545"/>
                    <a:pt x="47582" y="125977"/>
                    <a:pt x="3582" y="166154"/>
                  </a:cubicBezTo>
                  <a:cubicBezTo>
                    <a:pt x="-7833" y="176575"/>
                    <a:pt x="9152" y="193493"/>
                    <a:pt x="20527" y="183112"/>
                  </a:cubicBezTo>
                  <a:close/>
                </a:path>
              </a:pathLst>
            </a:custGeom>
            <a:grpFill/>
            <a:ln w="39496" cap="flat">
              <a:noFill/>
              <a:prstDash val="solid"/>
              <a:round/>
            </a:ln>
          </p:spPr>
          <p:txBody>
            <a:bodyPr rtlCol="0" anchor="ctr"/>
            <a:lstStyle/>
            <a:p>
              <a:endParaRPr lang="en-LT"/>
            </a:p>
          </p:txBody>
        </p:sp>
        <p:sp>
          <p:nvSpPr>
            <p:cNvPr id="74" name="Freeform 73">
              <a:extLst>
                <a:ext uri="{FF2B5EF4-FFF2-40B4-BE49-F238E27FC236}">
                  <a16:creationId xmlns:a16="http://schemas.microsoft.com/office/drawing/2014/main" id="{9A4B02A9-A7BC-8041-90F7-5FD719B2307C}"/>
                </a:ext>
              </a:extLst>
            </p:cNvPr>
            <p:cNvSpPr/>
            <p:nvPr/>
          </p:nvSpPr>
          <p:spPr>
            <a:xfrm>
              <a:off x="5518046" y="3517223"/>
              <a:ext cx="96344" cy="179381"/>
            </a:xfrm>
            <a:custGeom>
              <a:avLst/>
              <a:gdLst>
                <a:gd name="connsiteX0" fmla="*/ 2950 w 96344"/>
                <a:gd name="connsiteY0" fmla="*/ 20790 h 179381"/>
                <a:gd name="connsiteX1" fmla="*/ 72900 w 96344"/>
                <a:gd name="connsiteY1" fmla="*/ 170642 h 179381"/>
                <a:gd name="connsiteX2" fmla="*/ 95967 w 96344"/>
                <a:gd name="connsiteY2" fmla="*/ 164302 h 179381"/>
                <a:gd name="connsiteX3" fmla="*/ 19894 w 96344"/>
                <a:gd name="connsiteY3" fmla="*/ 3832 h 179381"/>
                <a:gd name="connsiteX4" fmla="*/ 2950 w 96344"/>
                <a:gd name="connsiteY4" fmla="*/ 20790 h 179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4" h="179381">
                  <a:moveTo>
                    <a:pt x="2950" y="20790"/>
                  </a:moveTo>
                  <a:cubicBezTo>
                    <a:pt x="40828" y="63701"/>
                    <a:pt x="63934" y="114180"/>
                    <a:pt x="72900" y="170642"/>
                  </a:cubicBezTo>
                  <a:cubicBezTo>
                    <a:pt x="75309" y="185857"/>
                    <a:pt x="98376" y="179398"/>
                    <a:pt x="95967" y="164302"/>
                  </a:cubicBezTo>
                  <a:cubicBezTo>
                    <a:pt x="86408" y="103799"/>
                    <a:pt x="60301" y="49675"/>
                    <a:pt x="19894" y="3832"/>
                  </a:cubicBezTo>
                  <a:cubicBezTo>
                    <a:pt x="9665" y="-7778"/>
                    <a:pt x="-7241" y="9260"/>
                    <a:pt x="2950" y="20790"/>
                  </a:cubicBezTo>
                  <a:close/>
                </a:path>
              </a:pathLst>
            </a:custGeom>
            <a:grpFill/>
            <a:ln w="39496" cap="flat">
              <a:noFill/>
              <a:prstDash val="solid"/>
              <a:round/>
            </a:ln>
          </p:spPr>
          <p:txBody>
            <a:bodyPr rtlCol="0" anchor="ctr"/>
            <a:lstStyle/>
            <a:p>
              <a:endParaRPr lang="en-LT"/>
            </a:p>
          </p:txBody>
        </p:sp>
        <p:sp>
          <p:nvSpPr>
            <p:cNvPr id="75" name="Freeform 74">
              <a:extLst>
                <a:ext uri="{FF2B5EF4-FFF2-40B4-BE49-F238E27FC236}">
                  <a16:creationId xmlns:a16="http://schemas.microsoft.com/office/drawing/2014/main" id="{03986B33-457D-CB48-9EE9-82663E31C3D3}"/>
                </a:ext>
              </a:extLst>
            </p:cNvPr>
            <p:cNvSpPr/>
            <p:nvPr/>
          </p:nvSpPr>
          <p:spPr>
            <a:xfrm>
              <a:off x="6072764" y="3971107"/>
              <a:ext cx="164088" cy="46892"/>
            </a:xfrm>
            <a:custGeom>
              <a:avLst/>
              <a:gdLst>
                <a:gd name="connsiteX0" fmla="*/ 148888 w 164088"/>
                <a:gd name="connsiteY0" fmla="*/ 169 h 46892"/>
                <a:gd name="connsiteX1" fmla="*/ 8474 w 164088"/>
                <a:gd name="connsiteY1" fmla="*/ 23546 h 46892"/>
                <a:gd name="connsiteX2" fmla="*/ 14872 w 164088"/>
                <a:gd name="connsiteY2" fmla="*/ 46685 h 46892"/>
                <a:gd name="connsiteX3" fmla="*/ 155247 w 164088"/>
                <a:gd name="connsiteY3" fmla="*/ 23308 h 46892"/>
                <a:gd name="connsiteX4" fmla="*/ 148888 w 164088"/>
                <a:gd name="connsiteY4" fmla="*/ 169 h 46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88" h="46892">
                  <a:moveTo>
                    <a:pt x="148888" y="169"/>
                  </a:moveTo>
                  <a:cubicBezTo>
                    <a:pt x="102123" y="7974"/>
                    <a:pt x="55318" y="15740"/>
                    <a:pt x="8474" y="23546"/>
                  </a:cubicBezTo>
                  <a:cubicBezTo>
                    <a:pt x="-6654" y="26042"/>
                    <a:pt x="-216" y="49182"/>
                    <a:pt x="14872" y="46685"/>
                  </a:cubicBezTo>
                  <a:cubicBezTo>
                    <a:pt x="61677" y="38880"/>
                    <a:pt x="108481" y="31074"/>
                    <a:pt x="155247" y="23308"/>
                  </a:cubicBezTo>
                  <a:cubicBezTo>
                    <a:pt x="170453" y="20812"/>
                    <a:pt x="164015" y="-2327"/>
                    <a:pt x="148888" y="169"/>
                  </a:cubicBezTo>
                  <a:close/>
                </a:path>
              </a:pathLst>
            </a:custGeom>
            <a:grpFill/>
            <a:ln w="39496" cap="flat">
              <a:noFill/>
              <a:prstDash val="solid"/>
              <a:round/>
            </a:ln>
          </p:spPr>
          <p:txBody>
            <a:bodyPr rtlCol="0" anchor="ctr"/>
            <a:lstStyle/>
            <a:p>
              <a:endParaRPr lang="en-LT"/>
            </a:p>
          </p:txBody>
        </p:sp>
        <p:sp>
          <p:nvSpPr>
            <p:cNvPr id="76" name="Freeform 75">
              <a:extLst>
                <a:ext uri="{FF2B5EF4-FFF2-40B4-BE49-F238E27FC236}">
                  <a16:creationId xmlns:a16="http://schemas.microsoft.com/office/drawing/2014/main" id="{EDEB4064-CD57-EB48-92E1-C43206E8659E}"/>
                </a:ext>
              </a:extLst>
            </p:cNvPr>
            <p:cNvSpPr/>
            <p:nvPr/>
          </p:nvSpPr>
          <p:spPr>
            <a:xfrm>
              <a:off x="6447251" y="3744094"/>
              <a:ext cx="116123" cy="129191"/>
            </a:xfrm>
            <a:custGeom>
              <a:avLst/>
              <a:gdLst>
                <a:gd name="connsiteX0" fmla="*/ 98033 w 116123"/>
                <a:gd name="connsiteY0" fmla="*/ 1557 h 129191"/>
                <a:gd name="connsiteX1" fmla="*/ 711 w 116123"/>
                <a:gd name="connsiteY1" fmla="*/ 114678 h 129191"/>
                <a:gd name="connsiteX2" fmla="*/ 23817 w 116123"/>
                <a:gd name="connsiteY2" fmla="*/ 121057 h 129191"/>
                <a:gd name="connsiteX3" fmla="*/ 110119 w 116123"/>
                <a:gd name="connsiteY3" fmla="*/ 22279 h 129191"/>
                <a:gd name="connsiteX4" fmla="*/ 98033 w 116123"/>
                <a:gd name="connsiteY4" fmla="*/ 1557 h 12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23" h="129191">
                  <a:moveTo>
                    <a:pt x="98033" y="1557"/>
                  </a:moveTo>
                  <a:cubicBezTo>
                    <a:pt x="52571" y="26717"/>
                    <a:pt x="19117" y="66181"/>
                    <a:pt x="711" y="114678"/>
                  </a:cubicBezTo>
                  <a:cubicBezTo>
                    <a:pt x="-4780" y="129140"/>
                    <a:pt x="18326" y="135361"/>
                    <a:pt x="23817" y="121057"/>
                  </a:cubicBezTo>
                  <a:cubicBezTo>
                    <a:pt x="40011" y="78423"/>
                    <a:pt x="70345" y="44269"/>
                    <a:pt x="110119" y="22279"/>
                  </a:cubicBezTo>
                  <a:cubicBezTo>
                    <a:pt x="123588" y="14830"/>
                    <a:pt x="111501" y="-5893"/>
                    <a:pt x="98033" y="1557"/>
                  </a:cubicBezTo>
                  <a:close/>
                </a:path>
              </a:pathLst>
            </a:custGeom>
            <a:grpFill/>
            <a:ln w="39496" cap="flat">
              <a:noFill/>
              <a:prstDash val="solid"/>
              <a:round/>
            </a:ln>
          </p:spPr>
          <p:txBody>
            <a:bodyPr rtlCol="0" anchor="ctr"/>
            <a:lstStyle/>
            <a:p>
              <a:endParaRPr lang="en-LT"/>
            </a:p>
          </p:txBody>
        </p:sp>
        <p:sp>
          <p:nvSpPr>
            <p:cNvPr id="77" name="Freeform 76">
              <a:extLst>
                <a:ext uri="{FF2B5EF4-FFF2-40B4-BE49-F238E27FC236}">
                  <a16:creationId xmlns:a16="http://schemas.microsoft.com/office/drawing/2014/main" id="{4066E511-DCD2-7541-A8DF-97991A66EF67}"/>
                </a:ext>
              </a:extLst>
            </p:cNvPr>
            <p:cNvSpPr/>
            <p:nvPr/>
          </p:nvSpPr>
          <p:spPr>
            <a:xfrm>
              <a:off x="6624167" y="3321131"/>
              <a:ext cx="43608" cy="170742"/>
            </a:xfrm>
            <a:custGeom>
              <a:avLst/>
              <a:gdLst>
                <a:gd name="connsiteX0" fmla="*/ 23940 w 43608"/>
                <a:gd name="connsiteY0" fmla="*/ 159295 h 170742"/>
                <a:gd name="connsiteX1" fmla="*/ 43373 w 43608"/>
                <a:gd name="connsiteY1" fmla="*/ 11345 h 170742"/>
                <a:gd name="connsiteX2" fmla="*/ 19438 w 43608"/>
                <a:gd name="connsiteY2" fmla="*/ 11345 h 170742"/>
                <a:gd name="connsiteX3" fmla="*/ 5 w 43608"/>
                <a:gd name="connsiteY3" fmla="*/ 159295 h 170742"/>
                <a:gd name="connsiteX4" fmla="*/ 23940 w 43608"/>
                <a:gd name="connsiteY4" fmla="*/ 159295 h 17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08" h="170742">
                  <a:moveTo>
                    <a:pt x="23940" y="159295"/>
                  </a:moveTo>
                  <a:cubicBezTo>
                    <a:pt x="30418" y="109965"/>
                    <a:pt x="36896" y="60635"/>
                    <a:pt x="43373" y="11345"/>
                  </a:cubicBezTo>
                  <a:cubicBezTo>
                    <a:pt x="45387" y="-3949"/>
                    <a:pt x="21452" y="-3791"/>
                    <a:pt x="19438" y="11345"/>
                  </a:cubicBezTo>
                  <a:cubicBezTo>
                    <a:pt x="12960" y="60635"/>
                    <a:pt x="6483" y="109965"/>
                    <a:pt x="5" y="159295"/>
                  </a:cubicBezTo>
                  <a:cubicBezTo>
                    <a:pt x="-2009" y="174549"/>
                    <a:pt x="21926" y="174391"/>
                    <a:pt x="23940" y="159295"/>
                  </a:cubicBezTo>
                  <a:close/>
                </a:path>
              </a:pathLst>
            </a:custGeom>
            <a:grpFill/>
            <a:ln w="39496" cap="flat">
              <a:noFill/>
              <a:prstDash val="solid"/>
              <a:round/>
            </a:ln>
          </p:spPr>
          <p:txBody>
            <a:bodyPr rtlCol="0" anchor="ctr"/>
            <a:lstStyle/>
            <a:p>
              <a:endParaRPr lang="en-LT"/>
            </a:p>
          </p:txBody>
        </p:sp>
        <p:sp>
          <p:nvSpPr>
            <p:cNvPr id="78" name="Freeform 77">
              <a:extLst>
                <a:ext uri="{FF2B5EF4-FFF2-40B4-BE49-F238E27FC236}">
                  <a16:creationId xmlns:a16="http://schemas.microsoft.com/office/drawing/2014/main" id="{69AC4242-71E5-AF4A-A82A-80CC44D65541}"/>
                </a:ext>
              </a:extLst>
            </p:cNvPr>
            <p:cNvSpPr/>
            <p:nvPr/>
          </p:nvSpPr>
          <p:spPr>
            <a:xfrm>
              <a:off x="6474472" y="2957657"/>
              <a:ext cx="113655" cy="199120"/>
            </a:xfrm>
            <a:custGeom>
              <a:avLst/>
              <a:gdLst>
                <a:gd name="connsiteX0" fmla="*/ 110036 w 113655"/>
                <a:gd name="connsiteY0" fmla="*/ 178502 h 199120"/>
                <a:gd name="connsiteX1" fmla="*/ 23141 w 113655"/>
                <a:gd name="connsiteY1" fmla="*/ 8561 h 199120"/>
                <a:gd name="connsiteX2" fmla="*/ 75 w 113655"/>
                <a:gd name="connsiteY2" fmla="*/ 14980 h 199120"/>
                <a:gd name="connsiteX3" fmla="*/ 93091 w 113655"/>
                <a:gd name="connsiteY3" fmla="*/ 195500 h 199120"/>
                <a:gd name="connsiteX4" fmla="*/ 110036 w 113655"/>
                <a:gd name="connsiteY4" fmla="*/ 178502 h 199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55" h="199120">
                  <a:moveTo>
                    <a:pt x="110036" y="178502"/>
                  </a:moveTo>
                  <a:cubicBezTo>
                    <a:pt x="63231" y="131510"/>
                    <a:pt x="34082" y="73978"/>
                    <a:pt x="23141" y="8561"/>
                  </a:cubicBezTo>
                  <a:cubicBezTo>
                    <a:pt x="20573" y="-6614"/>
                    <a:pt x="-2493" y="-155"/>
                    <a:pt x="75" y="14980"/>
                  </a:cubicBezTo>
                  <a:cubicBezTo>
                    <a:pt x="11648" y="84161"/>
                    <a:pt x="43641" y="145853"/>
                    <a:pt x="93091" y="195500"/>
                  </a:cubicBezTo>
                  <a:cubicBezTo>
                    <a:pt x="103954" y="206436"/>
                    <a:pt x="120898" y="189438"/>
                    <a:pt x="110036" y="178502"/>
                  </a:cubicBezTo>
                  <a:close/>
                </a:path>
              </a:pathLst>
            </a:custGeom>
            <a:grpFill/>
            <a:ln w="39496" cap="flat">
              <a:noFill/>
              <a:prstDash val="solid"/>
              <a:round/>
            </a:ln>
          </p:spPr>
          <p:txBody>
            <a:bodyPr rtlCol="0" anchor="ctr"/>
            <a:lstStyle/>
            <a:p>
              <a:endParaRPr lang="en-LT"/>
            </a:p>
          </p:txBody>
        </p:sp>
        <p:sp>
          <p:nvSpPr>
            <p:cNvPr id="79" name="Freeform 78">
              <a:extLst>
                <a:ext uri="{FF2B5EF4-FFF2-40B4-BE49-F238E27FC236}">
                  <a16:creationId xmlns:a16="http://schemas.microsoft.com/office/drawing/2014/main" id="{18D4FC26-DE5B-6C42-BB98-A5F68A0B4E50}"/>
                </a:ext>
              </a:extLst>
            </p:cNvPr>
            <p:cNvSpPr/>
            <p:nvPr/>
          </p:nvSpPr>
          <p:spPr>
            <a:xfrm>
              <a:off x="6081883" y="2855132"/>
              <a:ext cx="273626" cy="64400"/>
            </a:xfrm>
            <a:custGeom>
              <a:avLst/>
              <a:gdLst>
                <a:gd name="connsiteX0" fmla="*/ 5916 w 273626"/>
                <a:gd name="connsiteY0" fmla="*/ 22002 h 64400"/>
                <a:gd name="connsiteX1" fmla="*/ 264863 w 273626"/>
                <a:gd name="connsiteY1" fmla="*/ 55087 h 64400"/>
                <a:gd name="connsiteX2" fmla="*/ 258504 w 273626"/>
                <a:gd name="connsiteY2" fmla="*/ 31948 h 64400"/>
                <a:gd name="connsiteX3" fmla="*/ 18002 w 273626"/>
                <a:gd name="connsiteY3" fmla="*/ 1280 h 64400"/>
                <a:gd name="connsiteX4" fmla="*/ 5916 w 273626"/>
                <a:gd name="connsiteY4" fmla="*/ 22002 h 6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626" h="64400">
                  <a:moveTo>
                    <a:pt x="5916" y="22002"/>
                  </a:moveTo>
                  <a:cubicBezTo>
                    <a:pt x="87637" y="63170"/>
                    <a:pt x="175440" y="74462"/>
                    <a:pt x="264863" y="55087"/>
                  </a:cubicBezTo>
                  <a:cubicBezTo>
                    <a:pt x="279952" y="51838"/>
                    <a:pt x="273552" y="28699"/>
                    <a:pt x="258504" y="31948"/>
                  </a:cubicBezTo>
                  <a:cubicBezTo>
                    <a:pt x="175599" y="49897"/>
                    <a:pt x="93799" y="39515"/>
                    <a:pt x="18002" y="1280"/>
                  </a:cubicBezTo>
                  <a:cubicBezTo>
                    <a:pt x="4297" y="-5614"/>
                    <a:pt x="-7869" y="15069"/>
                    <a:pt x="5916" y="22002"/>
                  </a:cubicBezTo>
                  <a:close/>
                </a:path>
              </a:pathLst>
            </a:custGeom>
            <a:grpFill/>
            <a:ln w="39496" cap="flat">
              <a:noFill/>
              <a:prstDash val="solid"/>
              <a:round/>
            </a:ln>
          </p:spPr>
          <p:txBody>
            <a:bodyPr rtlCol="0" anchor="ctr"/>
            <a:lstStyle/>
            <a:p>
              <a:endParaRPr lang="en-LT"/>
            </a:p>
          </p:txBody>
        </p:sp>
        <p:sp>
          <p:nvSpPr>
            <p:cNvPr id="80" name="Freeform 79">
              <a:extLst>
                <a:ext uri="{FF2B5EF4-FFF2-40B4-BE49-F238E27FC236}">
                  <a16:creationId xmlns:a16="http://schemas.microsoft.com/office/drawing/2014/main" id="{46E6C581-5BDC-D245-AEEC-8C65FB554BDA}"/>
                </a:ext>
              </a:extLst>
            </p:cNvPr>
            <p:cNvSpPr/>
            <p:nvPr/>
          </p:nvSpPr>
          <p:spPr>
            <a:xfrm>
              <a:off x="5439928" y="2463804"/>
              <a:ext cx="731910" cy="287111"/>
            </a:xfrm>
            <a:custGeom>
              <a:avLst/>
              <a:gdLst>
                <a:gd name="connsiteX0" fmla="*/ 20142 w 731910"/>
                <a:gd name="connsiteY0" fmla="*/ 283307 h 287111"/>
                <a:gd name="connsiteX1" fmla="*/ 643573 w 731910"/>
                <a:gd name="connsiteY1" fmla="*/ 58331 h 287111"/>
                <a:gd name="connsiteX2" fmla="*/ 558890 w 731910"/>
                <a:gd name="connsiteY2" fmla="*/ 65622 h 287111"/>
                <a:gd name="connsiteX3" fmla="*/ 558890 w 731910"/>
                <a:gd name="connsiteY3" fmla="*/ 89593 h 287111"/>
                <a:gd name="connsiteX4" fmla="*/ 717710 w 731910"/>
                <a:gd name="connsiteY4" fmla="*/ 75963 h 287111"/>
                <a:gd name="connsiteX5" fmla="*/ 729243 w 731910"/>
                <a:gd name="connsiteY5" fmla="*/ 65384 h 287111"/>
                <a:gd name="connsiteX6" fmla="*/ 723161 w 731910"/>
                <a:gd name="connsiteY6" fmla="*/ 47118 h 287111"/>
                <a:gd name="connsiteX7" fmla="*/ 685875 w 731910"/>
                <a:gd name="connsiteY7" fmla="*/ 40144 h 287111"/>
                <a:gd name="connsiteX8" fmla="*/ 572596 w 731910"/>
                <a:gd name="connsiteY8" fmla="*/ 601 h 287111"/>
                <a:gd name="connsiteX9" fmla="*/ 566237 w 731910"/>
                <a:gd name="connsiteY9" fmla="*/ 23701 h 287111"/>
                <a:gd name="connsiteX10" fmla="*/ 583853 w 731910"/>
                <a:gd name="connsiteY10" fmla="*/ 29883 h 287111"/>
                <a:gd name="connsiteX11" fmla="*/ 3198 w 731910"/>
                <a:gd name="connsiteY11" fmla="*/ 266349 h 287111"/>
                <a:gd name="connsiteX12" fmla="*/ 20142 w 731910"/>
                <a:gd name="connsiteY12" fmla="*/ 283307 h 28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1910" h="287111">
                  <a:moveTo>
                    <a:pt x="20142" y="283307"/>
                  </a:moveTo>
                  <a:cubicBezTo>
                    <a:pt x="180977" y="114516"/>
                    <a:pt x="414211" y="31745"/>
                    <a:pt x="643573" y="58331"/>
                  </a:cubicBezTo>
                  <a:cubicBezTo>
                    <a:pt x="615332" y="60748"/>
                    <a:pt x="587091" y="63205"/>
                    <a:pt x="558890" y="65622"/>
                  </a:cubicBezTo>
                  <a:cubicBezTo>
                    <a:pt x="543683" y="66930"/>
                    <a:pt x="543526" y="90941"/>
                    <a:pt x="558890" y="89593"/>
                  </a:cubicBezTo>
                  <a:cubicBezTo>
                    <a:pt x="611817" y="85037"/>
                    <a:pt x="664784" y="80480"/>
                    <a:pt x="717710" y="75963"/>
                  </a:cubicBezTo>
                  <a:cubicBezTo>
                    <a:pt x="724464" y="75369"/>
                    <a:pt x="728532" y="70575"/>
                    <a:pt x="729243" y="65384"/>
                  </a:cubicBezTo>
                  <a:cubicBezTo>
                    <a:pt x="733589" y="59124"/>
                    <a:pt x="732640" y="49218"/>
                    <a:pt x="723161" y="47118"/>
                  </a:cubicBezTo>
                  <a:cubicBezTo>
                    <a:pt x="710759" y="44384"/>
                    <a:pt x="698357" y="42284"/>
                    <a:pt x="685875" y="40144"/>
                  </a:cubicBezTo>
                  <a:cubicBezTo>
                    <a:pt x="648116" y="26951"/>
                    <a:pt x="610355" y="13756"/>
                    <a:pt x="572596" y="601"/>
                  </a:cubicBezTo>
                  <a:cubicBezTo>
                    <a:pt x="558021" y="-4510"/>
                    <a:pt x="551741" y="18669"/>
                    <a:pt x="566237" y="23701"/>
                  </a:cubicBezTo>
                  <a:cubicBezTo>
                    <a:pt x="572122" y="25762"/>
                    <a:pt x="577968" y="27822"/>
                    <a:pt x="583853" y="29883"/>
                  </a:cubicBezTo>
                  <a:cubicBezTo>
                    <a:pt x="368116" y="22949"/>
                    <a:pt x="154592" y="107503"/>
                    <a:pt x="3198" y="266349"/>
                  </a:cubicBezTo>
                  <a:cubicBezTo>
                    <a:pt x="-7427" y="277523"/>
                    <a:pt x="9438" y="294521"/>
                    <a:pt x="20142" y="283307"/>
                  </a:cubicBezTo>
                  <a:close/>
                </a:path>
              </a:pathLst>
            </a:custGeom>
            <a:grpFill/>
            <a:ln w="39496" cap="flat">
              <a:noFill/>
              <a:prstDash val="solid"/>
              <a:round/>
            </a:ln>
          </p:spPr>
          <p:txBody>
            <a:bodyPr rtlCol="0" anchor="ctr"/>
            <a:lstStyle/>
            <a:p>
              <a:endParaRPr lang="en-LT"/>
            </a:p>
          </p:txBody>
        </p:sp>
        <p:sp>
          <p:nvSpPr>
            <p:cNvPr id="81" name="Freeform 80">
              <a:extLst>
                <a:ext uri="{FF2B5EF4-FFF2-40B4-BE49-F238E27FC236}">
                  <a16:creationId xmlns:a16="http://schemas.microsoft.com/office/drawing/2014/main" id="{1C45416D-DB64-244E-8073-9AA2FF4CC1F9}"/>
                </a:ext>
              </a:extLst>
            </p:cNvPr>
            <p:cNvSpPr/>
            <p:nvPr/>
          </p:nvSpPr>
          <p:spPr>
            <a:xfrm>
              <a:off x="6744737" y="2707302"/>
              <a:ext cx="334766" cy="760380"/>
            </a:xfrm>
            <a:custGeom>
              <a:avLst/>
              <a:gdLst>
                <a:gd name="connsiteX0" fmla="*/ 20779 w 334766"/>
                <a:gd name="connsiteY0" fmla="*/ 2998 h 760380"/>
                <a:gd name="connsiteX1" fmla="*/ 3834 w 334766"/>
                <a:gd name="connsiteY1" fmla="*/ 19957 h 760380"/>
                <a:gd name="connsiteX2" fmla="*/ 267482 w 334766"/>
                <a:gd name="connsiteY2" fmla="*/ 661681 h 760380"/>
                <a:gd name="connsiteX3" fmla="*/ 259582 w 334766"/>
                <a:gd name="connsiteY3" fmla="*/ 573679 h 760380"/>
                <a:gd name="connsiteX4" fmla="*/ 235647 w 334766"/>
                <a:gd name="connsiteY4" fmla="*/ 573679 h 760380"/>
                <a:gd name="connsiteX5" fmla="*/ 251327 w 334766"/>
                <a:gd name="connsiteY5" fmla="*/ 748097 h 760380"/>
                <a:gd name="connsiteX6" fmla="*/ 273604 w 334766"/>
                <a:gd name="connsiteY6" fmla="*/ 754159 h 760380"/>
                <a:gd name="connsiteX7" fmla="*/ 333561 w 334766"/>
                <a:gd name="connsiteY7" fmla="*/ 617224 h 760380"/>
                <a:gd name="connsiteX8" fmla="*/ 312864 w 334766"/>
                <a:gd name="connsiteY8" fmla="*/ 605139 h 760380"/>
                <a:gd name="connsiteX9" fmla="*/ 291417 w 334766"/>
                <a:gd name="connsiteY9" fmla="*/ 654112 h 760380"/>
                <a:gd name="connsiteX10" fmla="*/ 20779 w 334766"/>
                <a:gd name="connsiteY10" fmla="*/ 2998 h 760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4766" h="760380">
                  <a:moveTo>
                    <a:pt x="20779" y="2998"/>
                  </a:moveTo>
                  <a:cubicBezTo>
                    <a:pt x="9167" y="-7066"/>
                    <a:pt x="-7857" y="9814"/>
                    <a:pt x="3834" y="19957"/>
                  </a:cubicBezTo>
                  <a:cubicBezTo>
                    <a:pt x="187735" y="179476"/>
                    <a:pt x="286243" y="420024"/>
                    <a:pt x="267482" y="661681"/>
                  </a:cubicBezTo>
                  <a:cubicBezTo>
                    <a:pt x="264835" y="632360"/>
                    <a:pt x="262229" y="603040"/>
                    <a:pt x="259582" y="573679"/>
                  </a:cubicBezTo>
                  <a:cubicBezTo>
                    <a:pt x="258199" y="558425"/>
                    <a:pt x="234264" y="558305"/>
                    <a:pt x="235647" y="573679"/>
                  </a:cubicBezTo>
                  <a:cubicBezTo>
                    <a:pt x="240860" y="631845"/>
                    <a:pt x="246113" y="689971"/>
                    <a:pt x="251327" y="748097"/>
                  </a:cubicBezTo>
                  <a:cubicBezTo>
                    <a:pt x="252235" y="758518"/>
                    <a:pt x="268351" y="766204"/>
                    <a:pt x="273604" y="754159"/>
                  </a:cubicBezTo>
                  <a:cubicBezTo>
                    <a:pt x="293589" y="708514"/>
                    <a:pt x="313575" y="662869"/>
                    <a:pt x="333561" y="617224"/>
                  </a:cubicBezTo>
                  <a:cubicBezTo>
                    <a:pt x="339644" y="603237"/>
                    <a:pt x="319066" y="590994"/>
                    <a:pt x="312864" y="605139"/>
                  </a:cubicBezTo>
                  <a:cubicBezTo>
                    <a:pt x="305715" y="621464"/>
                    <a:pt x="298566" y="637788"/>
                    <a:pt x="291417" y="654112"/>
                  </a:cubicBezTo>
                  <a:cubicBezTo>
                    <a:pt x="306940" y="408691"/>
                    <a:pt x="208037" y="165450"/>
                    <a:pt x="20779" y="2998"/>
                  </a:cubicBezTo>
                  <a:close/>
                </a:path>
              </a:pathLst>
            </a:custGeom>
            <a:grpFill/>
            <a:ln w="39496" cap="flat">
              <a:noFill/>
              <a:prstDash val="solid"/>
              <a:round/>
            </a:ln>
          </p:spPr>
          <p:txBody>
            <a:bodyPr rtlCol="0" anchor="ctr"/>
            <a:lstStyle/>
            <a:p>
              <a:endParaRPr lang="en-LT"/>
            </a:p>
          </p:txBody>
        </p:sp>
        <p:sp>
          <p:nvSpPr>
            <p:cNvPr id="82" name="Freeform 81">
              <a:extLst>
                <a:ext uri="{FF2B5EF4-FFF2-40B4-BE49-F238E27FC236}">
                  <a16:creationId xmlns:a16="http://schemas.microsoft.com/office/drawing/2014/main" id="{1AD1E513-86D6-5E4E-83FD-6C758EACE6D2}"/>
                </a:ext>
              </a:extLst>
            </p:cNvPr>
            <p:cNvSpPr/>
            <p:nvPr/>
          </p:nvSpPr>
          <p:spPr>
            <a:xfrm>
              <a:off x="6131722" y="3965370"/>
              <a:ext cx="766105" cy="419960"/>
            </a:xfrm>
            <a:custGeom>
              <a:avLst/>
              <a:gdLst>
                <a:gd name="connsiteX0" fmla="*/ 764026 w 766105"/>
                <a:gd name="connsiteY0" fmla="*/ 17648 h 419960"/>
                <a:gd name="connsiteX1" fmla="*/ 743329 w 766105"/>
                <a:gd name="connsiteY1" fmla="*/ 5564 h 419960"/>
                <a:gd name="connsiteX2" fmla="*/ 129733 w 766105"/>
                <a:gd name="connsiteY2" fmla="*/ 372586 h 419960"/>
                <a:gd name="connsiteX3" fmla="*/ 212638 w 766105"/>
                <a:gd name="connsiteY3" fmla="*/ 350040 h 419960"/>
                <a:gd name="connsiteX4" fmla="*/ 206280 w 766105"/>
                <a:gd name="connsiteY4" fmla="*/ 326940 h 419960"/>
                <a:gd name="connsiteX5" fmla="*/ 31818 w 766105"/>
                <a:gd name="connsiteY5" fmla="*/ 374329 h 419960"/>
                <a:gd name="connsiteX6" fmla="*/ 11280 w 766105"/>
                <a:gd name="connsiteY6" fmla="*/ 373576 h 419960"/>
                <a:gd name="connsiteX7" fmla="*/ 8001 w 766105"/>
                <a:gd name="connsiteY7" fmla="*/ 396676 h 419960"/>
                <a:gd name="connsiteX8" fmla="*/ 16928 w 766105"/>
                <a:gd name="connsiteY8" fmla="*/ 401826 h 419960"/>
                <a:gd name="connsiteX9" fmla="*/ 214416 w 766105"/>
                <a:gd name="connsiteY9" fmla="*/ 419895 h 419960"/>
                <a:gd name="connsiteX10" fmla="*/ 214416 w 766105"/>
                <a:gd name="connsiteY10" fmla="*/ 395923 h 419960"/>
                <a:gd name="connsiteX11" fmla="*/ 173773 w 766105"/>
                <a:gd name="connsiteY11" fmla="*/ 392198 h 419960"/>
                <a:gd name="connsiteX12" fmla="*/ 764026 w 766105"/>
                <a:gd name="connsiteY12" fmla="*/ 17648 h 419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6105" h="419960">
                  <a:moveTo>
                    <a:pt x="764026" y="17648"/>
                  </a:moveTo>
                  <a:cubicBezTo>
                    <a:pt x="772399" y="4613"/>
                    <a:pt x="751663" y="-7393"/>
                    <a:pt x="743329" y="5564"/>
                  </a:cubicBezTo>
                  <a:cubicBezTo>
                    <a:pt x="607812" y="217384"/>
                    <a:pt x="376910" y="352378"/>
                    <a:pt x="129733" y="372586"/>
                  </a:cubicBezTo>
                  <a:cubicBezTo>
                    <a:pt x="157342" y="365057"/>
                    <a:pt x="184991" y="357569"/>
                    <a:pt x="212638" y="350040"/>
                  </a:cubicBezTo>
                  <a:cubicBezTo>
                    <a:pt x="227490" y="346039"/>
                    <a:pt x="221131" y="322899"/>
                    <a:pt x="206280" y="326940"/>
                  </a:cubicBezTo>
                  <a:cubicBezTo>
                    <a:pt x="148099" y="342710"/>
                    <a:pt x="89919" y="358519"/>
                    <a:pt x="31818" y="374329"/>
                  </a:cubicBezTo>
                  <a:cubicBezTo>
                    <a:pt x="24946" y="374012"/>
                    <a:pt x="18153" y="374091"/>
                    <a:pt x="11280" y="373576"/>
                  </a:cubicBezTo>
                  <a:cubicBezTo>
                    <a:pt x="-2821" y="372625"/>
                    <a:pt x="-3768" y="392555"/>
                    <a:pt x="8001" y="396676"/>
                  </a:cubicBezTo>
                  <a:cubicBezTo>
                    <a:pt x="9897" y="399410"/>
                    <a:pt x="12820" y="401470"/>
                    <a:pt x="16928" y="401826"/>
                  </a:cubicBezTo>
                  <a:lnTo>
                    <a:pt x="214416" y="419895"/>
                  </a:lnTo>
                  <a:cubicBezTo>
                    <a:pt x="229741" y="421321"/>
                    <a:pt x="229623" y="397310"/>
                    <a:pt x="214416" y="395923"/>
                  </a:cubicBezTo>
                  <a:lnTo>
                    <a:pt x="173773" y="392198"/>
                  </a:lnTo>
                  <a:cubicBezTo>
                    <a:pt x="412536" y="360302"/>
                    <a:pt x="632183" y="223684"/>
                    <a:pt x="764026" y="17648"/>
                  </a:cubicBezTo>
                  <a:close/>
                </a:path>
              </a:pathLst>
            </a:custGeom>
            <a:grpFill/>
            <a:ln w="39496" cap="flat">
              <a:noFill/>
              <a:prstDash val="solid"/>
              <a:round/>
            </a:ln>
          </p:spPr>
          <p:txBody>
            <a:bodyPr rtlCol="0" anchor="ctr"/>
            <a:lstStyle/>
            <a:p>
              <a:endParaRPr lang="en-LT"/>
            </a:p>
          </p:txBody>
        </p:sp>
        <p:sp>
          <p:nvSpPr>
            <p:cNvPr id="83" name="Freeform 82">
              <a:extLst>
                <a:ext uri="{FF2B5EF4-FFF2-40B4-BE49-F238E27FC236}">
                  <a16:creationId xmlns:a16="http://schemas.microsoft.com/office/drawing/2014/main" id="{8FCAF749-AAEA-2046-BBB9-6FE8BC81879D}"/>
                </a:ext>
              </a:extLst>
            </p:cNvPr>
            <p:cNvSpPr/>
            <p:nvPr/>
          </p:nvSpPr>
          <p:spPr>
            <a:xfrm>
              <a:off x="5105414" y="3252016"/>
              <a:ext cx="583865" cy="1093705"/>
            </a:xfrm>
            <a:custGeom>
              <a:avLst/>
              <a:gdLst>
                <a:gd name="connsiteX0" fmla="*/ 94847 w 583865"/>
                <a:gd name="connsiteY0" fmla="*/ 238467 h 1093705"/>
                <a:gd name="connsiteX1" fmla="*/ 106222 w 583865"/>
                <a:gd name="connsiteY1" fmla="*/ 11430 h 1093705"/>
                <a:gd name="connsiteX2" fmla="*/ 82682 w 583865"/>
                <a:gd name="connsiteY2" fmla="*/ 8221 h 1093705"/>
                <a:gd name="connsiteX3" fmla="*/ 79680 w 583865"/>
                <a:gd name="connsiteY3" fmla="*/ 15512 h 1093705"/>
                <a:gd name="connsiteX4" fmla="*/ 71662 w 583865"/>
                <a:gd name="connsiteY4" fmla="*/ 23475 h 1093705"/>
                <a:gd name="connsiteX5" fmla="*/ 64750 w 583865"/>
                <a:gd name="connsiteY5" fmla="*/ 51885 h 1093705"/>
                <a:gd name="connsiteX6" fmla="*/ 725 w 583865"/>
                <a:gd name="connsiteY6" fmla="*/ 207561 h 1093705"/>
                <a:gd name="connsiteX7" fmla="*/ 23791 w 583865"/>
                <a:gd name="connsiteY7" fmla="*/ 213940 h 1093705"/>
                <a:gd name="connsiteX8" fmla="*/ 46186 w 583865"/>
                <a:gd name="connsiteY8" fmla="*/ 159459 h 1093705"/>
                <a:gd name="connsiteX9" fmla="*/ 565422 w 583865"/>
                <a:gd name="connsiteY9" fmla="*/ 1092408 h 1093705"/>
                <a:gd name="connsiteX10" fmla="*/ 577509 w 583865"/>
                <a:gd name="connsiteY10" fmla="*/ 1071725 h 1093705"/>
                <a:gd name="connsiteX11" fmla="*/ 77389 w 583865"/>
                <a:gd name="connsiteY11" fmla="*/ 108545 h 1093705"/>
                <a:gd name="connsiteX12" fmla="*/ 70912 w 583865"/>
                <a:gd name="connsiteY12" fmla="*/ 238467 h 1093705"/>
                <a:gd name="connsiteX13" fmla="*/ 94847 w 583865"/>
                <a:gd name="connsiteY13" fmla="*/ 238467 h 1093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3865" h="1093705">
                  <a:moveTo>
                    <a:pt x="94847" y="238467"/>
                  </a:moveTo>
                  <a:cubicBezTo>
                    <a:pt x="98639" y="162788"/>
                    <a:pt x="102431" y="87109"/>
                    <a:pt x="106222" y="11430"/>
                  </a:cubicBezTo>
                  <a:cubicBezTo>
                    <a:pt x="106894" y="-3230"/>
                    <a:pt x="87422" y="-3309"/>
                    <a:pt x="82682" y="8221"/>
                  </a:cubicBezTo>
                  <a:cubicBezTo>
                    <a:pt x="81695" y="10677"/>
                    <a:pt x="80668" y="13094"/>
                    <a:pt x="79680" y="15512"/>
                  </a:cubicBezTo>
                  <a:cubicBezTo>
                    <a:pt x="76086" y="16383"/>
                    <a:pt x="72926" y="18761"/>
                    <a:pt x="71662" y="23475"/>
                  </a:cubicBezTo>
                  <a:cubicBezTo>
                    <a:pt x="69134" y="32906"/>
                    <a:pt x="66962" y="42415"/>
                    <a:pt x="64750" y="51885"/>
                  </a:cubicBezTo>
                  <a:cubicBezTo>
                    <a:pt x="43382" y="103750"/>
                    <a:pt x="22053" y="155695"/>
                    <a:pt x="725" y="207561"/>
                  </a:cubicBezTo>
                  <a:cubicBezTo>
                    <a:pt x="-5121" y="221825"/>
                    <a:pt x="17985" y="228046"/>
                    <a:pt x="23791" y="213940"/>
                  </a:cubicBezTo>
                  <a:lnTo>
                    <a:pt x="46186" y="159459"/>
                  </a:lnTo>
                  <a:cubicBezTo>
                    <a:pt x="3134" y="544351"/>
                    <a:pt x="206863" y="923339"/>
                    <a:pt x="565422" y="1092408"/>
                  </a:cubicBezTo>
                  <a:cubicBezTo>
                    <a:pt x="579247" y="1098945"/>
                    <a:pt x="591412" y="1078302"/>
                    <a:pt x="577509" y="1071725"/>
                  </a:cubicBezTo>
                  <a:cubicBezTo>
                    <a:pt x="210615" y="898694"/>
                    <a:pt x="8822" y="502708"/>
                    <a:pt x="77389" y="108545"/>
                  </a:cubicBezTo>
                  <a:cubicBezTo>
                    <a:pt x="75256" y="151852"/>
                    <a:pt x="73084" y="195159"/>
                    <a:pt x="70912" y="238467"/>
                  </a:cubicBezTo>
                  <a:cubicBezTo>
                    <a:pt x="70161" y="253879"/>
                    <a:pt x="94097" y="253840"/>
                    <a:pt x="94847" y="238467"/>
                  </a:cubicBezTo>
                  <a:close/>
                </a:path>
              </a:pathLst>
            </a:custGeom>
            <a:grpFill/>
            <a:ln w="39496" cap="flat">
              <a:noFill/>
              <a:prstDash val="solid"/>
              <a:round/>
            </a:ln>
          </p:spPr>
          <p:txBody>
            <a:bodyPr rtlCol="0" anchor="ctr"/>
            <a:lstStyle/>
            <a:p>
              <a:endParaRPr lang="en-LT"/>
            </a:p>
          </p:txBody>
        </p:sp>
        <p:sp>
          <p:nvSpPr>
            <p:cNvPr id="84" name="Freeform 83">
              <a:extLst>
                <a:ext uri="{FF2B5EF4-FFF2-40B4-BE49-F238E27FC236}">
                  <a16:creationId xmlns:a16="http://schemas.microsoft.com/office/drawing/2014/main" id="{8F091EF5-1C76-194B-A3E5-0B36A3B4125B}"/>
                </a:ext>
              </a:extLst>
            </p:cNvPr>
            <p:cNvSpPr/>
            <p:nvPr/>
          </p:nvSpPr>
          <p:spPr>
            <a:xfrm>
              <a:off x="5651842" y="3100193"/>
              <a:ext cx="166093" cy="687570"/>
            </a:xfrm>
            <a:custGeom>
              <a:avLst/>
              <a:gdLst>
                <a:gd name="connsiteX0" fmla="*/ 157342 w 166093"/>
                <a:gd name="connsiteY0" fmla="*/ 27241 h 687570"/>
                <a:gd name="connsiteX1" fmla="*/ 164649 w 166093"/>
                <a:gd name="connsiteY1" fmla="*/ 17969 h 687570"/>
                <a:gd name="connsiteX2" fmla="*/ 159357 w 166093"/>
                <a:gd name="connsiteY2" fmla="*/ 1248 h 687570"/>
                <a:gd name="connsiteX3" fmla="*/ 143952 w 166093"/>
                <a:gd name="connsiteY3" fmla="*/ 6241 h 687570"/>
                <a:gd name="connsiteX4" fmla="*/ 139607 w 166093"/>
                <a:gd name="connsiteY4" fmla="*/ 11154 h 687570"/>
                <a:gd name="connsiteX5" fmla="*/ 128824 w 166093"/>
                <a:gd name="connsiteY5" fmla="*/ 682912 h 687570"/>
                <a:gd name="connsiteX6" fmla="*/ 138225 w 166093"/>
                <a:gd name="connsiteY6" fmla="*/ 687508 h 687570"/>
                <a:gd name="connsiteX7" fmla="*/ 145572 w 166093"/>
                <a:gd name="connsiteY7" fmla="*/ 684932 h 687570"/>
                <a:gd name="connsiteX8" fmla="*/ 147626 w 166093"/>
                <a:gd name="connsiteY8" fmla="*/ 668093 h 687570"/>
                <a:gd name="connsiteX9" fmla="*/ 157342 w 166093"/>
                <a:gd name="connsiteY9" fmla="*/ 27241 h 687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093" h="687570">
                  <a:moveTo>
                    <a:pt x="157342" y="27241"/>
                  </a:moveTo>
                  <a:cubicBezTo>
                    <a:pt x="162280" y="21773"/>
                    <a:pt x="163622" y="20267"/>
                    <a:pt x="164649" y="17969"/>
                  </a:cubicBezTo>
                  <a:cubicBezTo>
                    <a:pt x="167533" y="11986"/>
                    <a:pt x="165321" y="4022"/>
                    <a:pt x="159357" y="1248"/>
                  </a:cubicBezTo>
                  <a:cubicBezTo>
                    <a:pt x="153313" y="-1604"/>
                    <a:pt x="146677" y="258"/>
                    <a:pt x="143952" y="6241"/>
                  </a:cubicBezTo>
                  <a:cubicBezTo>
                    <a:pt x="143202" y="7113"/>
                    <a:pt x="141740" y="8737"/>
                    <a:pt x="139607" y="11154"/>
                  </a:cubicBezTo>
                  <a:cubicBezTo>
                    <a:pt x="53266" y="106881"/>
                    <a:pt x="-120603" y="363991"/>
                    <a:pt x="128824" y="682912"/>
                  </a:cubicBezTo>
                  <a:cubicBezTo>
                    <a:pt x="131194" y="685923"/>
                    <a:pt x="134710" y="687508"/>
                    <a:pt x="138225" y="687508"/>
                  </a:cubicBezTo>
                  <a:cubicBezTo>
                    <a:pt x="140832" y="687508"/>
                    <a:pt x="143438" y="686675"/>
                    <a:pt x="145572" y="684932"/>
                  </a:cubicBezTo>
                  <a:cubicBezTo>
                    <a:pt x="150825" y="680851"/>
                    <a:pt x="151694" y="673323"/>
                    <a:pt x="147626" y="668093"/>
                  </a:cubicBezTo>
                  <a:cubicBezTo>
                    <a:pt x="-90545" y="363516"/>
                    <a:pt x="75108" y="118491"/>
                    <a:pt x="157342" y="27241"/>
                  </a:cubicBezTo>
                  <a:close/>
                </a:path>
              </a:pathLst>
            </a:custGeom>
            <a:grpFill/>
            <a:ln w="39496" cap="flat">
              <a:noFill/>
              <a:prstDash val="solid"/>
              <a:round/>
            </a:ln>
          </p:spPr>
          <p:txBody>
            <a:bodyPr rtlCol="0" anchor="ctr"/>
            <a:lstStyle/>
            <a:p>
              <a:endParaRPr lang="en-LT"/>
            </a:p>
          </p:txBody>
        </p:sp>
        <p:sp>
          <p:nvSpPr>
            <p:cNvPr id="85" name="Freeform 84">
              <a:extLst>
                <a:ext uri="{FF2B5EF4-FFF2-40B4-BE49-F238E27FC236}">
                  <a16:creationId xmlns:a16="http://schemas.microsoft.com/office/drawing/2014/main" id="{DC968A35-5BFD-1843-AE11-51855A7E1B8D}"/>
                </a:ext>
              </a:extLst>
            </p:cNvPr>
            <p:cNvSpPr/>
            <p:nvPr/>
          </p:nvSpPr>
          <p:spPr>
            <a:xfrm>
              <a:off x="6125303" y="3394511"/>
              <a:ext cx="427598" cy="516160"/>
            </a:xfrm>
            <a:custGeom>
              <a:avLst/>
              <a:gdLst>
                <a:gd name="connsiteX0" fmla="*/ 301119 w 427598"/>
                <a:gd name="connsiteY0" fmla="*/ 356000 h 516160"/>
                <a:gd name="connsiteX1" fmla="*/ 15274 w 427598"/>
                <a:gd name="connsiteY1" fmla="*/ 491985 h 516160"/>
                <a:gd name="connsiteX2" fmla="*/ 11324 w 427598"/>
                <a:gd name="connsiteY2" fmla="*/ 492143 h 516160"/>
                <a:gd name="connsiteX3" fmla="*/ -129 w 427598"/>
                <a:gd name="connsiteY3" fmla="*/ 504624 h 516160"/>
                <a:gd name="connsiteX4" fmla="*/ 11838 w 427598"/>
                <a:gd name="connsiteY4" fmla="*/ 516114 h 516160"/>
                <a:gd name="connsiteX5" fmla="*/ 12351 w 427598"/>
                <a:gd name="connsiteY5" fmla="*/ 516114 h 516160"/>
                <a:gd name="connsiteX6" fmla="*/ 16104 w 427598"/>
                <a:gd name="connsiteY6" fmla="*/ 515956 h 516160"/>
                <a:gd name="connsiteX7" fmla="*/ 320236 w 427598"/>
                <a:gd name="connsiteY7" fmla="*/ 370463 h 516160"/>
                <a:gd name="connsiteX8" fmla="*/ 423680 w 427598"/>
                <a:gd name="connsiteY8" fmla="*/ 10058 h 516160"/>
                <a:gd name="connsiteX9" fmla="*/ 410015 w 427598"/>
                <a:gd name="connsiteY9" fmla="*/ 113 h 516160"/>
                <a:gd name="connsiteX10" fmla="*/ 400061 w 427598"/>
                <a:gd name="connsiteY10" fmla="*/ 13862 h 516160"/>
                <a:gd name="connsiteX11" fmla="*/ 301119 w 427598"/>
                <a:gd name="connsiteY11" fmla="*/ 356000 h 516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7598" h="516160">
                  <a:moveTo>
                    <a:pt x="301119" y="356000"/>
                  </a:moveTo>
                  <a:cubicBezTo>
                    <a:pt x="256684" y="414959"/>
                    <a:pt x="170975" y="486438"/>
                    <a:pt x="15274" y="491985"/>
                  </a:cubicBezTo>
                  <a:lnTo>
                    <a:pt x="11324" y="492143"/>
                  </a:lnTo>
                  <a:cubicBezTo>
                    <a:pt x="4729" y="492421"/>
                    <a:pt x="-406" y="498007"/>
                    <a:pt x="-129" y="504624"/>
                  </a:cubicBezTo>
                  <a:cubicBezTo>
                    <a:pt x="147" y="511082"/>
                    <a:pt x="5440" y="516114"/>
                    <a:pt x="11838" y="516114"/>
                  </a:cubicBezTo>
                  <a:lnTo>
                    <a:pt x="12351" y="516114"/>
                  </a:lnTo>
                  <a:lnTo>
                    <a:pt x="16104" y="515956"/>
                  </a:lnTo>
                  <a:cubicBezTo>
                    <a:pt x="181243" y="510092"/>
                    <a:pt x="272642" y="433581"/>
                    <a:pt x="320236" y="370463"/>
                  </a:cubicBezTo>
                  <a:cubicBezTo>
                    <a:pt x="446707" y="202623"/>
                    <a:pt x="428617" y="40765"/>
                    <a:pt x="423680" y="10058"/>
                  </a:cubicBezTo>
                  <a:cubicBezTo>
                    <a:pt x="422614" y="3481"/>
                    <a:pt x="416334" y="-957"/>
                    <a:pt x="410015" y="113"/>
                  </a:cubicBezTo>
                  <a:cubicBezTo>
                    <a:pt x="403497" y="1143"/>
                    <a:pt x="398994" y="7324"/>
                    <a:pt x="400061" y="13862"/>
                  </a:cubicBezTo>
                  <a:cubicBezTo>
                    <a:pt x="404722" y="42905"/>
                    <a:pt x="421745" y="195926"/>
                    <a:pt x="301119" y="356000"/>
                  </a:cubicBezTo>
                  <a:close/>
                </a:path>
              </a:pathLst>
            </a:custGeom>
            <a:grpFill/>
            <a:ln w="39496" cap="flat">
              <a:noFill/>
              <a:prstDash val="solid"/>
              <a:round/>
            </a:ln>
          </p:spPr>
          <p:txBody>
            <a:bodyPr rtlCol="0" anchor="ctr"/>
            <a:lstStyle/>
            <a:p>
              <a:endParaRPr lang="en-LT"/>
            </a:p>
          </p:txBody>
        </p:sp>
      </p:grpSp>
      <p:grpSp>
        <p:nvGrpSpPr>
          <p:cNvPr id="86" name="Group 85">
            <a:extLst>
              <a:ext uri="{FF2B5EF4-FFF2-40B4-BE49-F238E27FC236}">
                <a16:creationId xmlns:a16="http://schemas.microsoft.com/office/drawing/2014/main" id="{0C407B14-2C30-4442-97EC-F5454CAA04AF}"/>
              </a:ext>
            </a:extLst>
          </p:cNvPr>
          <p:cNvGrpSpPr/>
          <p:nvPr/>
        </p:nvGrpSpPr>
        <p:grpSpPr>
          <a:xfrm>
            <a:off x="9097952" y="1550321"/>
            <a:ext cx="901492" cy="901844"/>
            <a:chOff x="9097952" y="1550321"/>
            <a:chExt cx="901492" cy="901844"/>
          </a:xfrm>
        </p:grpSpPr>
        <p:sp>
          <p:nvSpPr>
            <p:cNvPr id="87" name="Freeform 86">
              <a:extLst>
                <a:ext uri="{FF2B5EF4-FFF2-40B4-BE49-F238E27FC236}">
                  <a16:creationId xmlns:a16="http://schemas.microsoft.com/office/drawing/2014/main" id="{96C61E91-B372-F442-B078-4FDBC790BDF7}"/>
                </a:ext>
              </a:extLst>
            </p:cNvPr>
            <p:cNvSpPr/>
            <p:nvPr/>
          </p:nvSpPr>
          <p:spPr>
            <a:xfrm>
              <a:off x="9097952" y="1550321"/>
              <a:ext cx="901492" cy="901844"/>
            </a:xfrm>
            <a:custGeom>
              <a:avLst/>
              <a:gdLst>
                <a:gd name="connsiteX0" fmla="*/ 598272 w 1670533"/>
                <a:gd name="connsiteY0" fmla="*/ 1371675 h 1671185"/>
                <a:gd name="connsiteX1" fmla="*/ 533022 w 1670533"/>
                <a:gd name="connsiteY1" fmla="*/ 1330507 h 1671185"/>
                <a:gd name="connsiteX2" fmla="*/ 527611 w 1670533"/>
                <a:gd name="connsiteY2" fmla="*/ 1323375 h 1671185"/>
                <a:gd name="connsiteX3" fmla="*/ 598786 w 1670533"/>
                <a:gd name="connsiteY3" fmla="*/ 1364661 h 1671185"/>
                <a:gd name="connsiteX4" fmla="*/ 610872 w 1670533"/>
                <a:gd name="connsiteY4" fmla="*/ 1343939 h 1671185"/>
                <a:gd name="connsiteX5" fmla="*/ 488824 w 1670533"/>
                <a:gd name="connsiteY5" fmla="*/ 1273134 h 1671185"/>
                <a:gd name="connsiteX6" fmla="*/ 476738 w 1670533"/>
                <a:gd name="connsiteY6" fmla="*/ 1293856 h 1671185"/>
                <a:gd name="connsiteX7" fmla="*/ 527097 w 1670533"/>
                <a:gd name="connsiteY7" fmla="*/ 1323019 h 1671185"/>
                <a:gd name="connsiteX8" fmla="*/ 522279 w 1670533"/>
                <a:gd name="connsiteY8" fmla="*/ 1321711 h 1671185"/>
                <a:gd name="connsiteX9" fmla="*/ 514655 w 1670533"/>
                <a:gd name="connsiteY9" fmla="*/ 1321473 h 1671185"/>
                <a:gd name="connsiteX10" fmla="*/ 493683 w 1670533"/>
                <a:gd name="connsiteY10" fmla="*/ 1311568 h 1671185"/>
                <a:gd name="connsiteX11" fmla="*/ 463743 w 1670533"/>
                <a:gd name="connsiteY11" fmla="*/ 1305466 h 1671185"/>
                <a:gd name="connsiteX12" fmla="*/ 445495 w 1670533"/>
                <a:gd name="connsiteY12" fmla="*/ 1308002 h 1671185"/>
                <a:gd name="connsiteX13" fmla="*/ 420217 w 1670533"/>
                <a:gd name="connsiteY13" fmla="*/ 1267627 h 1671185"/>
                <a:gd name="connsiteX14" fmla="*/ 399559 w 1670533"/>
                <a:gd name="connsiteY14" fmla="*/ 1279751 h 1671185"/>
                <a:gd name="connsiteX15" fmla="*/ 423258 w 1670533"/>
                <a:gd name="connsiteY15" fmla="*/ 1317591 h 1671185"/>
                <a:gd name="connsiteX16" fmla="*/ 414766 w 1670533"/>
                <a:gd name="connsiteY16" fmla="*/ 1323692 h 1671185"/>
                <a:gd name="connsiteX17" fmla="*/ 397347 w 1670533"/>
                <a:gd name="connsiteY17" fmla="*/ 1338749 h 1671185"/>
                <a:gd name="connsiteX18" fmla="*/ 366421 w 1670533"/>
                <a:gd name="connsiteY18" fmla="*/ 1298374 h 1671185"/>
                <a:gd name="connsiteX19" fmla="*/ 345764 w 1670533"/>
                <a:gd name="connsiteY19" fmla="*/ 1310458 h 1671185"/>
                <a:gd name="connsiteX20" fmla="*/ 379337 w 1670533"/>
                <a:gd name="connsiteY20" fmla="*/ 1354360 h 1671185"/>
                <a:gd name="connsiteX21" fmla="*/ 354058 w 1670533"/>
                <a:gd name="connsiteY21" fmla="*/ 1376271 h 1671185"/>
                <a:gd name="connsiteX22" fmla="*/ 320920 w 1670533"/>
                <a:gd name="connsiteY22" fmla="*/ 1335737 h 1671185"/>
                <a:gd name="connsiteX23" fmla="*/ 303975 w 1670533"/>
                <a:gd name="connsiteY23" fmla="*/ 1352656 h 1671185"/>
                <a:gd name="connsiteX24" fmla="*/ 336047 w 1670533"/>
                <a:gd name="connsiteY24" fmla="*/ 1391922 h 1671185"/>
                <a:gd name="connsiteX25" fmla="*/ 331071 w 1670533"/>
                <a:gd name="connsiteY25" fmla="*/ 1396201 h 1671185"/>
                <a:gd name="connsiteX26" fmla="*/ 321907 w 1670533"/>
                <a:gd name="connsiteY26" fmla="*/ 1401788 h 1671185"/>
                <a:gd name="connsiteX27" fmla="*/ 317523 w 1670533"/>
                <a:gd name="connsiteY27" fmla="*/ 1400480 h 1671185"/>
                <a:gd name="connsiteX28" fmla="*/ 316930 w 1670533"/>
                <a:gd name="connsiteY28" fmla="*/ 1399648 h 1671185"/>
                <a:gd name="connsiteX29" fmla="*/ 269059 w 1670533"/>
                <a:gd name="connsiteY29" fmla="*/ 1355707 h 1671185"/>
                <a:gd name="connsiteX30" fmla="*/ 252154 w 1670533"/>
                <a:gd name="connsiteY30" fmla="*/ 1372666 h 1671185"/>
                <a:gd name="connsiteX31" fmla="*/ 290190 w 1670533"/>
                <a:gd name="connsiteY31" fmla="*/ 1407612 h 1671185"/>
                <a:gd name="connsiteX32" fmla="*/ 270521 w 1670533"/>
                <a:gd name="connsiteY32" fmla="*/ 1401471 h 1671185"/>
                <a:gd name="connsiteX33" fmla="*/ 223953 w 1670533"/>
                <a:gd name="connsiteY33" fmla="*/ 1365296 h 1671185"/>
                <a:gd name="connsiteX34" fmla="*/ 181019 w 1670533"/>
                <a:gd name="connsiteY34" fmla="*/ 1303643 h 1671185"/>
                <a:gd name="connsiteX35" fmla="*/ 195554 w 1670533"/>
                <a:gd name="connsiteY35" fmla="*/ 1242427 h 1671185"/>
                <a:gd name="connsiteX36" fmla="*/ 300894 w 1670533"/>
                <a:gd name="connsiteY36" fmla="*/ 1156050 h 1671185"/>
                <a:gd name="connsiteX37" fmla="*/ 326094 w 1670533"/>
                <a:gd name="connsiteY37" fmla="*/ 1079341 h 1671185"/>
                <a:gd name="connsiteX38" fmla="*/ 303501 w 1670533"/>
                <a:gd name="connsiteY38" fmla="*/ 1010041 h 1671185"/>
                <a:gd name="connsiteX39" fmla="*/ 301211 w 1670533"/>
                <a:gd name="connsiteY39" fmla="*/ 1004811 h 1671185"/>
                <a:gd name="connsiteX40" fmla="*/ 300065 w 1670533"/>
                <a:gd name="connsiteY40" fmla="*/ 995223 h 1671185"/>
                <a:gd name="connsiteX41" fmla="*/ 292363 w 1670533"/>
                <a:gd name="connsiteY41" fmla="*/ 984644 h 1671185"/>
                <a:gd name="connsiteX42" fmla="*/ 271863 w 1670533"/>
                <a:gd name="connsiteY42" fmla="*/ 943714 h 1671185"/>
                <a:gd name="connsiteX43" fmla="*/ 238133 w 1670533"/>
                <a:gd name="connsiteY43" fmla="*/ 913600 h 1671185"/>
                <a:gd name="connsiteX44" fmla="*/ 242438 w 1670533"/>
                <a:gd name="connsiteY44" fmla="*/ 904408 h 1671185"/>
                <a:gd name="connsiteX45" fmla="*/ 240858 w 1670533"/>
                <a:gd name="connsiteY45" fmla="*/ 856465 h 1671185"/>
                <a:gd name="connsiteX46" fmla="*/ 216962 w 1670533"/>
                <a:gd name="connsiteY46" fmla="*/ 856465 h 1671185"/>
                <a:gd name="connsiteX47" fmla="*/ 218502 w 1670533"/>
                <a:gd name="connsiteY47" fmla="*/ 904408 h 1671185"/>
                <a:gd name="connsiteX48" fmla="*/ 219331 w 1670533"/>
                <a:gd name="connsiteY48" fmla="*/ 907895 h 1671185"/>
                <a:gd name="connsiteX49" fmla="*/ 207008 w 1670533"/>
                <a:gd name="connsiteY49" fmla="*/ 906270 h 1671185"/>
                <a:gd name="connsiteX50" fmla="*/ 182401 w 1670533"/>
                <a:gd name="connsiteY50" fmla="*/ 906270 h 1671185"/>
                <a:gd name="connsiteX51" fmla="*/ 184376 w 1670533"/>
                <a:gd name="connsiteY51" fmla="*/ 897276 h 1671185"/>
                <a:gd name="connsiteX52" fmla="*/ 176398 w 1670533"/>
                <a:gd name="connsiteY52" fmla="*/ 849294 h 1671185"/>
                <a:gd name="connsiteX53" fmla="*/ 153291 w 1670533"/>
                <a:gd name="connsiteY53" fmla="*/ 855673 h 1671185"/>
                <a:gd name="connsiteX54" fmla="*/ 161270 w 1670533"/>
                <a:gd name="connsiteY54" fmla="*/ 903655 h 1671185"/>
                <a:gd name="connsiteX55" fmla="*/ 162258 w 1670533"/>
                <a:gd name="connsiteY55" fmla="*/ 906270 h 1671185"/>
                <a:gd name="connsiteX56" fmla="*/ 121062 w 1670533"/>
                <a:gd name="connsiteY56" fmla="*/ 906270 h 1671185"/>
                <a:gd name="connsiteX57" fmla="*/ 117388 w 1670533"/>
                <a:gd name="connsiteY57" fmla="*/ 856465 h 1671185"/>
                <a:gd name="connsiteX58" fmla="*/ 93492 w 1670533"/>
                <a:gd name="connsiteY58" fmla="*/ 856465 h 1671185"/>
                <a:gd name="connsiteX59" fmla="*/ 97166 w 1670533"/>
                <a:gd name="connsiteY59" fmla="*/ 906270 h 1671185"/>
                <a:gd name="connsiteX60" fmla="*/ 80814 w 1670533"/>
                <a:gd name="connsiteY60" fmla="*/ 906270 h 1671185"/>
                <a:gd name="connsiteX61" fmla="*/ 76666 w 1670533"/>
                <a:gd name="connsiteY61" fmla="*/ 905914 h 1671185"/>
                <a:gd name="connsiteX62" fmla="*/ 76666 w 1670533"/>
                <a:gd name="connsiteY62" fmla="*/ 905240 h 1671185"/>
                <a:gd name="connsiteX63" fmla="*/ 68688 w 1670533"/>
                <a:gd name="connsiteY63" fmla="*/ 857297 h 1671185"/>
                <a:gd name="connsiteX64" fmla="*/ 45621 w 1670533"/>
                <a:gd name="connsiteY64" fmla="*/ 863676 h 1671185"/>
                <a:gd name="connsiteX65" fmla="*/ 51151 w 1670533"/>
                <a:gd name="connsiteY65" fmla="*/ 896801 h 1671185"/>
                <a:gd name="connsiteX66" fmla="*/ 30178 w 1670533"/>
                <a:gd name="connsiteY66" fmla="*/ 865697 h 1671185"/>
                <a:gd name="connsiteX67" fmla="*/ 23029 w 1670533"/>
                <a:gd name="connsiteY67" fmla="*/ 794575 h 1671185"/>
                <a:gd name="connsiteX68" fmla="*/ 25991 w 1670533"/>
                <a:gd name="connsiteY68" fmla="*/ 759272 h 1671185"/>
                <a:gd name="connsiteX69" fmla="*/ 76113 w 1670533"/>
                <a:gd name="connsiteY69" fmla="*/ 716163 h 1671185"/>
                <a:gd name="connsiteX70" fmla="*/ 201242 w 1670533"/>
                <a:gd name="connsiteY70" fmla="*/ 713745 h 1671185"/>
                <a:gd name="connsiteX71" fmla="*/ 256301 w 1670533"/>
                <a:gd name="connsiteY71" fmla="*/ 688030 h 1671185"/>
                <a:gd name="connsiteX72" fmla="*/ 291691 w 1670533"/>
                <a:gd name="connsiteY72" fmla="*/ 633272 h 1671185"/>
                <a:gd name="connsiteX73" fmla="*/ 312072 w 1670533"/>
                <a:gd name="connsiteY73" fmla="*/ 569362 h 1671185"/>
                <a:gd name="connsiteX74" fmla="*/ 303777 w 1670533"/>
                <a:gd name="connsiteY74" fmla="*/ 522449 h 1671185"/>
                <a:gd name="connsiteX75" fmla="*/ 303383 w 1670533"/>
                <a:gd name="connsiteY75" fmla="*/ 516624 h 1671185"/>
                <a:gd name="connsiteX76" fmla="*/ 310808 w 1670533"/>
                <a:gd name="connsiteY76" fmla="*/ 510760 h 1671185"/>
                <a:gd name="connsiteX77" fmla="*/ 318787 w 1670533"/>
                <a:gd name="connsiteY77" fmla="*/ 494752 h 1671185"/>
                <a:gd name="connsiteX78" fmla="*/ 298169 w 1670533"/>
                <a:gd name="connsiteY78" fmla="*/ 482668 h 1671185"/>
                <a:gd name="connsiteX79" fmla="*/ 290151 w 1670533"/>
                <a:gd name="connsiteY79" fmla="*/ 498636 h 1671185"/>
                <a:gd name="connsiteX80" fmla="*/ 289045 w 1670533"/>
                <a:gd name="connsiteY80" fmla="*/ 502717 h 1671185"/>
                <a:gd name="connsiteX81" fmla="*/ 288176 w 1670533"/>
                <a:gd name="connsiteY81" fmla="*/ 501686 h 1671185"/>
                <a:gd name="connsiteX82" fmla="*/ 275181 w 1670533"/>
                <a:gd name="connsiteY82" fmla="*/ 491662 h 1671185"/>
                <a:gd name="connsiteX83" fmla="*/ 275221 w 1670533"/>
                <a:gd name="connsiteY83" fmla="*/ 491622 h 1671185"/>
                <a:gd name="connsiteX84" fmla="*/ 287109 w 1670533"/>
                <a:gd name="connsiteY84" fmla="*/ 451643 h 1671185"/>
                <a:gd name="connsiteX85" fmla="*/ 264043 w 1670533"/>
                <a:gd name="connsiteY85" fmla="*/ 445264 h 1671185"/>
                <a:gd name="connsiteX86" fmla="*/ 254761 w 1670533"/>
                <a:gd name="connsiteY86" fmla="*/ 476328 h 1671185"/>
                <a:gd name="connsiteX87" fmla="*/ 229522 w 1670533"/>
                <a:gd name="connsiteY87" fmla="*/ 457389 h 1671185"/>
                <a:gd name="connsiteX88" fmla="*/ 227271 w 1670533"/>
                <a:gd name="connsiteY88" fmla="*/ 455685 h 1671185"/>
                <a:gd name="connsiteX89" fmla="*/ 239397 w 1670533"/>
                <a:gd name="connsiteY89" fmla="*/ 407742 h 1671185"/>
                <a:gd name="connsiteX90" fmla="*/ 216330 w 1670533"/>
                <a:gd name="connsiteY90" fmla="*/ 401363 h 1671185"/>
                <a:gd name="connsiteX91" fmla="*/ 206495 w 1670533"/>
                <a:gd name="connsiteY91" fmla="*/ 440113 h 1671185"/>
                <a:gd name="connsiteX92" fmla="*/ 189037 w 1670533"/>
                <a:gd name="connsiteY92" fmla="*/ 426998 h 1671185"/>
                <a:gd name="connsiteX93" fmla="*/ 190735 w 1670533"/>
                <a:gd name="connsiteY93" fmla="*/ 423512 h 1671185"/>
                <a:gd name="connsiteX94" fmla="*/ 203454 w 1670533"/>
                <a:gd name="connsiteY94" fmla="*/ 375767 h 1671185"/>
                <a:gd name="connsiteX95" fmla="*/ 183547 w 1670533"/>
                <a:gd name="connsiteY95" fmla="*/ 364038 h 1671185"/>
                <a:gd name="connsiteX96" fmla="*/ 252193 w 1670533"/>
                <a:gd name="connsiteY96" fmla="*/ 278652 h 1671185"/>
                <a:gd name="connsiteX97" fmla="*/ 273088 w 1670533"/>
                <a:gd name="connsiteY97" fmla="*/ 261179 h 1671185"/>
                <a:gd name="connsiteX98" fmla="*/ 340392 w 1670533"/>
                <a:gd name="connsiteY98" fmla="*/ 257494 h 1671185"/>
                <a:gd name="connsiteX99" fmla="*/ 446996 w 1670533"/>
                <a:gd name="connsiteY99" fmla="*/ 339512 h 1671185"/>
                <a:gd name="connsiteX100" fmla="*/ 492497 w 1670533"/>
                <a:gd name="connsiteY100" fmla="*/ 355084 h 1671185"/>
                <a:gd name="connsiteX101" fmla="*/ 496724 w 1670533"/>
                <a:gd name="connsiteY101" fmla="*/ 354965 h 1671185"/>
                <a:gd name="connsiteX102" fmla="*/ 580419 w 1670533"/>
                <a:gd name="connsiteY102" fmla="*/ 325248 h 1671185"/>
                <a:gd name="connsiteX103" fmla="*/ 588951 w 1670533"/>
                <a:gd name="connsiteY103" fmla="*/ 319503 h 1671185"/>
                <a:gd name="connsiteX104" fmla="*/ 590334 w 1670533"/>
                <a:gd name="connsiteY104" fmla="*/ 316611 h 1671185"/>
                <a:gd name="connsiteX105" fmla="*/ 632872 w 1670533"/>
                <a:gd name="connsiteY105" fmla="*/ 256900 h 1671185"/>
                <a:gd name="connsiteX106" fmla="*/ 634768 w 1670533"/>
                <a:gd name="connsiteY106" fmla="*/ 250917 h 1671185"/>
                <a:gd name="connsiteX107" fmla="*/ 683547 w 1670533"/>
                <a:gd name="connsiteY107" fmla="*/ 232968 h 1671185"/>
                <a:gd name="connsiteX108" fmla="*/ 666603 w 1670533"/>
                <a:gd name="connsiteY108" fmla="*/ 216009 h 1671185"/>
                <a:gd name="connsiteX109" fmla="*/ 637888 w 1670533"/>
                <a:gd name="connsiteY109" fmla="*/ 227381 h 1671185"/>
                <a:gd name="connsiteX110" fmla="*/ 636901 w 1670533"/>
                <a:gd name="connsiteY110" fmla="*/ 217436 h 1671185"/>
                <a:gd name="connsiteX111" fmla="*/ 634413 w 1670533"/>
                <a:gd name="connsiteY111" fmla="*/ 202458 h 1671185"/>
                <a:gd name="connsiteX112" fmla="*/ 675569 w 1670533"/>
                <a:gd name="connsiteY112" fmla="*/ 201864 h 1671185"/>
                <a:gd name="connsiteX113" fmla="*/ 675569 w 1670533"/>
                <a:gd name="connsiteY113" fmla="*/ 177893 h 1671185"/>
                <a:gd name="connsiteX114" fmla="*/ 630463 w 1670533"/>
                <a:gd name="connsiteY114" fmla="*/ 178566 h 1671185"/>
                <a:gd name="connsiteX115" fmla="*/ 625802 w 1670533"/>
                <a:gd name="connsiteY115" fmla="*/ 150553 h 1671185"/>
                <a:gd name="connsiteX116" fmla="*/ 675687 w 1670533"/>
                <a:gd name="connsiteY116" fmla="*/ 147026 h 1671185"/>
                <a:gd name="connsiteX117" fmla="*/ 675687 w 1670533"/>
                <a:gd name="connsiteY117" fmla="*/ 123055 h 1671185"/>
                <a:gd name="connsiteX118" fmla="*/ 621813 w 1670533"/>
                <a:gd name="connsiteY118" fmla="*/ 126819 h 1671185"/>
                <a:gd name="connsiteX119" fmla="*/ 617389 w 1670533"/>
                <a:gd name="connsiteY119" fmla="*/ 100153 h 1671185"/>
                <a:gd name="connsiteX120" fmla="*/ 666880 w 1670533"/>
                <a:gd name="connsiteY120" fmla="*/ 93259 h 1671185"/>
                <a:gd name="connsiteX121" fmla="*/ 660481 w 1670533"/>
                <a:gd name="connsiteY121" fmla="*/ 70160 h 1671185"/>
                <a:gd name="connsiteX122" fmla="*/ 617231 w 1670533"/>
                <a:gd name="connsiteY122" fmla="*/ 76143 h 1671185"/>
                <a:gd name="connsiteX123" fmla="*/ 651120 w 1670533"/>
                <a:gd name="connsiteY123" fmla="*/ 38145 h 1671185"/>
                <a:gd name="connsiteX124" fmla="*/ 702862 w 1670533"/>
                <a:gd name="connsiteY124" fmla="*/ 25901 h 1671185"/>
                <a:gd name="connsiteX125" fmla="*/ 798012 w 1670533"/>
                <a:gd name="connsiteY125" fmla="*/ 28278 h 1671185"/>
                <a:gd name="connsiteX126" fmla="*/ 840591 w 1670533"/>
                <a:gd name="connsiteY126" fmla="*/ 74121 h 1671185"/>
                <a:gd name="connsiteX127" fmla="*/ 849516 w 1670533"/>
                <a:gd name="connsiteY127" fmla="*/ 161132 h 1671185"/>
                <a:gd name="connsiteX128" fmla="*/ 870924 w 1670533"/>
                <a:gd name="connsiteY128" fmla="*/ 206421 h 1671185"/>
                <a:gd name="connsiteX129" fmla="*/ 924206 w 1670533"/>
                <a:gd name="connsiteY129" fmla="*/ 241368 h 1671185"/>
                <a:gd name="connsiteX130" fmla="*/ 1046807 w 1670533"/>
                <a:gd name="connsiteY130" fmla="*/ 243784 h 1671185"/>
                <a:gd name="connsiteX131" fmla="*/ 1078010 w 1670533"/>
                <a:gd name="connsiteY131" fmla="*/ 223617 h 1671185"/>
                <a:gd name="connsiteX132" fmla="*/ 1107989 w 1670533"/>
                <a:gd name="connsiteY132" fmla="*/ 240060 h 1671185"/>
                <a:gd name="connsiteX133" fmla="*/ 1120036 w 1670533"/>
                <a:gd name="connsiteY133" fmla="*/ 219338 h 1671185"/>
                <a:gd name="connsiteX134" fmla="*/ 1091913 w 1670533"/>
                <a:gd name="connsiteY134" fmla="*/ 203924 h 1671185"/>
                <a:gd name="connsiteX135" fmla="*/ 1099971 w 1670533"/>
                <a:gd name="connsiteY135" fmla="*/ 190215 h 1671185"/>
                <a:gd name="connsiteX136" fmla="*/ 1147724 w 1670533"/>
                <a:gd name="connsiteY136" fmla="*/ 212483 h 1671185"/>
                <a:gd name="connsiteX137" fmla="*/ 1159811 w 1670533"/>
                <a:gd name="connsiteY137" fmla="*/ 191761 h 1671185"/>
                <a:gd name="connsiteX138" fmla="*/ 1112137 w 1670533"/>
                <a:gd name="connsiteY138" fmla="*/ 169572 h 1671185"/>
                <a:gd name="connsiteX139" fmla="*/ 1128449 w 1670533"/>
                <a:gd name="connsiteY139" fmla="*/ 141836 h 1671185"/>
                <a:gd name="connsiteX140" fmla="*/ 1188051 w 1670533"/>
                <a:gd name="connsiteY140" fmla="*/ 175515 h 1671185"/>
                <a:gd name="connsiteX141" fmla="*/ 1200137 w 1670533"/>
                <a:gd name="connsiteY141" fmla="*/ 154832 h 1671185"/>
                <a:gd name="connsiteX142" fmla="*/ 1140614 w 1670533"/>
                <a:gd name="connsiteY142" fmla="*/ 121193 h 1671185"/>
                <a:gd name="connsiteX143" fmla="*/ 1146380 w 1670533"/>
                <a:gd name="connsiteY143" fmla="*/ 111367 h 1671185"/>
                <a:gd name="connsiteX144" fmla="*/ 1158309 w 1670533"/>
                <a:gd name="connsiteY144" fmla="*/ 97855 h 1671185"/>
                <a:gd name="connsiteX145" fmla="*/ 1164313 w 1670533"/>
                <a:gd name="connsiteY145" fmla="*/ 107166 h 1671185"/>
                <a:gd name="connsiteX146" fmla="*/ 1236199 w 1670533"/>
                <a:gd name="connsiteY146" fmla="*/ 139063 h 1671185"/>
                <a:gd name="connsiteX147" fmla="*/ 1248245 w 1670533"/>
                <a:gd name="connsiteY147" fmla="*/ 118380 h 1671185"/>
                <a:gd name="connsiteX148" fmla="*/ 1178848 w 1670533"/>
                <a:gd name="connsiteY148" fmla="*/ 87554 h 1671185"/>
                <a:gd name="connsiteX149" fmla="*/ 1197768 w 1670533"/>
                <a:gd name="connsiteY149" fmla="*/ 86286 h 1671185"/>
                <a:gd name="connsiteX150" fmla="*/ 1258633 w 1670533"/>
                <a:gd name="connsiteY150" fmla="*/ 105859 h 1671185"/>
                <a:gd name="connsiteX151" fmla="*/ 1332099 w 1670533"/>
                <a:gd name="connsiteY151" fmla="*/ 168621 h 1671185"/>
                <a:gd name="connsiteX152" fmla="*/ 1333284 w 1670533"/>
                <a:gd name="connsiteY152" fmla="*/ 226351 h 1671185"/>
                <a:gd name="connsiteX153" fmla="*/ 1273169 w 1670533"/>
                <a:gd name="connsiteY153" fmla="*/ 320335 h 1671185"/>
                <a:gd name="connsiteX154" fmla="*/ 1265308 w 1670533"/>
                <a:gd name="connsiteY154" fmla="*/ 385078 h 1671185"/>
                <a:gd name="connsiteX155" fmla="*/ 1300461 w 1670533"/>
                <a:gd name="connsiteY155" fmla="*/ 457111 h 1671185"/>
                <a:gd name="connsiteX156" fmla="*/ 1338695 w 1670533"/>
                <a:gd name="connsiteY156" fmla="*/ 503984 h 1671185"/>
                <a:gd name="connsiteX157" fmla="*/ 1405209 w 1670533"/>
                <a:gd name="connsiteY157" fmla="*/ 524548 h 1671185"/>
                <a:gd name="connsiteX158" fmla="*/ 1429026 w 1670533"/>
                <a:gd name="connsiteY158" fmla="*/ 588222 h 1671185"/>
                <a:gd name="connsiteX159" fmla="*/ 1452133 w 1670533"/>
                <a:gd name="connsiteY159" fmla="*/ 581843 h 1671185"/>
                <a:gd name="connsiteX160" fmla="*/ 1428196 w 1670533"/>
                <a:gd name="connsiteY160" fmla="*/ 517892 h 1671185"/>
                <a:gd name="connsiteX161" fmla="*/ 1427841 w 1670533"/>
                <a:gd name="connsiteY161" fmla="*/ 517297 h 1671185"/>
                <a:gd name="connsiteX162" fmla="*/ 1466825 w 1670533"/>
                <a:gd name="connsiteY162" fmla="*/ 501845 h 1671185"/>
                <a:gd name="connsiteX163" fmla="*/ 1467141 w 1670533"/>
                <a:gd name="connsiteY163" fmla="*/ 510760 h 1671185"/>
                <a:gd name="connsiteX164" fmla="*/ 1491117 w 1670533"/>
                <a:gd name="connsiteY164" fmla="*/ 566746 h 1671185"/>
                <a:gd name="connsiteX165" fmla="*/ 1511773 w 1670533"/>
                <a:gd name="connsiteY165" fmla="*/ 554622 h 1671185"/>
                <a:gd name="connsiteX166" fmla="*/ 1487838 w 1670533"/>
                <a:gd name="connsiteY166" fmla="*/ 498675 h 1671185"/>
                <a:gd name="connsiteX167" fmla="*/ 1484995 w 1670533"/>
                <a:gd name="connsiteY167" fmla="*/ 494634 h 1671185"/>
                <a:gd name="connsiteX168" fmla="*/ 1519357 w 1670533"/>
                <a:gd name="connsiteY168" fmla="*/ 481043 h 1671185"/>
                <a:gd name="connsiteX169" fmla="*/ 1533813 w 1670533"/>
                <a:gd name="connsiteY169" fmla="*/ 531879 h 1671185"/>
                <a:gd name="connsiteX170" fmla="*/ 1556919 w 1670533"/>
                <a:gd name="connsiteY170" fmla="*/ 525499 h 1671185"/>
                <a:gd name="connsiteX171" fmla="*/ 1541989 w 1670533"/>
                <a:gd name="connsiteY171" fmla="*/ 473158 h 1671185"/>
                <a:gd name="connsiteX172" fmla="*/ 1565253 w 1670533"/>
                <a:gd name="connsiteY172" fmla="*/ 472326 h 1671185"/>
                <a:gd name="connsiteX173" fmla="*/ 1565727 w 1670533"/>
                <a:gd name="connsiteY173" fmla="*/ 475892 h 1671185"/>
                <a:gd name="connsiteX174" fmla="*/ 1589703 w 1670533"/>
                <a:gd name="connsiteY174" fmla="*/ 543884 h 1671185"/>
                <a:gd name="connsiteX175" fmla="*/ 1612769 w 1670533"/>
                <a:gd name="connsiteY175" fmla="*/ 537505 h 1671185"/>
                <a:gd name="connsiteX176" fmla="*/ 1597326 w 1670533"/>
                <a:gd name="connsiteY176" fmla="*/ 493722 h 1671185"/>
                <a:gd name="connsiteX177" fmla="*/ 1623236 w 1670533"/>
                <a:gd name="connsiteY177" fmla="*/ 532711 h 1671185"/>
                <a:gd name="connsiteX178" fmla="*/ 1635441 w 1670533"/>
                <a:gd name="connsiteY178" fmla="*/ 624952 h 1671185"/>
                <a:gd name="connsiteX179" fmla="*/ 1603922 w 1670533"/>
                <a:gd name="connsiteY179" fmla="*/ 664336 h 1671185"/>
                <a:gd name="connsiteX180" fmla="*/ 1466351 w 1670533"/>
                <a:gd name="connsiteY180" fmla="*/ 720560 h 1671185"/>
                <a:gd name="connsiteX181" fmla="*/ 1425431 w 1670533"/>
                <a:gd name="connsiteY181" fmla="*/ 761292 h 1671185"/>
                <a:gd name="connsiteX182" fmla="*/ 1410264 w 1670533"/>
                <a:gd name="connsiteY182" fmla="*/ 832573 h 1671185"/>
                <a:gd name="connsiteX183" fmla="*/ 1423101 w 1670533"/>
                <a:gd name="connsiteY183" fmla="*/ 909282 h 1671185"/>
                <a:gd name="connsiteX184" fmla="*/ 1444984 w 1670533"/>
                <a:gd name="connsiteY184" fmla="*/ 939672 h 1671185"/>
                <a:gd name="connsiteX185" fmla="*/ 1422588 w 1670533"/>
                <a:gd name="connsiteY185" fmla="*/ 1017371 h 1671185"/>
                <a:gd name="connsiteX186" fmla="*/ 1445693 w 1670533"/>
                <a:gd name="connsiteY186" fmla="*/ 1023711 h 1671185"/>
                <a:gd name="connsiteX187" fmla="*/ 1466114 w 1670533"/>
                <a:gd name="connsiteY187" fmla="*/ 952747 h 1671185"/>
                <a:gd name="connsiteX188" fmla="*/ 1487047 w 1670533"/>
                <a:gd name="connsiteY188" fmla="*/ 963049 h 1671185"/>
                <a:gd name="connsiteX189" fmla="*/ 1485153 w 1670533"/>
                <a:gd name="connsiteY189" fmla="*/ 968398 h 1671185"/>
                <a:gd name="connsiteX190" fmla="*/ 1477332 w 1670533"/>
                <a:gd name="connsiteY190" fmla="*/ 1040352 h 1671185"/>
                <a:gd name="connsiteX191" fmla="*/ 1501267 w 1670533"/>
                <a:gd name="connsiteY191" fmla="*/ 1040352 h 1671185"/>
                <a:gd name="connsiteX192" fmla="*/ 1508534 w 1670533"/>
                <a:gd name="connsiteY192" fmla="*/ 973629 h 1671185"/>
                <a:gd name="connsiteX193" fmla="*/ 1535354 w 1670533"/>
                <a:gd name="connsiteY193" fmla="*/ 986783 h 1671185"/>
                <a:gd name="connsiteX194" fmla="*/ 1533813 w 1670533"/>
                <a:gd name="connsiteY194" fmla="*/ 989240 h 1671185"/>
                <a:gd name="connsiteX195" fmla="*/ 1509877 w 1670533"/>
                <a:gd name="connsiteY195" fmla="*/ 1053190 h 1671185"/>
                <a:gd name="connsiteX196" fmla="*/ 1532944 w 1670533"/>
                <a:gd name="connsiteY196" fmla="*/ 1059530 h 1671185"/>
                <a:gd name="connsiteX197" fmla="*/ 1556327 w 1670533"/>
                <a:gd name="connsiteY197" fmla="*/ 997124 h 1671185"/>
                <a:gd name="connsiteX198" fmla="*/ 1591046 w 1670533"/>
                <a:gd name="connsiteY198" fmla="*/ 1014162 h 1671185"/>
                <a:gd name="connsiteX199" fmla="*/ 1585673 w 1670533"/>
                <a:gd name="connsiteY199" fmla="*/ 1021215 h 1671185"/>
                <a:gd name="connsiteX200" fmla="*/ 1569717 w 1670533"/>
                <a:gd name="connsiteY200" fmla="*/ 1081163 h 1671185"/>
                <a:gd name="connsiteX201" fmla="*/ 1592822 w 1670533"/>
                <a:gd name="connsiteY201" fmla="*/ 1087543 h 1671185"/>
                <a:gd name="connsiteX202" fmla="*/ 1608779 w 1670533"/>
                <a:gd name="connsiteY202" fmla="*/ 1027594 h 1671185"/>
                <a:gd name="connsiteX203" fmla="*/ 1609056 w 1670533"/>
                <a:gd name="connsiteY203" fmla="*/ 1023038 h 1671185"/>
                <a:gd name="connsiteX204" fmla="*/ 1617786 w 1670533"/>
                <a:gd name="connsiteY204" fmla="*/ 1027317 h 1671185"/>
                <a:gd name="connsiteX205" fmla="*/ 1646618 w 1670533"/>
                <a:gd name="connsiteY205" fmla="*/ 1077717 h 1671185"/>
                <a:gd name="connsiteX206" fmla="*/ 1620352 w 1670533"/>
                <a:gd name="connsiteY206" fmla="*/ 1150661 h 1671185"/>
                <a:gd name="connsiteX207" fmla="*/ 1568610 w 1670533"/>
                <a:gd name="connsiteY207" fmla="*/ 1198208 h 1671185"/>
                <a:gd name="connsiteX208" fmla="*/ 1520463 w 1670533"/>
                <a:gd name="connsiteY208" fmla="*/ 1200110 h 1671185"/>
                <a:gd name="connsiteX209" fmla="*/ 1409554 w 1670533"/>
                <a:gd name="connsiteY209" fmla="*/ 1147333 h 1671185"/>
                <a:gd name="connsiteX210" fmla="*/ 1360616 w 1670533"/>
                <a:gd name="connsiteY210" fmla="*/ 1141944 h 1671185"/>
                <a:gd name="connsiteX211" fmla="*/ 1287071 w 1670533"/>
                <a:gd name="connsiteY211" fmla="*/ 1179387 h 1671185"/>
                <a:gd name="connsiteX212" fmla="*/ 1234382 w 1670533"/>
                <a:gd name="connsiteY212" fmla="*/ 1267587 h 1671185"/>
                <a:gd name="connsiteX213" fmla="*/ 1237502 w 1670533"/>
                <a:gd name="connsiteY213" fmla="*/ 1311092 h 1671185"/>
                <a:gd name="connsiteX214" fmla="*/ 1177781 w 1670533"/>
                <a:gd name="connsiteY214" fmla="*/ 1359709 h 1671185"/>
                <a:gd name="connsiteX215" fmla="*/ 1194727 w 1670533"/>
                <a:gd name="connsiteY215" fmla="*/ 1376667 h 1671185"/>
                <a:gd name="connsiteX216" fmla="*/ 1249194 w 1670533"/>
                <a:gd name="connsiteY216" fmla="*/ 1332330 h 1671185"/>
                <a:gd name="connsiteX217" fmla="*/ 1249510 w 1670533"/>
                <a:gd name="connsiteY217" fmla="*/ 1332766 h 1671185"/>
                <a:gd name="connsiteX218" fmla="*/ 1259226 w 1670533"/>
                <a:gd name="connsiteY218" fmla="*/ 1344573 h 1671185"/>
                <a:gd name="connsiteX219" fmla="*/ 1213171 w 1670533"/>
                <a:gd name="connsiteY219" fmla="*/ 1387127 h 1671185"/>
                <a:gd name="connsiteX220" fmla="*/ 1230076 w 1670533"/>
                <a:gd name="connsiteY220" fmla="*/ 1404086 h 1671185"/>
                <a:gd name="connsiteX221" fmla="*/ 1274432 w 1670533"/>
                <a:gd name="connsiteY221" fmla="*/ 1363077 h 1671185"/>
                <a:gd name="connsiteX222" fmla="*/ 1291771 w 1670533"/>
                <a:gd name="connsiteY222" fmla="*/ 1384116 h 1671185"/>
                <a:gd name="connsiteX223" fmla="*/ 1248956 w 1670533"/>
                <a:gd name="connsiteY223" fmla="*/ 1426987 h 1671185"/>
                <a:gd name="connsiteX224" fmla="*/ 1265900 w 1670533"/>
                <a:gd name="connsiteY224" fmla="*/ 1443946 h 1671185"/>
                <a:gd name="connsiteX225" fmla="*/ 1307096 w 1670533"/>
                <a:gd name="connsiteY225" fmla="*/ 1402699 h 1671185"/>
                <a:gd name="connsiteX226" fmla="*/ 1326332 w 1670533"/>
                <a:gd name="connsiteY226" fmla="*/ 1426037 h 1671185"/>
                <a:gd name="connsiteX227" fmla="*/ 1332731 w 1670533"/>
                <a:gd name="connsiteY227" fmla="*/ 1436339 h 1671185"/>
                <a:gd name="connsiteX228" fmla="*/ 1281660 w 1670533"/>
                <a:gd name="connsiteY228" fmla="*/ 1483767 h 1671185"/>
                <a:gd name="connsiteX229" fmla="*/ 1298604 w 1670533"/>
                <a:gd name="connsiteY229" fmla="*/ 1500725 h 1671185"/>
                <a:gd name="connsiteX230" fmla="*/ 1337588 w 1670533"/>
                <a:gd name="connsiteY230" fmla="*/ 1464510 h 1671185"/>
                <a:gd name="connsiteX231" fmla="*/ 1322896 w 1670533"/>
                <a:gd name="connsiteY231" fmla="*/ 1495930 h 1671185"/>
                <a:gd name="connsiteX232" fmla="*/ 1265624 w 1670533"/>
                <a:gd name="connsiteY232" fmla="*/ 1541061 h 1671185"/>
                <a:gd name="connsiteX233" fmla="*/ 1213409 w 1670533"/>
                <a:gd name="connsiteY233" fmla="*/ 1565468 h 1671185"/>
                <a:gd name="connsiteX234" fmla="*/ 1151397 w 1670533"/>
                <a:gd name="connsiteY234" fmla="*/ 1539198 h 1671185"/>
                <a:gd name="connsiteX235" fmla="*/ 1105184 w 1670533"/>
                <a:gd name="connsiteY235" fmla="*/ 1446561 h 1671185"/>
                <a:gd name="connsiteX236" fmla="*/ 1072520 w 1670533"/>
                <a:gd name="connsiteY236" fmla="*/ 1413357 h 1671185"/>
                <a:gd name="connsiteX237" fmla="*/ 958688 w 1670533"/>
                <a:gd name="connsiteY237" fmla="*/ 1388871 h 1671185"/>
                <a:gd name="connsiteX238" fmla="*/ 869463 w 1670533"/>
                <a:gd name="connsiteY238" fmla="*/ 1414903 h 1671185"/>
                <a:gd name="connsiteX239" fmla="*/ 834744 w 1670533"/>
                <a:gd name="connsiteY239" fmla="*/ 1459874 h 1671185"/>
                <a:gd name="connsiteX240" fmla="*/ 767322 w 1670533"/>
                <a:gd name="connsiteY240" fmla="*/ 1456110 h 1671185"/>
                <a:gd name="connsiteX241" fmla="*/ 767322 w 1670533"/>
                <a:gd name="connsiteY241" fmla="*/ 1480121 h 1671185"/>
                <a:gd name="connsiteX242" fmla="*/ 830203 w 1670533"/>
                <a:gd name="connsiteY242" fmla="*/ 1483608 h 1671185"/>
                <a:gd name="connsiteX243" fmla="*/ 826292 w 1670533"/>
                <a:gd name="connsiteY243" fmla="*/ 1510987 h 1671185"/>
                <a:gd name="connsiteX244" fmla="*/ 762464 w 1670533"/>
                <a:gd name="connsiteY244" fmla="*/ 1500804 h 1671185"/>
                <a:gd name="connsiteX245" fmla="*/ 756105 w 1670533"/>
                <a:gd name="connsiteY245" fmla="*/ 1523904 h 1671185"/>
                <a:gd name="connsiteX246" fmla="*/ 822934 w 1670533"/>
                <a:gd name="connsiteY246" fmla="*/ 1534602 h 1671185"/>
                <a:gd name="connsiteX247" fmla="*/ 819459 w 1670533"/>
                <a:gd name="connsiteY247" fmla="*/ 1558930 h 1671185"/>
                <a:gd name="connsiteX248" fmla="*/ 763294 w 1670533"/>
                <a:gd name="connsiteY248" fmla="*/ 1551957 h 1671185"/>
                <a:gd name="connsiteX249" fmla="*/ 763294 w 1670533"/>
                <a:gd name="connsiteY249" fmla="*/ 1575928 h 1671185"/>
                <a:gd name="connsiteX250" fmla="*/ 816101 w 1670533"/>
                <a:gd name="connsiteY250" fmla="*/ 1582505 h 1671185"/>
                <a:gd name="connsiteX251" fmla="*/ 814048 w 1670533"/>
                <a:gd name="connsiteY251" fmla="*/ 1596690 h 1671185"/>
                <a:gd name="connsiteX252" fmla="*/ 813139 w 1670533"/>
                <a:gd name="connsiteY252" fmla="*/ 1600058 h 1671185"/>
                <a:gd name="connsiteX253" fmla="*/ 751365 w 1670533"/>
                <a:gd name="connsiteY253" fmla="*/ 1600058 h 1671185"/>
                <a:gd name="connsiteX254" fmla="*/ 751365 w 1670533"/>
                <a:gd name="connsiteY254" fmla="*/ 1624030 h 1671185"/>
                <a:gd name="connsiteX255" fmla="*/ 801251 w 1670533"/>
                <a:gd name="connsiteY255" fmla="*/ 1624030 h 1671185"/>
                <a:gd name="connsiteX256" fmla="*/ 780751 w 1670533"/>
                <a:gd name="connsiteY256" fmla="*/ 1638056 h 1671185"/>
                <a:gd name="connsiteX257" fmla="*/ 717121 w 1670533"/>
                <a:gd name="connsiteY257" fmla="*/ 1647565 h 1671185"/>
                <a:gd name="connsiteX258" fmla="*/ 642589 w 1670533"/>
                <a:gd name="connsiteY258" fmla="*/ 1627318 h 1671185"/>
                <a:gd name="connsiteX259" fmla="*/ 615967 w 1670533"/>
                <a:gd name="connsiteY259" fmla="*/ 1576958 h 1671185"/>
                <a:gd name="connsiteX260" fmla="*/ 628725 w 1670533"/>
                <a:gd name="connsiteY260" fmla="*/ 1439231 h 1671185"/>
                <a:gd name="connsiteX261" fmla="*/ 598272 w 1670533"/>
                <a:gd name="connsiteY261" fmla="*/ 1371675 h 1671185"/>
                <a:gd name="connsiteX262" fmla="*/ 1360853 w 1670533"/>
                <a:gd name="connsiteY262" fmla="*/ 488175 h 1671185"/>
                <a:gd name="connsiteX263" fmla="*/ 1358246 w 1670533"/>
                <a:gd name="connsiteY263" fmla="*/ 490038 h 1671185"/>
                <a:gd name="connsiteX264" fmla="*/ 1355087 w 1670533"/>
                <a:gd name="connsiteY264" fmla="*/ 487660 h 1671185"/>
                <a:gd name="connsiteX265" fmla="*/ 1351966 w 1670533"/>
                <a:gd name="connsiteY265" fmla="*/ 484173 h 1671185"/>
                <a:gd name="connsiteX266" fmla="*/ 1360853 w 1670533"/>
                <a:gd name="connsiteY266" fmla="*/ 488175 h 1671185"/>
                <a:gd name="connsiteX267" fmla="*/ 631885 w 1670533"/>
                <a:gd name="connsiteY267" fmla="*/ 1647803 h 1671185"/>
                <a:gd name="connsiteX268" fmla="*/ 716212 w 1670533"/>
                <a:gd name="connsiteY268" fmla="*/ 1670705 h 1671185"/>
                <a:gd name="connsiteX269" fmla="*/ 851728 w 1670533"/>
                <a:gd name="connsiteY269" fmla="*/ 1575334 h 1671185"/>
                <a:gd name="connsiteX270" fmla="*/ 1061856 w 1670533"/>
                <a:gd name="connsiteY270" fmla="*/ 1433921 h 1671185"/>
                <a:gd name="connsiteX271" fmla="*/ 1084488 w 1670533"/>
                <a:gd name="connsiteY271" fmla="*/ 1456902 h 1671185"/>
                <a:gd name="connsiteX272" fmla="*/ 1130739 w 1670533"/>
                <a:gd name="connsiteY272" fmla="*/ 1549579 h 1671185"/>
                <a:gd name="connsiteX273" fmla="*/ 1221031 w 1670533"/>
                <a:gd name="connsiteY273" fmla="*/ 1587340 h 1671185"/>
                <a:gd name="connsiteX274" fmla="*/ 1277473 w 1670533"/>
                <a:gd name="connsiteY274" fmla="*/ 1560951 h 1671185"/>
                <a:gd name="connsiteX275" fmla="*/ 1349201 w 1670533"/>
                <a:gd name="connsiteY275" fmla="*/ 1395924 h 1671185"/>
                <a:gd name="connsiteX276" fmla="*/ 1367449 w 1670533"/>
                <a:gd name="connsiteY276" fmla="*/ 1160250 h 1671185"/>
                <a:gd name="connsiteX277" fmla="*/ 1510549 w 1670533"/>
                <a:gd name="connsiteY277" fmla="*/ 1221030 h 1671185"/>
                <a:gd name="connsiteX278" fmla="*/ 1580065 w 1670533"/>
                <a:gd name="connsiteY278" fmla="*/ 1218376 h 1671185"/>
                <a:gd name="connsiteX279" fmla="*/ 1639469 w 1670533"/>
                <a:gd name="connsiteY279" fmla="*/ 1163736 h 1671185"/>
                <a:gd name="connsiteX280" fmla="*/ 1634769 w 1670533"/>
                <a:gd name="connsiteY280" fmla="*/ 998234 h 1671185"/>
                <a:gd name="connsiteX281" fmla="*/ 1611505 w 1670533"/>
                <a:gd name="connsiteY281" fmla="*/ 982147 h 1671185"/>
                <a:gd name="connsiteX282" fmla="*/ 1440007 w 1670533"/>
                <a:gd name="connsiteY282" fmla="*/ 788949 h 1671185"/>
                <a:gd name="connsiteX283" fmla="*/ 1612651 w 1670533"/>
                <a:gd name="connsiteY283" fmla="*/ 685772 h 1671185"/>
                <a:gd name="connsiteX284" fmla="*/ 1658310 w 1670533"/>
                <a:gd name="connsiteY284" fmla="*/ 628399 h 1671185"/>
                <a:gd name="connsiteX285" fmla="*/ 1644328 w 1670533"/>
                <a:gd name="connsiteY285" fmla="*/ 523122 h 1671185"/>
                <a:gd name="connsiteX286" fmla="*/ 1536617 w 1670533"/>
                <a:gd name="connsiteY286" fmla="*/ 439241 h 1671185"/>
                <a:gd name="connsiteX287" fmla="*/ 1414056 w 1670533"/>
                <a:gd name="connsiteY287" fmla="*/ 476606 h 1671185"/>
                <a:gd name="connsiteX288" fmla="*/ 1352756 w 1670533"/>
                <a:gd name="connsiteY288" fmla="*/ 238871 h 1671185"/>
                <a:gd name="connsiteX289" fmla="*/ 1350741 w 1670533"/>
                <a:gd name="connsiteY289" fmla="*/ 154872 h 1671185"/>
                <a:gd name="connsiteX290" fmla="*/ 1269061 w 1670533"/>
                <a:gd name="connsiteY290" fmla="*/ 85176 h 1671185"/>
                <a:gd name="connsiteX291" fmla="*/ 1201322 w 1670533"/>
                <a:gd name="connsiteY291" fmla="*/ 63384 h 1671185"/>
                <a:gd name="connsiteX292" fmla="*/ 970774 w 1670533"/>
                <a:gd name="connsiteY292" fmla="*/ 224528 h 1671185"/>
                <a:gd name="connsiteX293" fmla="*/ 802120 w 1670533"/>
                <a:gd name="connsiteY293" fmla="*/ 5456 h 1671185"/>
                <a:gd name="connsiteX294" fmla="*/ 699623 w 1670533"/>
                <a:gd name="connsiteY294" fmla="*/ 2960 h 1671185"/>
                <a:gd name="connsiteX295" fmla="*/ 643774 w 1670533"/>
                <a:gd name="connsiteY295" fmla="*/ 16154 h 1671185"/>
                <a:gd name="connsiteX296" fmla="*/ 586502 w 1670533"/>
                <a:gd name="connsiteY296" fmla="*/ 112555 h 1671185"/>
                <a:gd name="connsiteX297" fmla="*/ 569874 w 1670533"/>
                <a:gd name="connsiteY297" fmla="*/ 303892 h 1671185"/>
                <a:gd name="connsiteX298" fmla="*/ 567188 w 1670533"/>
                <a:gd name="connsiteY298" fmla="*/ 306269 h 1671185"/>
                <a:gd name="connsiteX299" fmla="*/ 354414 w 1670533"/>
                <a:gd name="connsiteY299" fmla="*/ 239109 h 1671185"/>
                <a:gd name="connsiteX300" fmla="*/ 257605 w 1670533"/>
                <a:gd name="connsiteY300" fmla="*/ 243943 h 1671185"/>
                <a:gd name="connsiteX301" fmla="*/ 237501 w 1670533"/>
                <a:gd name="connsiteY301" fmla="*/ 260743 h 1671185"/>
                <a:gd name="connsiteX302" fmla="*/ 157360 w 1670533"/>
                <a:gd name="connsiteY302" fmla="*/ 433298 h 1671185"/>
                <a:gd name="connsiteX303" fmla="*/ 228653 w 1670533"/>
                <a:gd name="connsiteY303" fmla="*/ 499309 h 1671185"/>
                <a:gd name="connsiteX304" fmla="*/ 225888 w 1670533"/>
                <a:gd name="connsiteY304" fmla="*/ 683118 h 1671185"/>
                <a:gd name="connsiteX305" fmla="*/ 75600 w 1670533"/>
                <a:gd name="connsiteY305" fmla="*/ 692983 h 1671185"/>
                <a:gd name="connsiteX306" fmla="*/ 3121 w 1670533"/>
                <a:gd name="connsiteY306" fmla="*/ 755943 h 1671185"/>
                <a:gd name="connsiteX307" fmla="*/ -78 w 1670533"/>
                <a:gd name="connsiteY307" fmla="*/ 794060 h 1671185"/>
                <a:gd name="connsiteX308" fmla="*/ 7625 w 1670533"/>
                <a:gd name="connsiteY308" fmla="*/ 870848 h 1671185"/>
                <a:gd name="connsiteX309" fmla="*/ 168064 w 1670533"/>
                <a:gd name="connsiteY309" fmla="*/ 943119 h 1671185"/>
                <a:gd name="connsiteX310" fmla="*/ 277512 w 1670533"/>
                <a:gd name="connsiteY310" fmla="*/ 999106 h 1671185"/>
                <a:gd name="connsiteX311" fmla="*/ 180901 w 1670533"/>
                <a:gd name="connsiteY311" fmla="*/ 1224478 h 1671185"/>
                <a:gd name="connsiteX312" fmla="*/ 160085 w 1670533"/>
                <a:gd name="connsiteY312" fmla="*/ 1313549 h 1671185"/>
                <a:gd name="connsiteX313" fmla="*/ 207483 w 1670533"/>
                <a:gd name="connsiteY313" fmla="*/ 1381541 h 1671185"/>
                <a:gd name="connsiteX314" fmla="*/ 258988 w 1670533"/>
                <a:gd name="connsiteY314" fmla="*/ 1421599 h 1671185"/>
                <a:gd name="connsiteX315" fmla="*/ 371161 w 1670533"/>
                <a:gd name="connsiteY315" fmla="*/ 1394775 h 1671185"/>
                <a:gd name="connsiteX316" fmla="*/ 514103 w 1670533"/>
                <a:gd name="connsiteY316" fmla="*/ 1365732 h 1671185"/>
                <a:gd name="connsiteX317" fmla="*/ 605619 w 1670533"/>
                <a:gd name="connsiteY317" fmla="*/ 1429286 h 1671185"/>
                <a:gd name="connsiteX318" fmla="*/ 592940 w 1670533"/>
                <a:gd name="connsiteY318" fmla="*/ 1574818 h 1671185"/>
                <a:gd name="connsiteX319" fmla="*/ 631885 w 1670533"/>
                <a:gd name="connsiteY319" fmla="*/ 1647803 h 167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1670533" h="1671185">
                  <a:moveTo>
                    <a:pt x="598272" y="1371675"/>
                  </a:moveTo>
                  <a:cubicBezTo>
                    <a:pt x="577694" y="1356301"/>
                    <a:pt x="555694" y="1342592"/>
                    <a:pt x="533022" y="1330507"/>
                  </a:cubicBezTo>
                  <a:cubicBezTo>
                    <a:pt x="532113" y="1327655"/>
                    <a:pt x="530415" y="1325000"/>
                    <a:pt x="527611" y="1323375"/>
                  </a:cubicBezTo>
                  <a:cubicBezTo>
                    <a:pt x="551349" y="1337124"/>
                    <a:pt x="575008" y="1350873"/>
                    <a:pt x="598786" y="1364661"/>
                  </a:cubicBezTo>
                  <a:cubicBezTo>
                    <a:pt x="612136" y="1372388"/>
                    <a:pt x="624183" y="1351665"/>
                    <a:pt x="610872" y="1343939"/>
                  </a:cubicBezTo>
                  <a:cubicBezTo>
                    <a:pt x="570150" y="1320324"/>
                    <a:pt x="529507" y="1296749"/>
                    <a:pt x="488824" y="1273134"/>
                  </a:cubicBezTo>
                  <a:cubicBezTo>
                    <a:pt x="475474" y="1265368"/>
                    <a:pt x="463387" y="1286090"/>
                    <a:pt x="476738" y="1293856"/>
                  </a:cubicBezTo>
                  <a:cubicBezTo>
                    <a:pt x="493524" y="1303564"/>
                    <a:pt x="510311" y="1313311"/>
                    <a:pt x="527097" y="1323019"/>
                  </a:cubicBezTo>
                  <a:cubicBezTo>
                    <a:pt x="525676" y="1322345"/>
                    <a:pt x="524095" y="1321830"/>
                    <a:pt x="522279" y="1321711"/>
                  </a:cubicBezTo>
                  <a:cubicBezTo>
                    <a:pt x="519751" y="1321513"/>
                    <a:pt x="517223" y="1321592"/>
                    <a:pt x="514655" y="1321473"/>
                  </a:cubicBezTo>
                  <a:cubicBezTo>
                    <a:pt x="507664" y="1318105"/>
                    <a:pt x="500752" y="1314579"/>
                    <a:pt x="493683" y="1311568"/>
                  </a:cubicBezTo>
                  <a:cubicBezTo>
                    <a:pt x="484124" y="1307526"/>
                    <a:pt x="474052" y="1305466"/>
                    <a:pt x="463743" y="1305466"/>
                  </a:cubicBezTo>
                  <a:cubicBezTo>
                    <a:pt x="457503" y="1305466"/>
                    <a:pt x="451420" y="1306496"/>
                    <a:pt x="445495" y="1308002"/>
                  </a:cubicBezTo>
                  <a:cubicBezTo>
                    <a:pt x="437082" y="1294570"/>
                    <a:pt x="428630" y="1281098"/>
                    <a:pt x="420217" y="1267627"/>
                  </a:cubicBezTo>
                  <a:cubicBezTo>
                    <a:pt x="412041" y="1254591"/>
                    <a:pt x="391344" y="1266636"/>
                    <a:pt x="399559" y="1279751"/>
                  </a:cubicBezTo>
                  <a:lnTo>
                    <a:pt x="423258" y="1317591"/>
                  </a:lnTo>
                  <a:cubicBezTo>
                    <a:pt x="420296" y="1319453"/>
                    <a:pt x="417413" y="1321394"/>
                    <a:pt x="414766" y="1323692"/>
                  </a:cubicBezTo>
                  <a:lnTo>
                    <a:pt x="397347" y="1338749"/>
                  </a:lnTo>
                  <a:cubicBezTo>
                    <a:pt x="387038" y="1325277"/>
                    <a:pt x="376730" y="1311845"/>
                    <a:pt x="366421" y="1298374"/>
                  </a:cubicBezTo>
                  <a:cubicBezTo>
                    <a:pt x="357178" y="1286289"/>
                    <a:pt x="336363" y="1298215"/>
                    <a:pt x="345764" y="1310458"/>
                  </a:cubicBezTo>
                  <a:cubicBezTo>
                    <a:pt x="356942" y="1325118"/>
                    <a:pt x="368159" y="1339739"/>
                    <a:pt x="379337" y="1354360"/>
                  </a:cubicBezTo>
                  <a:lnTo>
                    <a:pt x="354058" y="1376271"/>
                  </a:lnTo>
                  <a:cubicBezTo>
                    <a:pt x="342999" y="1362760"/>
                    <a:pt x="331979" y="1349249"/>
                    <a:pt x="320920" y="1335737"/>
                  </a:cubicBezTo>
                  <a:cubicBezTo>
                    <a:pt x="311164" y="1323771"/>
                    <a:pt x="294298" y="1340809"/>
                    <a:pt x="303975" y="1352656"/>
                  </a:cubicBezTo>
                  <a:lnTo>
                    <a:pt x="336047" y="1391922"/>
                  </a:lnTo>
                  <a:lnTo>
                    <a:pt x="331071" y="1396201"/>
                  </a:lnTo>
                  <a:cubicBezTo>
                    <a:pt x="328305" y="1398578"/>
                    <a:pt x="325067" y="1400124"/>
                    <a:pt x="321907" y="1401788"/>
                  </a:cubicBezTo>
                  <a:cubicBezTo>
                    <a:pt x="320683" y="1401114"/>
                    <a:pt x="319221" y="1400639"/>
                    <a:pt x="317523" y="1400480"/>
                  </a:cubicBezTo>
                  <a:cubicBezTo>
                    <a:pt x="317286" y="1400243"/>
                    <a:pt x="317207" y="1399925"/>
                    <a:pt x="316930" y="1399648"/>
                  </a:cubicBezTo>
                  <a:cubicBezTo>
                    <a:pt x="300973" y="1385028"/>
                    <a:pt x="285016" y="1370367"/>
                    <a:pt x="269059" y="1355707"/>
                  </a:cubicBezTo>
                  <a:cubicBezTo>
                    <a:pt x="257723" y="1345286"/>
                    <a:pt x="240739" y="1362205"/>
                    <a:pt x="252154" y="1372666"/>
                  </a:cubicBezTo>
                  <a:cubicBezTo>
                    <a:pt x="264833" y="1384314"/>
                    <a:pt x="277512" y="1395963"/>
                    <a:pt x="290190" y="1407612"/>
                  </a:cubicBezTo>
                  <a:cubicBezTo>
                    <a:pt x="283357" y="1406741"/>
                    <a:pt x="276603" y="1405037"/>
                    <a:pt x="270521" y="1401471"/>
                  </a:cubicBezTo>
                  <a:cubicBezTo>
                    <a:pt x="253418" y="1391486"/>
                    <a:pt x="237737" y="1379322"/>
                    <a:pt x="223953" y="1365296"/>
                  </a:cubicBezTo>
                  <a:cubicBezTo>
                    <a:pt x="206298" y="1347387"/>
                    <a:pt x="191841" y="1326624"/>
                    <a:pt x="181019" y="1303643"/>
                  </a:cubicBezTo>
                  <a:cubicBezTo>
                    <a:pt x="171145" y="1282683"/>
                    <a:pt x="177109" y="1257523"/>
                    <a:pt x="195554" y="1242427"/>
                  </a:cubicBezTo>
                  <a:lnTo>
                    <a:pt x="300894" y="1156050"/>
                  </a:lnTo>
                  <a:cubicBezTo>
                    <a:pt x="323408" y="1137625"/>
                    <a:pt x="333282" y="1107473"/>
                    <a:pt x="326094" y="1079341"/>
                  </a:cubicBezTo>
                  <a:cubicBezTo>
                    <a:pt x="320051" y="1055845"/>
                    <a:pt x="312507" y="1032547"/>
                    <a:pt x="303501" y="1010041"/>
                  </a:cubicBezTo>
                  <a:cubicBezTo>
                    <a:pt x="302830" y="1008298"/>
                    <a:pt x="301921" y="1006594"/>
                    <a:pt x="301211" y="1004811"/>
                  </a:cubicBezTo>
                  <a:cubicBezTo>
                    <a:pt x="302238" y="1001959"/>
                    <a:pt x="302158" y="998630"/>
                    <a:pt x="300065" y="995223"/>
                  </a:cubicBezTo>
                  <a:cubicBezTo>
                    <a:pt x="297734" y="991340"/>
                    <a:pt x="294970" y="988170"/>
                    <a:pt x="292363" y="984644"/>
                  </a:cubicBezTo>
                  <a:cubicBezTo>
                    <a:pt x="286004" y="970736"/>
                    <a:pt x="279289" y="956987"/>
                    <a:pt x="271863" y="943714"/>
                  </a:cubicBezTo>
                  <a:cubicBezTo>
                    <a:pt x="264162" y="930044"/>
                    <a:pt x="252115" y="919980"/>
                    <a:pt x="238133" y="913600"/>
                  </a:cubicBezTo>
                  <a:cubicBezTo>
                    <a:pt x="240739" y="911699"/>
                    <a:pt x="242557" y="908727"/>
                    <a:pt x="242438" y="904408"/>
                  </a:cubicBezTo>
                  <a:cubicBezTo>
                    <a:pt x="241924" y="888440"/>
                    <a:pt x="241411" y="872473"/>
                    <a:pt x="240858" y="856465"/>
                  </a:cubicBezTo>
                  <a:cubicBezTo>
                    <a:pt x="240384" y="841092"/>
                    <a:pt x="216448" y="841013"/>
                    <a:pt x="216962" y="856465"/>
                  </a:cubicBezTo>
                  <a:cubicBezTo>
                    <a:pt x="217475" y="872473"/>
                    <a:pt x="217989" y="888440"/>
                    <a:pt x="218502" y="904408"/>
                  </a:cubicBezTo>
                  <a:cubicBezTo>
                    <a:pt x="218542" y="905755"/>
                    <a:pt x="218976" y="906785"/>
                    <a:pt x="219331" y="907895"/>
                  </a:cubicBezTo>
                  <a:cubicBezTo>
                    <a:pt x="215263" y="907221"/>
                    <a:pt x="211195" y="906270"/>
                    <a:pt x="207008" y="906270"/>
                  </a:cubicBezTo>
                  <a:lnTo>
                    <a:pt x="182401" y="906270"/>
                  </a:lnTo>
                  <a:cubicBezTo>
                    <a:pt x="184021" y="903854"/>
                    <a:pt x="184929" y="900842"/>
                    <a:pt x="184376" y="897276"/>
                  </a:cubicBezTo>
                  <a:cubicBezTo>
                    <a:pt x="181691" y="881269"/>
                    <a:pt x="179044" y="865301"/>
                    <a:pt x="176398" y="849294"/>
                  </a:cubicBezTo>
                  <a:cubicBezTo>
                    <a:pt x="173830" y="834118"/>
                    <a:pt x="150764" y="840577"/>
                    <a:pt x="153291" y="855673"/>
                  </a:cubicBezTo>
                  <a:cubicBezTo>
                    <a:pt x="155938" y="871680"/>
                    <a:pt x="158584" y="887688"/>
                    <a:pt x="161270" y="903655"/>
                  </a:cubicBezTo>
                  <a:cubicBezTo>
                    <a:pt x="161467" y="904725"/>
                    <a:pt x="161902" y="905399"/>
                    <a:pt x="162258" y="906270"/>
                  </a:cubicBezTo>
                  <a:lnTo>
                    <a:pt x="121062" y="906270"/>
                  </a:lnTo>
                  <a:lnTo>
                    <a:pt x="117388" y="856465"/>
                  </a:lnTo>
                  <a:cubicBezTo>
                    <a:pt x="116282" y="841171"/>
                    <a:pt x="92347" y="841013"/>
                    <a:pt x="93492" y="856465"/>
                  </a:cubicBezTo>
                  <a:lnTo>
                    <a:pt x="97166" y="906270"/>
                  </a:lnTo>
                  <a:lnTo>
                    <a:pt x="80814" y="906270"/>
                  </a:lnTo>
                  <a:cubicBezTo>
                    <a:pt x="79391" y="906270"/>
                    <a:pt x="78049" y="906033"/>
                    <a:pt x="76666" y="905914"/>
                  </a:cubicBezTo>
                  <a:cubicBezTo>
                    <a:pt x="76627" y="905676"/>
                    <a:pt x="76706" y="905478"/>
                    <a:pt x="76666" y="905240"/>
                  </a:cubicBezTo>
                  <a:cubicBezTo>
                    <a:pt x="74020" y="889272"/>
                    <a:pt x="71334" y="873265"/>
                    <a:pt x="68688" y="857297"/>
                  </a:cubicBezTo>
                  <a:cubicBezTo>
                    <a:pt x="66160" y="842122"/>
                    <a:pt x="43093" y="848540"/>
                    <a:pt x="45621" y="863676"/>
                  </a:cubicBezTo>
                  <a:lnTo>
                    <a:pt x="51151" y="896801"/>
                  </a:lnTo>
                  <a:cubicBezTo>
                    <a:pt x="40842" y="889590"/>
                    <a:pt x="33179" y="878812"/>
                    <a:pt x="30178" y="865697"/>
                  </a:cubicBezTo>
                  <a:cubicBezTo>
                    <a:pt x="24924" y="842320"/>
                    <a:pt x="22475" y="818388"/>
                    <a:pt x="23029" y="794575"/>
                  </a:cubicBezTo>
                  <a:cubicBezTo>
                    <a:pt x="23305" y="782807"/>
                    <a:pt x="24293" y="770960"/>
                    <a:pt x="25991" y="759272"/>
                  </a:cubicBezTo>
                  <a:cubicBezTo>
                    <a:pt x="29585" y="734785"/>
                    <a:pt x="50637" y="716638"/>
                    <a:pt x="76113" y="716163"/>
                  </a:cubicBezTo>
                  <a:lnTo>
                    <a:pt x="201242" y="713745"/>
                  </a:lnTo>
                  <a:cubicBezTo>
                    <a:pt x="222729" y="713310"/>
                    <a:pt x="242833" y="703919"/>
                    <a:pt x="256301" y="688030"/>
                  </a:cubicBezTo>
                  <a:cubicBezTo>
                    <a:pt x="270402" y="671349"/>
                    <a:pt x="282330" y="652925"/>
                    <a:pt x="291691" y="633272"/>
                  </a:cubicBezTo>
                  <a:cubicBezTo>
                    <a:pt x="301289" y="613025"/>
                    <a:pt x="308162" y="591510"/>
                    <a:pt x="312072" y="569362"/>
                  </a:cubicBezTo>
                  <a:cubicBezTo>
                    <a:pt x="314916" y="553315"/>
                    <a:pt x="311519" y="536871"/>
                    <a:pt x="303777" y="522449"/>
                  </a:cubicBezTo>
                  <a:cubicBezTo>
                    <a:pt x="304015" y="520467"/>
                    <a:pt x="303975" y="518526"/>
                    <a:pt x="303383" y="516624"/>
                  </a:cubicBezTo>
                  <a:cubicBezTo>
                    <a:pt x="306345" y="516109"/>
                    <a:pt x="309031" y="514326"/>
                    <a:pt x="310808" y="510760"/>
                  </a:cubicBezTo>
                  <a:cubicBezTo>
                    <a:pt x="313494" y="505451"/>
                    <a:pt x="316140" y="500102"/>
                    <a:pt x="318787" y="494752"/>
                  </a:cubicBezTo>
                  <a:cubicBezTo>
                    <a:pt x="325659" y="481003"/>
                    <a:pt x="305002" y="468840"/>
                    <a:pt x="298169" y="482668"/>
                  </a:cubicBezTo>
                  <a:cubicBezTo>
                    <a:pt x="295443" y="487977"/>
                    <a:pt x="292837" y="493326"/>
                    <a:pt x="290151" y="498636"/>
                  </a:cubicBezTo>
                  <a:cubicBezTo>
                    <a:pt x="289479" y="500023"/>
                    <a:pt x="289242" y="501370"/>
                    <a:pt x="289045" y="502717"/>
                  </a:cubicBezTo>
                  <a:cubicBezTo>
                    <a:pt x="288690" y="502400"/>
                    <a:pt x="288492" y="502004"/>
                    <a:pt x="288176" y="501686"/>
                  </a:cubicBezTo>
                  <a:cubicBezTo>
                    <a:pt x="287188" y="500815"/>
                    <a:pt x="283476" y="497922"/>
                    <a:pt x="275181" y="491662"/>
                  </a:cubicBezTo>
                  <a:lnTo>
                    <a:pt x="275221" y="491622"/>
                  </a:lnTo>
                  <a:cubicBezTo>
                    <a:pt x="279171" y="478309"/>
                    <a:pt x="283160" y="464956"/>
                    <a:pt x="287109" y="451643"/>
                  </a:cubicBezTo>
                  <a:cubicBezTo>
                    <a:pt x="291573" y="436825"/>
                    <a:pt x="268467" y="430485"/>
                    <a:pt x="264043" y="445264"/>
                  </a:cubicBezTo>
                  <a:cubicBezTo>
                    <a:pt x="260962" y="455606"/>
                    <a:pt x="257882" y="465947"/>
                    <a:pt x="254761" y="476328"/>
                  </a:cubicBezTo>
                  <a:cubicBezTo>
                    <a:pt x="247731" y="471019"/>
                    <a:pt x="239476" y="464877"/>
                    <a:pt x="229522" y="457389"/>
                  </a:cubicBezTo>
                  <a:cubicBezTo>
                    <a:pt x="228811" y="456834"/>
                    <a:pt x="227982" y="456239"/>
                    <a:pt x="227271" y="455685"/>
                  </a:cubicBezTo>
                  <a:cubicBezTo>
                    <a:pt x="231300" y="439677"/>
                    <a:pt x="235368" y="423749"/>
                    <a:pt x="239397" y="407742"/>
                  </a:cubicBezTo>
                  <a:cubicBezTo>
                    <a:pt x="243228" y="392765"/>
                    <a:pt x="220161" y="386425"/>
                    <a:pt x="216330" y="401363"/>
                  </a:cubicBezTo>
                  <a:cubicBezTo>
                    <a:pt x="213051" y="414280"/>
                    <a:pt x="209773" y="427197"/>
                    <a:pt x="206495" y="440113"/>
                  </a:cubicBezTo>
                  <a:cubicBezTo>
                    <a:pt x="200136" y="435359"/>
                    <a:pt x="194211" y="430881"/>
                    <a:pt x="189037" y="426998"/>
                  </a:cubicBezTo>
                  <a:cubicBezTo>
                    <a:pt x="189708" y="425968"/>
                    <a:pt x="190380" y="424898"/>
                    <a:pt x="190735" y="423512"/>
                  </a:cubicBezTo>
                  <a:cubicBezTo>
                    <a:pt x="194962" y="407583"/>
                    <a:pt x="199228" y="391655"/>
                    <a:pt x="203454" y="375767"/>
                  </a:cubicBezTo>
                  <a:cubicBezTo>
                    <a:pt x="206811" y="363127"/>
                    <a:pt x="190973" y="356827"/>
                    <a:pt x="183547" y="364038"/>
                  </a:cubicBezTo>
                  <a:cubicBezTo>
                    <a:pt x="193856" y="327388"/>
                    <a:pt x="216725" y="307933"/>
                    <a:pt x="252193" y="278652"/>
                  </a:cubicBezTo>
                  <a:cubicBezTo>
                    <a:pt x="258632" y="273343"/>
                    <a:pt x="265425" y="267716"/>
                    <a:pt x="273088" y="261179"/>
                  </a:cubicBezTo>
                  <a:cubicBezTo>
                    <a:pt x="291059" y="243943"/>
                    <a:pt x="320604" y="242319"/>
                    <a:pt x="340392" y="257494"/>
                  </a:cubicBezTo>
                  <a:lnTo>
                    <a:pt x="446996" y="339512"/>
                  </a:lnTo>
                  <a:cubicBezTo>
                    <a:pt x="460070" y="349537"/>
                    <a:pt x="476185" y="355084"/>
                    <a:pt x="492497" y="355084"/>
                  </a:cubicBezTo>
                  <a:cubicBezTo>
                    <a:pt x="492853" y="355559"/>
                    <a:pt x="495302" y="355044"/>
                    <a:pt x="496724" y="354965"/>
                  </a:cubicBezTo>
                  <a:cubicBezTo>
                    <a:pt x="518210" y="353697"/>
                    <a:pt x="550125" y="347516"/>
                    <a:pt x="580419" y="325248"/>
                  </a:cubicBezTo>
                  <a:cubicBezTo>
                    <a:pt x="583698" y="324971"/>
                    <a:pt x="586857" y="323386"/>
                    <a:pt x="588951" y="319503"/>
                  </a:cubicBezTo>
                  <a:cubicBezTo>
                    <a:pt x="589464" y="318552"/>
                    <a:pt x="589820" y="317561"/>
                    <a:pt x="590334" y="316611"/>
                  </a:cubicBezTo>
                  <a:cubicBezTo>
                    <a:pt x="613044" y="296601"/>
                    <a:pt x="626197" y="273660"/>
                    <a:pt x="632872" y="256900"/>
                  </a:cubicBezTo>
                  <a:cubicBezTo>
                    <a:pt x="633662" y="254958"/>
                    <a:pt x="634175" y="252937"/>
                    <a:pt x="634768" y="250917"/>
                  </a:cubicBezTo>
                  <a:cubicBezTo>
                    <a:pt x="652819" y="252264"/>
                    <a:pt x="670434" y="246360"/>
                    <a:pt x="683547" y="232968"/>
                  </a:cubicBezTo>
                  <a:cubicBezTo>
                    <a:pt x="694409" y="221953"/>
                    <a:pt x="677465" y="204994"/>
                    <a:pt x="666603" y="216009"/>
                  </a:cubicBezTo>
                  <a:cubicBezTo>
                    <a:pt x="658743" y="224092"/>
                    <a:pt x="648671" y="227936"/>
                    <a:pt x="637888" y="227381"/>
                  </a:cubicBezTo>
                  <a:cubicBezTo>
                    <a:pt x="637770" y="224092"/>
                    <a:pt x="637454" y="220764"/>
                    <a:pt x="636901" y="217436"/>
                  </a:cubicBezTo>
                  <a:lnTo>
                    <a:pt x="634413" y="202458"/>
                  </a:lnTo>
                  <a:cubicBezTo>
                    <a:pt x="648118" y="202300"/>
                    <a:pt x="661824" y="202102"/>
                    <a:pt x="675569" y="201864"/>
                  </a:cubicBezTo>
                  <a:cubicBezTo>
                    <a:pt x="690934" y="201705"/>
                    <a:pt x="691012" y="177694"/>
                    <a:pt x="675569" y="177893"/>
                  </a:cubicBezTo>
                  <a:cubicBezTo>
                    <a:pt x="660481" y="178130"/>
                    <a:pt x="645472" y="178328"/>
                    <a:pt x="630463" y="178566"/>
                  </a:cubicBezTo>
                  <a:lnTo>
                    <a:pt x="625802" y="150553"/>
                  </a:lnTo>
                  <a:cubicBezTo>
                    <a:pt x="642391" y="149364"/>
                    <a:pt x="659019" y="148176"/>
                    <a:pt x="675687" y="147026"/>
                  </a:cubicBezTo>
                  <a:cubicBezTo>
                    <a:pt x="690934" y="145957"/>
                    <a:pt x="691092" y="121986"/>
                    <a:pt x="675687" y="123055"/>
                  </a:cubicBezTo>
                  <a:cubicBezTo>
                    <a:pt x="657716" y="124284"/>
                    <a:pt x="639784" y="125551"/>
                    <a:pt x="621813" y="126819"/>
                  </a:cubicBezTo>
                  <a:lnTo>
                    <a:pt x="617389" y="100153"/>
                  </a:lnTo>
                  <a:cubicBezTo>
                    <a:pt x="633899" y="97816"/>
                    <a:pt x="650409" y="95557"/>
                    <a:pt x="666880" y="93259"/>
                  </a:cubicBezTo>
                  <a:cubicBezTo>
                    <a:pt x="682047" y="91199"/>
                    <a:pt x="675569" y="68059"/>
                    <a:pt x="660481" y="70160"/>
                  </a:cubicBezTo>
                  <a:cubicBezTo>
                    <a:pt x="646064" y="72140"/>
                    <a:pt x="631648" y="74121"/>
                    <a:pt x="617231" y="76143"/>
                  </a:cubicBezTo>
                  <a:cubicBezTo>
                    <a:pt x="620944" y="58748"/>
                    <a:pt x="633386" y="44088"/>
                    <a:pt x="651120" y="38145"/>
                  </a:cubicBezTo>
                  <a:cubicBezTo>
                    <a:pt x="667946" y="32479"/>
                    <a:pt x="685325" y="28358"/>
                    <a:pt x="702862" y="25901"/>
                  </a:cubicBezTo>
                  <a:cubicBezTo>
                    <a:pt x="734184" y="21464"/>
                    <a:pt x="766532" y="22295"/>
                    <a:pt x="798012" y="28278"/>
                  </a:cubicBezTo>
                  <a:cubicBezTo>
                    <a:pt x="821118" y="32637"/>
                    <a:pt x="838181" y="51101"/>
                    <a:pt x="840591" y="74121"/>
                  </a:cubicBezTo>
                  <a:lnTo>
                    <a:pt x="849516" y="161132"/>
                  </a:lnTo>
                  <a:cubicBezTo>
                    <a:pt x="851294" y="178724"/>
                    <a:pt x="858917" y="194811"/>
                    <a:pt x="870924" y="206421"/>
                  </a:cubicBezTo>
                  <a:cubicBezTo>
                    <a:pt x="886604" y="221596"/>
                    <a:pt x="904537" y="233324"/>
                    <a:pt x="924206" y="241368"/>
                  </a:cubicBezTo>
                  <a:cubicBezTo>
                    <a:pt x="961927" y="256781"/>
                    <a:pt x="1005019" y="257454"/>
                    <a:pt x="1046807" y="243784"/>
                  </a:cubicBezTo>
                  <a:cubicBezTo>
                    <a:pt x="1058815" y="239822"/>
                    <a:pt x="1069439" y="232769"/>
                    <a:pt x="1078010" y="223617"/>
                  </a:cubicBezTo>
                  <a:cubicBezTo>
                    <a:pt x="1088003" y="229085"/>
                    <a:pt x="1097997" y="234592"/>
                    <a:pt x="1107989" y="240060"/>
                  </a:cubicBezTo>
                  <a:cubicBezTo>
                    <a:pt x="1121458" y="247469"/>
                    <a:pt x="1133584" y="226747"/>
                    <a:pt x="1120036" y="219338"/>
                  </a:cubicBezTo>
                  <a:cubicBezTo>
                    <a:pt x="1110675" y="214187"/>
                    <a:pt x="1101314" y="209075"/>
                    <a:pt x="1091913" y="203924"/>
                  </a:cubicBezTo>
                  <a:lnTo>
                    <a:pt x="1099971" y="190215"/>
                  </a:lnTo>
                  <a:lnTo>
                    <a:pt x="1147724" y="212483"/>
                  </a:lnTo>
                  <a:cubicBezTo>
                    <a:pt x="1161627" y="218941"/>
                    <a:pt x="1173792" y="198298"/>
                    <a:pt x="1159811" y="191761"/>
                  </a:cubicBezTo>
                  <a:cubicBezTo>
                    <a:pt x="1143932" y="184351"/>
                    <a:pt x="1128014" y="176942"/>
                    <a:pt x="1112137" y="169572"/>
                  </a:cubicBezTo>
                  <a:lnTo>
                    <a:pt x="1128449" y="141836"/>
                  </a:lnTo>
                  <a:cubicBezTo>
                    <a:pt x="1148316" y="153089"/>
                    <a:pt x="1168183" y="164302"/>
                    <a:pt x="1188051" y="175515"/>
                  </a:cubicBezTo>
                  <a:cubicBezTo>
                    <a:pt x="1201520" y="183123"/>
                    <a:pt x="1213567" y="162400"/>
                    <a:pt x="1200137" y="154832"/>
                  </a:cubicBezTo>
                  <a:cubicBezTo>
                    <a:pt x="1180309" y="143619"/>
                    <a:pt x="1160482" y="132406"/>
                    <a:pt x="1140614" y="121193"/>
                  </a:cubicBezTo>
                  <a:lnTo>
                    <a:pt x="1146380" y="111367"/>
                  </a:lnTo>
                  <a:cubicBezTo>
                    <a:pt x="1149541" y="106057"/>
                    <a:pt x="1153727" y="101699"/>
                    <a:pt x="1158309" y="97855"/>
                  </a:cubicBezTo>
                  <a:cubicBezTo>
                    <a:pt x="1158151" y="101540"/>
                    <a:pt x="1159731" y="105146"/>
                    <a:pt x="1164313" y="107166"/>
                  </a:cubicBezTo>
                  <a:cubicBezTo>
                    <a:pt x="1188287" y="117785"/>
                    <a:pt x="1212224" y="128444"/>
                    <a:pt x="1236199" y="139063"/>
                  </a:cubicBezTo>
                  <a:cubicBezTo>
                    <a:pt x="1250141" y="145283"/>
                    <a:pt x="1262346" y="124640"/>
                    <a:pt x="1248245" y="118380"/>
                  </a:cubicBezTo>
                  <a:cubicBezTo>
                    <a:pt x="1225100" y="108117"/>
                    <a:pt x="1201994" y="97816"/>
                    <a:pt x="1178848" y="87554"/>
                  </a:cubicBezTo>
                  <a:cubicBezTo>
                    <a:pt x="1185010" y="86048"/>
                    <a:pt x="1191329" y="85295"/>
                    <a:pt x="1197768" y="86286"/>
                  </a:cubicBezTo>
                  <a:cubicBezTo>
                    <a:pt x="1219096" y="89614"/>
                    <a:pt x="1239635" y="96191"/>
                    <a:pt x="1258633" y="105859"/>
                  </a:cubicBezTo>
                  <a:cubicBezTo>
                    <a:pt x="1287585" y="120519"/>
                    <a:pt x="1312271" y="141598"/>
                    <a:pt x="1332099" y="168621"/>
                  </a:cubicBezTo>
                  <a:cubicBezTo>
                    <a:pt x="1344304" y="185223"/>
                    <a:pt x="1344777" y="208402"/>
                    <a:pt x="1333284" y="226351"/>
                  </a:cubicBezTo>
                  <a:lnTo>
                    <a:pt x="1273169" y="320335"/>
                  </a:lnTo>
                  <a:cubicBezTo>
                    <a:pt x="1260845" y="339591"/>
                    <a:pt x="1257962" y="363206"/>
                    <a:pt x="1265308" y="385078"/>
                  </a:cubicBezTo>
                  <a:cubicBezTo>
                    <a:pt x="1273840" y="410555"/>
                    <a:pt x="1285689" y="434764"/>
                    <a:pt x="1300461" y="457111"/>
                  </a:cubicBezTo>
                  <a:cubicBezTo>
                    <a:pt x="1311639" y="473951"/>
                    <a:pt x="1324475" y="489720"/>
                    <a:pt x="1338695" y="503984"/>
                  </a:cubicBezTo>
                  <a:cubicBezTo>
                    <a:pt x="1356074" y="521418"/>
                    <a:pt x="1381313" y="528828"/>
                    <a:pt x="1405209" y="524548"/>
                  </a:cubicBezTo>
                  <a:cubicBezTo>
                    <a:pt x="1413148" y="545786"/>
                    <a:pt x="1421087" y="566984"/>
                    <a:pt x="1429026" y="588222"/>
                  </a:cubicBezTo>
                  <a:cubicBezTo>
                    <a:pt x="1434398" y="602565"/>
                    <a:pt x="1457583" y="596345"/>
                    <a:pt x="1452133" y="581843"/>
                  </a:cubicBezTo>
                  <a:cubicBezTo>
                    <a:pt x="1444153" y="560526"/>
                    <a:pt x="1436175" y="539209"/>
                    <a:pt x="1428196" y="517892"/>
                  </a:cubicBezTo>
                  <a:cubicBezTo>
                    <a:pt x="1428118" y="517654"/>
                    <a:pt x="1427920" y="517536"/>
                    <a:pt x="1427841" y="517297"/>
                  </a:cubicBezTo>
                  <a:lnTo>
                    <a:pt x="1466825" y="501845"/>
                  </a:lnTo>
                  <a:cubicBezTo>
                    <a:pt x="1465917" y="504579"/>
                    <a:pt x="1465798" y="507590"/>
                    <a:pt x="1467141" y="510760"/>
                  </a:cubicBezTo>
                  <a:cubicBezTo>
                    <a:pt x="1475120" y="529422"/>
                    <a:pt x="1483137" y="548084"/>
                    <a:pt x="1491117" y="566746"/>
                  </a:cubicBezTo>
                  <a:cubicBezTo>
                    <a:pt x="1497159" y="580892"/>
                    <a:pt x="1517817" y="568688"/>
                    <a:pt x="1511773" y="554622"/>
                  </a:cubicBezTo>
                  <a:cubicBezTo>
                    <a:pt x="1503795" y="535999"/>
                    <a:pt x="1495816" y="517337"/>
                    <a:pt x="1487838" y="498675"/>
                  </a:cubicBezTo>
                  <a:cubicBezTo>
                    <a:pt x="1487087" y="496932"/>
                    <a:pt x="1486140" y="495624"/>
                    <a:pt x="1484995" y="494634"/>
                  </a:cubicBezTo>
                  <a:lnTo>
                    <a:pt x="1519357" y="481043"/>
                  </a:lnTo>
                  <a:lnTo>
                    <a:pt x="1533813" y="531879"/>
                  </a:lnTo>
                  <a:cubicBezTo>
                    <a:pt x="1538039" y="546697"/>
                    <a:pt x="1561145" y="540398"/>
                    <a:pt x="1556919" y="525499"/>
                  </a:cubicBezTo>
                  <a:cubicBezTo>
                    <a:pt x="1551942" y="508066"/>
                    <a:pt x="1546966" y="490632"/>
                    <a:pt x="1541989" y="473158"/>
                  </a:cubicBezTo>
                  <a:cubicBezTo>
                    <a:pt x="1549692" y="471296"/>
                    <a:pt x="1557591" y="470702"/>
                    <a:pt x="1565253" y="472326"/>
                  </a:cubicBezTo>
                  <a:cubicBezTo>
                    <a:pt x="1565293" y="473476"/>
                    <a:pt x="1565293" y="474624"/>
                    <a:pt x="1565727" y="475892"/>
                  </a:cubicBezTo>
                  <a:cubicBezTo>
                    <a:pt x="1573745" y="498556"/>
                    <a:pt x="1581723" y="521220"/>
                    <a:pt x="1589703" y="543884"/>
                  </a:cubicBezTo>
                  <a:cubicBezTo>
                    <a:pt x="1594798" y="558347"/>
                    <a:pt x="1617944" y="552086"/>
                    <a:pt x="1612769" y="537505"/>
                  </a:cubicBezTo>
                  <a:cubicBezTo>
                    <a:pt x="1607634" y="522924"/>
                    <a:pt x="1602499" y="508304"/>
                    <a:pt x="1597326" y="493722"/>
                  </a:cubicBezTo>
                  <a:cubicBezTo>
                    <a:pt x="1607792" y="505609"/>
                    <a:pt x="1616759" y="518486"/>
                    <a:pt x="1623236" y="532711"/>
                  </a:cubicBezTo>
                  <a:cubicBezTo>
                    <a:pt x="1639429" y="568292"/>
                    <a:pt x="1638798" y="602486"/>
                    <a:pt x="1635441" y="624952"/>
                  </a:cubicBezTo>
                  <a:cubicBezTo>
                    <a:pt x="1632834" y="642346"/>
                    <a:pt x="1620747" y="657442"/>
                    <a:pt x="1603922" y="664336"/>
                  </a:cubicBezTo>
                  <a:lnTo>
                    <a:pt x="1466351" y="720560"/>
                  </a:lnTo>
                  <a:cubicBezTo>
                    <a:pt x="1447550" y="728247"/>
                    <a:pt x="1433015" y="742710"/>
                    <a:pt x="1425431" y="761292"/>
                  </a:cubicBezTo>
                  <a:cubicBezTo>
                    <a:pt x="1416032" y="784115"/>
                    <a:pt x="1410937" y="808086"/>
                    <a:pt x="1410264" y="832573"/>
                  </a:cubicBezTo>
                  <a:cubicBezTo>
                    <a:pt x="1409554" y="858803"/>
                    <a:pt x="1413898" y="884597"/>
                    <a:pt x="1423101" y="909282"/>
                  </a:cubicBezTo>
                  <a:cubicBezTo>
                    <a:pt x="1427565" y="921248"/>
                    <a:pt x="1435267" y="931510"/>
                    <a:pt x="1444984" y="939672"/>
                  </a:cubicBezTo>
                  <a:cubicBezTo>
                    <a:pt x="1437517" y="965545"/>
                    <a:pt x="1430092" y="991459"/>
                    <a:pt x="1422588" y="1017371"/>
                  </a:cubicBezTo>
                  <a:cubicBezTo>
                    <a:pt x="1418362" y="1032230"/>
                    <a:pt x="1441428" y="1038570"/>
                    <a:pt x="1445693" y="1023711"/>
                  </a:cubicBezTo>
                  <a:cubicBezTo>
                    <a:pt x="1452487" y="1000057"/>
                    <a:pt x="1459320" y="976402"/>
                    <a:pt x="1466114" y="952747"/>
                  </a:cubicBezTo>
                  <a:lnTo>
                    <a:pt x="1487047" y="963049"/>
                  </a:lnTo>
                  <a:cubicBezTo>
                    <a:pt x="1486100" y="964555"/>
                    <a:pt x="1485389" y="966298"/>
                    <a:pt x="1485153" y="968398"/>
                  </a:cubicBezTo>
                  <a:lnTo>
                    <a:pt x="1477332" y="1040352"/>
                  </a:lnTo>
                  <a:cubicBezTo>
                    <a:pt x="1475634" y="1055687"/>
                    <a:pt x="1499609" y="1055568"/>
                    <a:pt x="1501267" y="1040352"/>
                  </a:cubicBezTo>
                  <a:lnTo>
                    <a:pt x="1508534" y="973629"/>
                  </a:lnTo>
                  <a:lnTo>
                    <a:pt x="1535354" y="986783"/>
                  </a:lnTo>
                  <a:cubicBezTo>
                    <a:pt x="1534801" y="987575"/>
                    <a:pt x="1534208" y="988249"/>
                    <a:pt x="1533813" y="989240"/>
                  </a:cubicBezTo>
                  <a:cubicBezTo>
                    <a:pt x="1525835" y="1010556"/>
                    <a:pt x="1517857" y="1031873"/>
                    <a:pt x="1509877" y="1053190"/>
                  </a:cubicBezTo>
                  <a:cubicBezTo>
                    <a:pt x="1504466" y="1067652"/>
                    <a:pt x="1527612" y="1073913"/>
                    <a:pt x="1532944" y="1059530"/>
                  </a:cubicBezTo>
                  <a:cubicBezTo>
                    <a:pt x="1540765" y="1038768"/>
                    <a:pt x="1548545" y="1017926"/>
                    <a:pt x="1556327" y="997124"/>
                  </a:cubicBezTo>
                  <a:lnTo>
                    <a:pt x="1591046" y="1014162"/>
                  </a:lnTo>
                  <a:cubicBezTo>
                    <a:pt x="1588596" y="1015509"/>
                    <a:pt x="1586622" y="1017728"/>
                    <a:pt x="1585673" y="1021215"/>
                  </a:cubicBezTo>
                  <a:cubicBezTo>
                    <a:pt x="1580381" y="1041184"/>
                    <a:pt x="1575049" y="1061155"/>
                    <a:pt x="1569717" y="1081163"/>
                  </a:cubicBezTo>
                  <a:cubicBezTo>
                    <a:pt x="1565727" y="1096101"/>
                    <a:pt x="1588834" y="1102441"/>
                    <a:pt x="1592822" y="1087543"/>
                  </a:cubicBezTo>
                  <a:cubicBezTo>
                    <a:pt x="1598155" y="1067573"/>
                    <a:pt x="1603448" y="1047564"/>
                    <a:pt x="1608779" y="1027594"/>
                  </a:cubicBezTo>
                  <a:cubicBezTo>
                    <a:pt x="1609214" y="1025930"/>
                    <a:pt x="1609214" y="1024464"/>
                    <a:pt x="1609056" y="1023038"/>
                  </a:cubicBezTo>
                  <a:lnTo>
                    <a:pt x="1617786" y="1027317"/>
                  </a:lnTo>
                  <a:cubicBezTo>
                    <a:pt x="1637099" y="1036826"/>
                    <a:pt x="1648672" y="1057073"/>
                    <a:pt x="1646618" y="1077717"/>
                  </a:cubicBezTo>
                  <a:cubicBezTo>
                    <a:pt x="1643933" y="1104580"/>
                    <a:pt x="1635085" y="1129107"/>
                    <a:pt x="1620352" y="1150661"/>
                  </a:cubicBezTo>
                  <a:cubicBezTo>
                    <a:pt x="1607002" y="1170235"/>
                    <a:pt x="1589623" y="1186242"/>
                    <a:pt x="1568610" y="1198208"/>
                  </a:cubicBezTo>
                  <a:cubicBezTo>
                    <a:pt x="1553918" y="1206608"/>
                    <a:pt x="1535670" y="1207321"/>
                    <a:pt x="1520463" y="1200110"/>
                  </a:cubicBezTo>
                  <a:lnTo>
                    <a:pt x="1409554" y="1147333"/>
                  </a:lnTo>
                  <a:cubicBezTo>
                    <a:pt x="1394229" y="1140043"/>
                    <a:pt x="1377008" y="1138101"/>
                    <a:pt x="1360616" y="1141944"/>
                  </a:cubicBezTo>
                  <a:cubicBezTo>
                    <a:pt x="1332731" y="1148442"/>
                    <a:pt x="1307965" y="1161042"/>
                    <a:pt x="1287071" y="1179387"/>
                  </a:cubicBezTo>
                  <a:cubicBezTo>
                    <a:pt x="1254485" y="1208034"/>
                    <a:pt x="1240425" y="1243140"/>
                    <a:pt x="1234382" y="1267587"/>
                  </a:cubicBezTo>
                  <a:cubicBezTo>
                    <a:pt x="1230788" y="1282088"/>
                    <a:pt x="1232288" y="1297184"/>
                    <a:pt x="1237502" y="1311092"/>
                  </a:cubicBezTo>
                  <a:cubicBezTo>
                    <a:pt x="1217595" y="1327298"/>
                    <a:pt x="1197688" y="1343503"/>
                    <a:pt x="1177781" y="1359709"/>
                  </a:cubicBezTo>
                  <a:cubicBezTo>
                    <a:pt x="1165813" y="1369456"/>
                    <a:pt x="1182877" y="1386335"/>
                    <a:pt x="1194727" y="1376667"/>
                  </a:cubicBezTo>
                  <a:cubicBezTo>
                    <a:pt x="1212895" y="1361888"/>
                    <a:pt x="1231024" y="1347109"/>
                    <a:pt x="1249194" y="1332330"/>
                  </a:cubicBezTo>
                  <a:cubicBezTo>
                    <a:pt x="1249312" y="1332449"/>
                    <a:pt x="1249390" y="1332647"/>
                    <a:pt x="1249510" y="1332766"/>
                  </a:cubicBezTo>
                  <a:lnTo>
                    <a:pt x="1259226" y="1344573"/>
                  </a:lnTo>
                  <a:cubicBezTo>
                    <a:pt x="1243861" y="1358758"/>
                    <a:pt x="1228496" y="1372943"/>
                    <a:pt x="1213171" y="1387127"/>
                  </a:cubicBezTo>
                  <a:cubicBezTo>
                    <a:pt x="1201836" y="1397588"/>
                    <a:pt x="1218780" y="1414507"/>
                    <a:pt x="1230076" y="1404086"/>
                  </a:cubicBezTo>
                  <a:cubicBezTo>
                    <a:pt x="1244888" y="1390416"/>
                    <a:pt x="1259660" y="1376747"/>
                    <a:pt x="1274432" y="1363077"/>
                  </a:cubicBezTo>
                  <a:lnTo>
                    <a:pt x="1291771" y="1384116"/>
                  </a:lnTo>
                  <a:cubicBezTo>
                    <a:pt x="1277513" y="1398420"/>
                    <a:pt x="1263215" y="1412684"/>
                    <a:pt x="1248956" y="1426987"/>
                  </a:cubicBezTo>
                  <a:cubicBezTo>
                    <a:pt x="1238055" y="1437884"/>
                    <a:pt x="1254960" y="1454882"/>
                    <a:pt x="1265900" y="1443946"/>
                  </a:cubicBezTo>
                  <a:cubicBezTo>
                    <a:pt x="1279606" y="1430197"/>
                    <a:pt x="1293351" y="1416448"/>
                    <a:pt x="1307096" y="1402699"/>
                  </a:cubicBezTo>
                  <a:lnTo>
                    <a:pt x="1326332" y="1426037"/>
                  </a:lnTo>
                  <a:cubicBezTo>
                    <a:pt x="1328939" y="1429286"/>
                    <a:pt x="1330993" y="1432773"/>
                    <a:pt x="1332731" y="1436339"/>
                  </a:cubicBezTo>
                  <a:cubicBezTo>
                    <a:pt x="1315707" y="1452148"/>
                    <a:pt x="1298684" y="1467957"/>
                    <a:pt x="1281660" y="1483767"/>
                  </a:cubicBezTo>
                  <a:cubicBezTo>
                    <a:pt x="1270324" y="1494267"/>
                    <a:pt x="1287309" y="1511185"/>
                    <a:pt x="1298604" y="1500725"/>
                  </a:cubicBezTo>
                  <a:cubicBezTo>
                    <a:pt x="1311599" y="1488640"/>
                    <a:pt x="1324595" y="1476555"/>
                    <a:pt x="1337588" y="1464510"/>
                  </a:cubicBezTo>
                  <a:cubicBezTo>
                    <a:pt x="1336404" y="1475921"/>
                    <a:pt x="1331586" y="1487055"/>
                    <a:pt x="1322896" y="1495930"/>
                  </a:cubicBezTo>
                  <a:cubicBezTo>
                    <a:pt x="1305753" y="1513444"/>
                    <a:pt x="1286479" y="1528619"/>
                    <a:pt x="1265624" y="1541061"/>
                  </a:cubicBezTo>
                  <a:cubicBezTo>
                    <a:pt x="1249154" y="1550926"/>
                    <a:pt x="1231577" y="1559128"/>
                    <a:pt x="1213409" y="1565468"/>
                  </a:cubicBezTo>
                  <a:cubicBezTo>
                    <a:pt x="1190105" y="1573551"/>
                    <a:pt x="1162654" y="1561783"/>
                    <a:pt x="1151397" y="1539198"/>
                  </a:cubicBezTo>
                  <a:lnTo>
                    <a:pt x="1105184" y="1446561"/>
                  </a:lnTo>
                  <a:cubicBezTo>
                    <a:pt x="1098075" y="1432258"/>
                    <a:pt x="1086740" y="1420807"/>
                    <a:pt x="1072520" y="1413357"/>
                  </a:cubicBezTo>
                  <a:cubicBezTo>
                    <a:pt x="1048585" y="1400837"/>
                    <a:pt x="1008534" y="1385780"/>
                    <a:pt x="958688" y="1388871"/>
                  </a:cubicBezTo>
                  <a:cubicBezTo>
                    <a:pt x="927406" y="1390892"/>
                    <a:pt x="897388" y="1399648"/>
                    <a:pt x="869463" y="1414903"/>
                  </a:cubicBezTo>
                  <a:cubicBezTo>
                    <a:pt x="852360" y="1424253"/>
                    <a:pt x="840116" y="1440736"/>
                    <a:pt x="834744" y="1459874"/>
                  </a:cubicBezTo>
                  <a:cubicBezTo>
                    <a:pt x="812270" y="1458646"/>
                    <a:pt x="789796" y="1457378"/>
                    <a:pt x="767322" y="1456110"/>
                  </a:cubicBezTo>
                  <a:cubicBezTo>
                    <a:pt x="751879" y="1455278"/>
                    <a:pt x="751997" y="1479249"/>
                    <a:pt x="767322" y="1480121"/>
                  </a:cubicBezTo>
                  <a:cubicBezTo>
                    <a:pt x="788295" y="1481270"/>
                    <a:pt x="809229" y="1482459"/>
                    <a:pt x="830203" y="1483608"/>
                  </a:cubicBezTo>
                  <a:lnTo>
                    <a:pt x="826292" y="1510987"/>
                  </a:lnTo>
                  <a:cubicBezTo>
                    <a:pt x="805042" y="1507619"/>
                    <a:pt x="783714" y="1504212"/>
                    <a:pt x="762464" y="1500804"/>
                  </a:cubicBezTo>
                  <a:cubicBezTo>
                    <a:pt x="747415" y="1498387"/>
                    <a:pt x="740938" y="1521487"/>
                    <a:pt x="756105" y="1523904"/>
                  </a:cubicBezTo>
                  <a:cubicBezTo>
                    <a:pt x="778381" y="1527470"/>
                    <a:pt x="800658" y="1531036"/>
                    <a:pt x="822934" y="1534602"/>
                  </a:cubicBezTo>
                  <a:lnTo>
                    <a:pt x="819459" y="1558930"/>
                  </a:lnTo>
                  <a:cubicBezTo>
                    <a:pt x="800737" y="1556593"/>
                    <a:pt x="782015" y="1554294"/>
                    <a:pt x="763294" y="1551957"/>
                  </a:cubicBezTo>
                  <a:cubicBezTo>
                    <a:pt x="748087" y="1550015"/>
                    <a:pt x="748245" y="1574026"/>
                    <a:pt x="763294" y="1575928"/>
                  </a:cubicBezTo>
                  <a:cubicBezTo>
                    <a:pt x="780909" y="1578107"/>
                    <a:pt x="798525" y="1580326"/>
                    <a:pt x="816101" y="1582505"/>
                  </a:cubicBezTo>
                  <a:lnTo>
                    <a:pt x="814048" y="1596690"/>
                  </a:lnTo>
                  <a:cubicBezTo>
                    <a:pt x="813889" y="1597879"/>
                    <a:pt x="813376" y="1598909"/>
                    <a:pt x="813139" y="1600058"/>
                  </a:cubicBezTo>
                  <a:lnTo>
                    <a:pt x="751365" y="1600058"/>
                  </a:lnTo>
                  <a:cubicBezTo>
                    <a:pt x="735961" y="1600058"/>
                    <a:pt x="735961" y="1624030"/>
                    <a:pt x="751365" y="1624030"/>
                  </a:cubicBezTo>
                  <a:lnTo>
                    <a:pt x="801251" y="1624030"/>
                  </a:lnTo>
                  <a:cubicBezTo>
                    <a:pt x="795721" y="1630250"/>
                    <a:pt x="788849" y="1635282"/>
                    <a:pt x="780751" y="1638056"/>
                  </a:cubicBezTo>
                  <a:cubicBezTo>
                    <a:pt x="760133" y="1645188"/>
                    <a:pt x="739121" y="1648437"/>
                    <a:pt x="717121" y="1647565"/>
                  </a:cubicBezTo>
                  <a:cubicBezTo>
                    <a:pt x="691210" y="1646496"/>
                    <a:pt x="666090" y="1639720"/>
                    <a:pt x="642589" y="1627318"/>
                  </a:cubicBezTo>
                  <a:cubicBezTo>
                    <a:pt x="624499" y="1617730"/>
                    <a:pt x="613993" y="1597958"/>
                    <a:pt x="615967" y="1576958"/>
                  </a:cubicBezTo>
                  <a:lnTo>
                    <a:pt x="628725" y="1439231"/>
                  </a:lnTo>
                  <a:cubicBezTo>
                    <a:pt x="631134" y="1412961"/>
                    <a:pt x="619759" y="1387722"/>
                    <a:pt x="598272" y="1371675"/>
                  </a:cubicBezTo>
                  <a:close/>
                  <a:moveTo>
                    <a:pt x="1360853" y="488175"/>
                  </a:moveTo>
                  <a:cubicBezTo>
                    <a:pt x="1359866" y="488690"/>
                    <a:pt x="1359036" y="489284"/>
                    <a:pt x="1358246" y="490038"/>
                  </a:cubicBezTo>
                  <a:cubicBezTo>
                    <a:pt x="1357259" y="489166"/>
                    <a:pt x="1356034" y="488611"/>
                    <a:pt x="1355087" y="487660"/>
                  </a:cubicBezTo>
                  <a:cubicBezTo>
                    <a:pt x="1353980" y="486550"/>
                    <a:pt x="1353071" y="485283"/>
                    <a:pt x="1351966" y="484173"/>
                  </a:cubicBezTo>
                  <a:cubicBezTo>
                    <a:pt x="1354889" y="485679"/>
                    <a:pt x="1357891" y="486868"/>
                    <a:pt x="1360853" y="488175"/>
                  </a:cubicBezTo>
                  <a:close/>
                  <a:moveTo>
                    <a:pt x="631885" y="1647803"/>
                  </a:moveTo>
                  <a:cubicBezTo>
                    <a:pt x="658427" y="1661829"/>
                    <a:pt x="686786" y="1669516"/>
                    <a:pt x="716212" y="1670705"/>
                  </a:cubicBezTo>
                  <a:cubicBezTo>
                    <a:pt x="802633" y="1674112"/>
                    <a:pt x="838101" y="1657946"/>
                    <a:pt x="851728" y="1575334"/>
                  </a:cubicBezTo>
                  <a:cubicBezTo>
                    <a:pt x="869739" y="1466570"/>
                    <a:pt x="935305" y="1367792"/>
                    <a:pt x="1061856" y="1433921"/>
                  </a:cubicBezTo>
                  <a:cubicBezTo>
                    <a:pt x="1071730" y="1439072"/>
                    <a:pt x="1079551" y="1447037"/>
                    <a:pt x="1084488" y="1456902"/>
                  </a:cubicBezTo>
                  <a:lnTo>
                    <a:pt x="1130739" y="1549579"/>
                  </a:lnTo>
                  <a:cubicBezTo>
                    <a:pt x="1147053" y="1582228"/>
                    <a:pt x="1187024" y="1599147"/>
                    <a:pt x="1221031" y="1587340"/>
                  </a:cubicBezTo>
                  <a:cubicBezTo>
                    <a:pt x="1240662" y="1580485"/>
                    <a:pt x="1259660" y="1571609"/>
                    <a:pt x="1277473" y="1560951"/>
                  </a:cubicBezTo>
                  <a:cubicBezTo>
                    <a:pt x="1345922" y="1520060"/>
                    <a:pt x="1390634" y="1471682"/>
                    <a:pt x="1349201" y="1395924"/>
                  </a:cubicBezTo>
                  <a:cubicBezTo>
                    <a:pt x="1320881" y="1344137"/>
                    <a:pt x="1246151" y="1166154"/>
                    <a:pt x="1367449" y="1160250"/>
                  </a:cubicBezTo>
                  <a:cubicBezTo>
                    <a:pt x="1412160" y="1158071"/>
                    <a:pt x="1471762" y="1202567"/>
                    <a:pt x="1510549" y="1221030"/>
                  </a:cubicBezTo>
                  <a:cubicBezTo>
                    <a:pt x="1532471" y="1231451"/>
                    <a:pt x="1558894" y="1230461"/>
                    <a:pt x="1580065" y="1218376"/>
                  </a:cubicBezTo>
                  <a:cubicBezTo>
                    <a:pt x="1604159" y="1204587"/>
                    <a:pt x="1624144" y="1186242"/>
                    <a:pt x="1639469" y="1163736"/>
                  </a:cubicBezTo>
                  <a:cubicBezTo>
                    <a:pt x="1679836" y="1104541"/>
                    <a:pt x="1683075" y="1039917"/>
                    <a:pt x="1634769" y="998234"/>
                  </a:cubicBezTo>
                  <a:cubicBezTo>
                    <a:pt x="1628054" y="992410"/>
                    <a:pt x="1620274" y="987021"/>
                    <a:pt x="1611505" y="982147"/>
                  </a:cubicBezTo>
                  <a:cubicBezTo>
                    <a:pt x="1535630" y="940306"/>
                    <a:pt x="1406236" y="901317"/>
                    <a:pt x="1440007" y="788949"/>
                  </a:cubicBezTo>
                  <a:cubicBezTo>
                    <a:pt x="1458886" y="725989"/>
                    <a:pt x="1555892" y="708951"/>
                    <a:pt x="1612651" y="685772"/>
                  </a:cubicBezTo>
                  <a:cubicBezTo>
                    <a:pt x="1637021" y="675787"/>
                    <a:pt x="1654478" y="653797"/>
                    <a:pt x="1658310" y="628399"/>
                  </a:cubicBezTo>
                  <a:cubicBezTo>
                    <a:pt x="1662141" y="602843"/>
                    <a:pt x="1662773" y="563854"/>
                    <a:pt x="1644328" y="523122"/>
                  </a:cubicBezTo>
                  <a:cubicBezTo>
                    <a:pt x="1625448" y="481638"/>
                    <a:pt x="1585753" y="440153"/>
                    <a:pt x="1536617" y="439241"/>
                  </a:cubicBezTo>
                  <a:cubicBezTo>
                    <a:pt x="1492854" y="438449"/>
                    <a:pt x="1459162" y="478428"/>
                    <a:pt x="1414056" y="476606"/>
                  </a:cubicBezTo>
                  <a:cubicBezTo>
                    <a:pt x="1276999" y="471098"/>
                    <a:pt x="1300461" y="320652"/>
                    <a:pt x="1352756" y="238871"/>
                  </a:cubicBezTo>
                  <a:cubicBezTo>
                    <a:pt x="1369385" y="212879"/>
                    <a:pt x="1368554" y="179160"/>
                    <a:pt x="1350741" y="154872"/>
                  </a:cubicBezTo>
                  <a:cubicBezTo>
                    <a:pt x="1328741" y="124957"/>
                    <a:pt x="1301291" y="101501"/>
                    <a:pt x="1269061" y="85176"/>
                  </a:cubicBezTo>
                  <a:cubicBezTo>
                    <a:pt x="1247889" y="74439"/>
                    <a:pt x="1225060" y="67148"/>
                    <a:pt x="1201322" y="63384"/>
                  </a:cubicBezTo>
                  <a:cubicBezTo>
                    <a:pt x="1081881" y="44603"/>
                    <a:pt x="1093217" y="253967"/>
                    <a:pt x="970774" y="224528"/>
                  </a:cubicBezTo>
                  <a:cubicBezTo>
                    <a:pt x="868238" y="199883"/>
                    <a:pt x="894189" y="22930"/>
                    <a:pt x="802120" y="5456"/>
                  </a:cubicBezTo>
                  <a:cubicBezTo>
                    <a:pt x="768231" y="-923"/>
                    <a:pt x="733433" y="-1795"/>
                    <a:pt x="699623" y="2960"/>
                  </a:cubicBezTo>
                  <a:cubicBezTo>
                    <a:pt x="680744" y="5614"/>
                    <a:pt x="661982" y="10052"/>
                    <a:pt x="643774" y="16154"/>
                  </a:cubicBezTo>
                  <a:cubicBezTo>
                    <a:pt x="596298" y="32083"/>
                    <a:pt x="580537" y="66990"/>
                    <a:pt x="586502" y="112555"/>
                  </a:cubicBezTo>
                  <a:cubicBezTo>
                    <a:pt x="595705" y="182370"/>
                    <a:pt x="604039" y="237643"/>
                    <a:pt x="569874" y="303892"/>
                  </a:cubicBezTo>
                  <a:cubicBezTo>
                    <a:pt x="568886" y="304645"/>
                    <a:pt x="568254" y="305516"/>
                    <a:pt x="567188" y="306269"/>
                  </a:cubicBezTo>
                  <a:cubicBezTo>
                    <a:pt x="495381" y="359521"/>
                    <a:pt x="408920" y="280990"/>
                    <a:pt x="354414" y="239109"/>
                  </a:cubicBezTo>
                  <a:cubicBezTo>
                    <a:pt x="325857" y="217158"/>
                    <a:pt x="282686" y="219932"/>
                    <a:pt x="257605" y="243943"/>
                  </a:cubicBezTo>
                  <a:cubicBezTo>
                    <a:pt x="250614" y="249966"/>
                    <a:pt x="243899" y="255473"/>
                    <a:pt x="237501" y="260743"/>
                  </a:cubicBezTo>
                  <a:cubicBezTo>
                    <a:pt x="191328" y="298899"/>
                    <a:pt x="132437" y="367842"/>
                    <a:pt x="157360" y="433298"/>
                  </a:cubicBezTo>
                  <a:cubicBezTo>
                    <a:pt x="171855" y="471494"/>
                    <a:pt x="200096" y="478508"/>
                    <a:pt x="228653" y="499309"/>
                  </a:cubicBezTo>
                  <a:cubicBezTo>
                    <a:pt x="287505" y="542181"/>
                    <a:pt x="291771" y="643336"/>
                    <a:pt x="225888" y="683118"/>
                  </a:cubicBezTo>
                  <a:cubicBezTo>
                    <a:pt x="188998" y="705425"/>
                    <a:pt x="117467" y="692151"/>
                    <a:pt x="75600" y="692983"/>
                  </a:cubicBezTo>
                  <a:cubicBezTo>
                    <a:pt x="38827" y="693697"/>
                    <a:pt x="8335" y="720164"/>
                    <a:pt x="3121" y="755943"/>
                  </a:cubicBezTo>
                  <a:cubicBezTo>
                    <a:pt x="1305" y="768543"/>
                    <a:pt x="238" y="781341"/>
                    <a:pt x="-78" y="794060"/>
                  </a:cubicBezTo>
                  <a:cubicBezTo>
                    <a:pt x="-670" y="819735"/>
                    <a:pt x="1936" y="845569"/>
                    <a:pt x="7625" y="870848"/>
                  </a:cubicBezTo>
                  <a:cubicBezTo>
                    <a:pt x="25201" y="948746"/>
                    <a:pt x="106448" y="937731"/>
                    <a:pt x="168064" y="943119"/>
                  </a:cubicBezTo>
                  <a:cubicBezTo>
                    <a:pt x="212815" y="947042"/>
                    <a:pt x="251799" y="960672"/>
                    <a:pt x="277512" y="999106"/>
                  </a:cubicBezTo>
                  <a:cubicBezTo>
                    <a:pt x="352557" y="1111118"/>
                    <a:pt x="258632" y="1160765"/>
                    <a:pt x="180901" y="1224478"/>
                  </a:cubicBezTo>
                  <a:cubicBezTo>
                    <a:pt x="154239" y="1246349"/>
                    <a:pt x="145669" y="1282960"/>
                    <a:pt x="160085" y="1313549"/>
                  </a:cubicBezTo>
                  <a:cubicBezTo>
                    <a:pt x="172053" y="1338867"/>
                    <a:pt x="188050" y="1361769"/>
                    <a:pt x="207483" y="1381541"/>
                  </a:cubicBezTo>
                  <a:cubicBezTo>
                    <a:pt x="222689" y="1397033"/>
                    <a:pt x="239989" y="1410465"/>
                    <a:pt x="258988" y="1421599"/>
                  </a:cubicBezTo>
                  <a:cubicBezTo>
                    <a:pt x="313376" y="1453337"/>
                    <a:pt x="332571" y="1428374"/>
                    <a:pt x="371161" y="1394775"/>
                  </a:cubicBezTo>
                  <a:cubicBezTo>
                    <a:pt x="415753" y="1355984"/>
                    <a:pt x="459319" y="1349565"/>
                    <a:pt x="514103" y="1365732"/>
                  </a:cubicBezTo>
                  <a:cubicBezTo>
                    <a:pt x="554746" y="1377737"/>
                    <a:pt x="597641" y="1381818"/>
                    <a:pt x="605619" y="1429286"/>
                  </a:cubicBezTo>
                  <a:cubicBezTo>
                    <a:pt x="612966" y="1473504"/>
                    <a:pt x="597087" y="1530164"/>
                    <a:pt x="592940" y="1574818"/>
                  </a:cubicBezTo>
                  <a:cubicBezTo>
                    <a:pt x="590136" y="1605169"/>
                    <a:pt x="605421" y="1633816"/>
                    <a:pt x="631885" y="1647803"/>
                  </a:cubicBezTo>
                  <a:close/>
                </a:path>
              </a:pathLst>
            </a:custGeom>
            <a:solidFill>
              <a:schemeClr val="bg1"/>
            </a:solidFill>
            <a:ln w="39496" cap="flat">
              <a:noFill/>
              <a:prstDash val="solid"/>
              <a:round/>
            </a:ln>
          </p:spPr>
          <p:txBody>
            <a:bodyPr rtlCol="0" anchor="ctr"/>
            <a:lstStyle/>
            <a:p>
              <a:endParaRPr lang="en-LT"/>
            </a:p>
          </p:txBody>
        </p:sp>
        <p:sp>
          <p:nvSpPr>
            <p:cNvPr id="88" name="Freeform 87">
              <a:extLst>
                <a:ext uri="{FF2B5EF4-FFF2-40B4-BE49-F238E27FC236}">
                  <a16:creationId xmlns:a16="http://schemas.microsoft.com/office/drawing/2014/main" id="{B13F24DF-055F-4B43-9064-389A61DC0D7F}"/>
                </a:ext>
              </a:extLst>
            </p:cNvPr>
            <p:cNvSpPr/>
            <p:nvPr/>
          </p:nvSpPr>
          <p:spPr>
            <a:xfrm>
              <a:off x="9295685" y="1747020"/>
              <a:ext cx="526284" cy="523195"/>
            </a:xfrm>
            <a:custGeom>
              <a:avLst/>
              <a:gdLst>
                <a:gd name="connsiteX0" fmla="*/ 186398 w 975245"/>
                <a:gd name="connsiteY0" fmla="*/ 834306 h 969519"/>
                <a:gd name="connsiteX1" fmla="*/ 26195 w 975245"/>
                <a:gd name="connsiteY1" fmla="*/ 563170 h 969519"/>
                <a:gd name="connsiteX2" fmla="*/ 86390 w 975245"/>
                <a:gd name="connsiteY2" fmla="*/ 234027 h 969519"/>
                <a:gd name="connsiteX3" fmla="*/ 472440 w 975245"/>
                <a:gd name="connsiteY3" fmla="*/ 23117 h 969519"/>
                <a:gd name="connsiteX4" fmla="*/ 604520 w 975245"/>
                <a:gd name="connsiteY4" fmla="*/ 35955 h 969519"/>
                <a:gd name="connsiteX5" fmla="*/ 951625 w 975245"/>
                <a:gd name="connsiteY5" fmla="*/ 467838 h 969519"/>
                <a:gd name="connsiteX6" fmla="*/ 913431 w 975245"/>
                <a:gd name="connsiteY6" fmla="*/ 652083 h 969519"/>
                <a:gd name="connsiteX7" fmla="*/ 610800 w 975245"/>
                <a:gd name="connsiteY7" fmla="*/ 936849 h 969519"/>
                <a:gd name="connsiteX8" fmla="*/ 525367 w 975245"/>
                <a:gd name="connsiteY8" fmla="*/ 944337 h 969519"/>
                <a:gd name="connsiteX9" fmla="*/ 495664 w 975245"/>
                <a:gd name="connsiteY9" fmla="*/ 944059 h 969519"/>
                <a:gd name="connsiteX10" fmla="*/ 465646 w 975245"/>
                <a:gd name="connsiteY10" fmla="*/ 943743 h 969519"/>
                <a:gd name="connsiteX11" fmla="*/ 416985 w 975245"/>
                <a:gd name="connsiteY11" fmla="*/ 945566 h 969519"/>
                <a:gd name="connsiteX12" fmla="*/ 186398 w 975245"/>
                <a:gd name="connsiteY12" fmla="*/ 834306 h 969519"/>
                <a:gd name="connsiteX13" fmla="*/ 419038 w 975245"/>
                <a:gd name="connsiteY13" fmla="*/ 968626 h 969519"/>
                <a:gd name="connsiteX14" fmla="*/ 465646 w 975245"/>
                <a:gd name="connsiteY14" fmla="*/ 966922 h 969519"/>
                <a:gd name="connsiteX15" fmla="*/ 495308 w 975245"/>
                <a:gd name="connsiteY15" fmla="*/ 967239 h 969519"/>
                <a:gd name="connsiteX16" fmla="*/ 525367 w 975245"/>
                <a:gd name="connsiteY16" fmla="*/ 967516 h 969519"/>
                <a:gd name="connsiteX17" fmla="*/ 615855 w 975245"/>
                <a:gd name="connsiteY17" fmla="*/ 959433 h 969519"/>
                <a:gd name="connsiteX18" fmla="*/ 934601 w 975245"/>
                <a:gd name="connsiteY18" fmla="*/ 661354 h 969519"/>
                <a:gd name="connsiteX19" fmla="*/ 974731 w 975245"/>
                <a:gd name="connsiteY19" fmla="*/ 468829 h 969519"/>
                <a:gd name="connsiteX20" fmla="*/ 608746 w 975245"/>
                <a:gd name="connsiteY20" fmla="*/ 13172 h 969519"/>
                <a:gd name="connsiteX21" fmla="*/ 472440 w 975245"/>
                <a:gd name="connsiteY21" fmla="*/ -62 h 969519"/>
                <a:gd name="connsiteX22" fmla="*/ 66285 w 975245"/>
                <a:gd name="connsiteY22" fmla="*/ 222497 h 969519"/>
                <a:gd name="connsiteX23" fmla="*/ 3168 w 975245"/>
                <a:gd name="connsiteY23" fmla="*/ 565468 h 969519"/>
                <a:gd name="connsiteX24" fmla="*/ 169809 w 975245"/>
                <a:gd name="connsiteY24" fmla="*/ 850432 h 969519"/>
                <a:gd name="connsiteX25" fmla="*/ 400356 w 975245"/>
                <a:gd name="connsiteY25" fmla="*/ 969458 h 969519"/>
                <a:gd name="connsiteX26" fmla="*/ 419038 w 975245"/>
                <a:gd name="connsiteY26" fmla="*/ 968626 h 969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75245" h="969519">
                  <a:moveTo>
                    <a:pt x="186398" y="834306"/>
                  </a:moveTo>
                  <a:cubicBezTo>
                    <a:pt x="114591" y="760370"/>
                    <a:pt x="37018" y="672369"/>
                    <a:pt x="26195" y="563170"/>
                  </a:cubicBezTo>
                  <a:cubicBezTo>
                    <a:pt x="14188" y="441926"/>
                    <a:pt x="36070" y="321949"/>
                    <a:pt x="86390" y="234027"/>
                  </a:cubicBezTo>
                  <a:cubicBezTo>
                    <a:pt x="185964" y="59728"/>
                    <a:pt x="351340" y="23117"/>
                    <a:pt x="472440" y="23117"/>
                  </a:cubicBezTo>
                  <a:cubicBezTo>
                    <a:pt x="514583" y="23117"/>
                    <a:pt x="559018" y="27436"/>
                    <a:pt x="604520" y="35955"/>
                  </a:cubicBezTo>
                  <a:cubicBezTo>
                    <a:pt x="804496" y="73438"/>
                    <a:pt x="960236" y="267191"/>
                    <a:pt x="951625" y="467838"/>
                  </a:cubicBezTo>
                  <a:cubicBezTo>
                    <a:pt x="948544" y="539991"/>
                    <a:pt x="936024" y="600296"/>
                    <a:pt x="913431" y="652083"/>
                  </a:cubicBezTo>
                  <a:cubicBezTo>
                    <a:pt x="841940" y="815960"/>
                    <a:pt x="745763" y="906458"/>
                    <a:pt x="610800" y="936849"/>
                  </a:cubicBezTo>
                  <a:cubicBezTo>
                    <a:pt x="581374" y="943465"/>
                    <a:pt x="551080" y="944337"/>
                    <a:pt x="525367" y="944337"/>
                  </a:cubicBezTo>
                  <a:cubicBezTo>
                    <a:pt x="515452" y="944337"/>
                    <a:pt x="505578" y="944218"/>
                    <a:pt x="495664" y="944059"/>
                  </a:cubicBezTo>
                  <a:cubicBezTo>
                    <a:pt x="485671" y="943901"/>
                    <a:pt x="475639" y="943743"/>
                    <a:pt x="465646" y="943743"/>
                  </a:cubicBezTo>
                  <a:cubicBezTo>
                    <a:pt x="446569" y="943743"/>
                    <a:pt x="431086" y="944337"/>
                    <a:pt x="416985" y="945566"/>
                  </a:cubicBezTo>
                  <a:cubicBezTo>
                    <a:pt x="340636" y="952222"/>
                    <a:pt x="264248" y="914501"/>
                    <a:pt x="186398" y="834306"/>
                  </a:cubicBezTo>
                  <a:close/>
                  <a:moveTo>
                    <a:pt x="419038" y="968626"/>
                  </a:moveTo>
                  <a:cubicBezTo>
                    <a:pt x="432429" y="967476"/>
                    <a:pt x="447240" y="966922"/>
                    <a:pt x="465646" y="966922"/>
                  </a:cubicBezTo>
                  <a:cubicBezTo>
                    <a:pt x="475521" y="966922"/>
                    <a:pt x="485395" y="967080"/>
                    <a:pt x="495308" y="967239"/>
                  </a:cubicBezTo>
                  <a:cubicBezTo>
                    <a:pt x="505342" y="967357"/>
                    <a:pt x="515334" y="967516"/>
                    <a:pt x="525367" y="967516"/>
                  </a:cubicBezTo>
                  <a:cubicBezTo>
                    <a:pt x="552383" y="967516"/>
                    <a:pt x="584218" y="966565"/>
                    <a:pt x="615855" y="959433"/>
                  </a:cubicBezTo>
                  <a:cubicBezTo>
                    <a:pt x="758600" y="927300"/>
                    <a:pt x="859912" y="832602"/>
                    <a:pt x="934601" y="661354"/>
                  </a:cubicBezTo>
                  <a:cubicBezTo>
                    <a:pt x="958418" y="606873"/>
                    <a:pt x="971532" y="543913"/>
                    <a:pt x="974731" y="468829"/>
                  </a:cubicBezTo>
                  <a:cubicBezTo>
                    <a:pt x="983776" y="257127"/>
                    <a:pt x="819585" y="52715"/>
                    <a:pt x="608746" y="13172"/>
                  </a:cubicBezTo>
                  <a:cubicBezTo>
                    <a:pt x="561901" y="4415"/>
                    <a:pt x="516045" y="-62"/>
                    <a:pt x="472440" y="-62"/>
                  </a:cubicBezTo>
                  <a:cubicBezTo>
                    <a:pt x="289961" y="-62"/>
                    <a:pt x="149507" y="76924"/>
                    <a:pt x="66285" y="222497"/>
                  </a:cubicBezTo>
                  <a:cubicBezTo>
                    <a:pt x="13675" y="314500"/>
                    <a:pt x="-9313" y="439509"/>
                    <a:pt x="3168" y="565468"/>
                  </a:cubicBezTo>
                  <a:cubicBezTo>
                    <a:pt x="14741" y="682076"/>
                    <a:pt x="95237" y="773684"/>
                    <a:pt x="169809" y="850432"/>
                  </a:cubicBezTo>
                  <a:cubicBezTo>
                    <a:pt x="246513" y="929399"/>
                    <a:pt x="324086" y="969458"/>
                    <a:pt x="400356" y="969458"/>
                  </a:cubicBezTo>
                  <a:cubicBezTo>
                    <a:pt x="406518" y="969458"/>
                    <a:pt x="412720" y="969180"/>
                    <a:pt x="419038" y="968626"/>
                  </a:cubicBezTo>
                  <a:close/>
                </a:path>
              </a:pathLst>
            </a:custGeom>
            <a:solidFill>
              <a:schemeClr val="bg1"/>
            </a:solidFill>
            <a:ln w="39496" cap="flat">
              <a:noFill/>
              <a:prstDash val="solid"/>
              <a:round/>
            </a:ln>
          </p:spPr>
          <p:txBody>
            <a:bodyPr rtlCol="0" anchor="ctr"/>
            <a:lstStyle/>
            <a:p>
              <a:endParaRPr lang="en-LT"/>
            </a:p>
          </p:txBody>
        </p:sp>
        <p:sp>
          <p:nvSpPr>
            <p:cNvPr id="89" name="Freeform 88">
              <a:extLst>
                <a:ext uri="{FF2B5EF4-FFF2-40B4-BE49-F238E27FC236}">
                  <a16:creationId xmlns:a16="http://schemas.microsoft.com/office/drawing/2014/main" id="{9E143AE6-99CB-C94F-BE72-5F79D7989256}"/>
                </a:ext>
              </a:extLst>
            </p:cNvPr>
            <p:cNvSpPr/>
            <p:nvPr/>
          </p:nvSpPr>
          <p:spPr>
            <a:xfrm>
              <a:off x="9335519" y="1786619"/>
              <a:ext cx="446628" cy="443996"/>
            </a:xfrm>
            <a:custGeom>
              <a:avLst/>
              <a:gdLst>
                <a:gd name="connsiteX0" fmla="*/ 163456 w 827635"/>
                <a:gd name="connsiteY0" fmla="*/ 699868 h 822758"/>
                <a:gd name="connsiteX1" fmla="*/ 33035 w 827635"/>
                <a:gd name="connsiteY1" fmla="*/ 476199 h 822758"/>
                <a:gd name="connsiteX2" fmla="*/ 81973 w 827635"/>
                <a:gd name="connsiteY2" fmla="*/ 204429 h 822758"/>
                <a:gd name="connsiteX3" fmla="*/ 395940 w 827635"/>
                <a:gd name="connsiteY3" fmla="*/ 30527 h 822758"/>
                <a:gd name="connsiteX4" fmla="*/ 503531 w 827635"/>
                <a:gd name="connsiteY4" fmla="*/ 41146 h 822758"/>
                <a:gd name="connsiteX5" fmla="*/ 785781 w 827635"/>
                <a:gd name="connsiteY5" fmla="*/ 397271 h 822758"/>
                <a:gd name="connsiteX6" fmla="*/ 754736 w 827635"/>
                <a:gd name="connsiteY6" fmla="*/ 549382 h 822758"/>
                <a:gd name="connsiteX7" fmla="*/ 508587 w 827635"/>
                <a:gd name="connsiteY7" fmla="*/ 784342 h 822758"/>
                <a:gd name="connsiteX8" fmla="*/ 439190 w 827635"/>
                <a:gd name="connsiteY8" fmla="*/ 790563 h 822758"/>
                <a:gd name="connsiteX9" fmla="*/ 414938 w 827635"/>
                <a:gd name="connsiteY9" fmla="*/ 790325 h 822758"/>
                <a:gd name="connsiteX10" fmla="*/ 390370 w 827635"/>
                <a:gd name="connsiteY10" fmla="*/ 790048 h 822758"/>
                <a:gd name="connsiteX11" fmla="*/ 350478 w 827635"/>
                <a:gd name="connsiteY11" fmla="*/ 791554 h 822758"/>
                <a:gd name="connsiteX12" fmla="*/ 163456 w 827635"/>
                <a:gd name="connsiteY12" fmla="*/ 699868 h 822758"/>
                <a:gd name="connsiteX13" fmla="*/ 395189 w 827635"/>
                <a:gd name="connsiteY13" fmla="*/ 820597 h 822758"/>
                <a:gd name="connsiteX14" fmla="*/ 420270 w 827635"/>
                <a:gd name="connsiteY14" fmla="*/ 820835 h 822758"/>
                <a:gd name="connsiteX15" fmla="*/ 445706 w 827635"/>
                <a:gd name="connsiteY15" fmla="*/ 821112 h 822758"/>
                <a:gd name="connsiteX16" fmla="*/ 522529 w 827635"/>
                <a:gd name="connsiteY16" fmla="*/ 814218 h 822758"/>
                <a:gd name="connsiteX17" fmla="*/ 793128 w 827635"/>
                <a:gd name="connsiteY17" fmla="*/ 561348 h 822758"/>
                <a:gd name="connsiteX18" fmla="*/ 827175 w 827635"/>
                <a:gd name="connsiteY18" fmla="*/ 397985 h 822758"/>
                <a:gd name="connsiteX19" fmla="*/ 516447 w 827635"/>
                <a:gd name="connsiteY19" fmla="*/ 11152 h 822758"/>
                <a:gd name="connsiteX20" fmla="*/ 400955 w 827635"/>
                <a:gd name="connsiteY20" fmla="*/ -62 h 822758"/>
                <a:gd name="connsiteX21" fmla="*/ 56220 w 827635"/>
                <a:gd name="connsiteY21" fmla="*/ 188897 h 822758"/>
                <a:gd name="connsiteX22" fmla="*/ 2661 w 827635"/>
                <a:gd name="connsiteY22" fmla="*/ 479726 h 822758"/>
                <a:gd name="connsiteX23" fmla="*/ 143984 w 827635"/>
                <a:gd name="connsiteY23" fmla="*/ 721620 h 822758"/>
                <a:gd name="connsiteX24" fmla="*/ 340050 w 827635"/>
                <a:gd name="connsiteY24" fmla="*/ 822697 h 822758"/>
                <a:gd name="connsiteX25" fmla="*/ 355967 w 827635"/>
                <a:gd name="connsiteY25" fmla="*/ 822023 h 822758"/>
                <a:gd name="connsiteX26" fmla="*/ 395189 w 827635"/>
                <a:gd name="connsiteY26" fmla="*/ 820597 h 822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7635" h="822758">
                  <a:moveTo>
                    <a:pt x="163456" y="699868"/>
                  </a:moveTo>
                  <a:cubicBezTo>
                    <a:pt x="104961" y="638810"/>
                    <a:pt x="41803" y="566102"/>
                    <a:pt x="33035" y="476199"/>
                  </a:cubicBezTo>
                  <a:cubicBezTo>
                    <a:pt x="23240" y="376034"/>
                    <a:pt x="41053" y="276978"/>
                    <a:pt x="81973" y="204429"/>
                  </a:cubicBezTo>
                  <a:cubicBezTo>
                    <a:pt x="162982" y="60680"/>
                    <a:pt x="297432" y="30527"/>
                    <a:pt x="395940" y="30527"/>
                  </a:cubicBezTo>
                  <a:cubicBezTo>
                    <a:pt x="430303" y="30527"/>
                    <a:pt x="466522" y="33855"/>
                    <a:pt x="503531" y="41146"/>
                  </a:cubicBezTo>
                  <a:cubicBezTo>
                    <a:pt x="663930" y="72606"/>
                    <a:pt x="793562" y="236484"/>
                    <a:pt x="785781" y="397271"/>
                  </a:cubicBezTo>
                  <a:cubicBezTo>
                    <a:pt x="782898" y="456824"/>
                    <a:pt x="773102" y="506629"/>
                    <a:pt x="754736" y="549382"/>
                  </a:cubicBezTo>
                  <a:cubicBezTo>
                    <a:pt x="696516" y="684653"/>
                    <a:pt x="618311" y="759301"/>
                    <a:pt x="508587" y="784342"/>
                  </a:cubicBezTo>
                  <a:cubicBezTo>
                    <a:pt x="484730" y="789810"/>
                    <a:pt x="460162" y="790563"/>
                    <a:pt x="439190" y="790563"/>
                  </a:cubicBezTo>
                  <a:cubicBezTo>
                    <a:pt x="431132" y="790563"/>
                    <a:pt x="423034" y="790444"/>
                    <a:pt x="414938" y="790325"/>
                  </a:cubicBezTo>
                  <a:cubicBezTo>
                    <a:pt x="406722" y="790167"/>
                    <a:pt x="398546" y="790048"/>
                    <a:pt x="390370" y="790048"/>
                  </a:cubicBezTo>
                  <a:cubicBezTo>
                    <a:pt x="374729" y="790048"/>
                    <a:pt x="362051" y="790523"/>
                    <a:pt x="350478" y="791554"/>
                  </a:cubicBezTo>
                  <a:cubicBezTo>
                    <a:pt x="288506" y="797022"/>
                    <a:pt x="226692" y="765918"/>
                    <a:pt x="163456" y="699868"/>
                  </a:cubicBezTo>
                  <a:close/>
                  <a:moveTo>
                    <a:pt x="395189" y="820597"/>
                  </a:moveTo>
                  <a:cubicBezTo>
                    <a:pt x="403523" y="820597"/>
                    <a:pt x="411897" y="820715"/>
                    <a:pt x="420270" y="820835"/>
                  </a:cubicBezTo>
                  <a:cubicBezTo>
                    <a:pt x="428762" y="820954"/>
                    <a:pt x="437254" y="821112"/>
                    <a:pt x="445706" y="821112"/>
                  </a:cubicBezTo>
                  <a:cubicBezTo>
                    <a:pt x="468615" y="821112"/>
                    <a:pt x="495631" y="820280"/>
                    <a:pt x="522529" y="814218"/>
                  </a:cubicBezTo>
                  <a:cubicBezTo>
                    <a:pt x="643747" y="786918"/>
                    <a:pt x="729734" y="706564"/>
                    <a:pt x="793128" y="561348"/>
                  </a:cubicBezTo>
                  <a:cubicBezTo>
                    <a:pt x="813311" y="515069"/>
                    <a:pt x="824450" y="461658"/>
                    <a:pt x="827175" y="397985"/>
                  </a:cubicBezTo>
                  <a:cubicBezTo>
                    <a:pt x="834838" y="218218"/>
                    <a:pt x="695489" y="44672"/>
                    <a:pt x="516447" y="11152"/>
                  </a:cubicBezTo>
                  <a:cubicBezTo>
                    <a:pt x="476791" y="3702"/>
                    <a:pt x="437886" y="-62"/>
                    <a:pt x="400955" y="-62"/>
                  </a:cubicBezTo>
                  <a:cubicBezTo>
                    <a:pt x="246125" y="-62"/>
                    <a:pt x="126881" y="65276"/>
                    <a:pt x="56220" y="188897"/>
                  </a:cubicBezTo>
                  <a:cubicBezTo>
                    <a:pt x="11588" y="266914"/>
                    <a:pt x="-7924" y="372943"/>
                    <a:pt x="2661" y="479726"/>
                  </a:cubicBezTo>
                  <a:cubicBezTo>
                    <a:pt x="12496" y="578821"/>
                    <a:pt x="80748" y="656560"/>
                    <a:pt x="143984" y="721620"/>
                  </a:cubicBezTo>
                  <a:cubicBezTo>
                    <a:pt x="209116" y="788701"/>
                    <a:pt x="275077" y="822737"/>
                    <a:pt x="340050" y="822697"/>
                  </a:cubicBezTo>
                  <a:cubicBezTo>
                    <a:pt x="345303" y="822697"/>
                    <a:pt x="350636" y="822459"/>
                    <a:pt x="355967" y="822023"/>
                  </a:cubicBezTo>
                  <a:cubicBezTo>
                    <a:pt x="367224" y="821033"/>
                    <a:pt x="379706" y="820597"/>
                    <a:pt x="395189" y="820597"/>
                  </a:cubicBezTo>
                  <a:close/>
                </a:path>
              </a:pathLst>
            </a:custGeom>
            <a:solidFill>
              <a:schemeClr val="bg1"/>
            </a:solidFill>
            <a:ln w="39496" cap="flat">
              <a:noFill/>
              <a:prstDash val="solid"/>
              <a:round/>
            </a:ln>
          </p:spPr>
          <p:txBody>
            <a:bodyPr rtlCol="0" anchor="ctr"/>
            <a:lstStyle/>
            <a:p>
              <a:endParaRPr lang="en-LT"/>
            </a:p>
          </p:txBody>
        </p:sp>
        <p:sp>
          <p:nvSpPr>
            <p:cNvPr id="90" name="Freeform 89">
              <a:extLst>
                <a:ext uri="{FF2B5EF4-FFF2-40B4-BE49-F238E27FC236}">
                  <a16:creationId xmlns:a16="http://schemas.microsoft.com/office/drawing/2014/main" id="{01A92291-8065-B842-BC04-38D2A5696D03}"/>
                </a:ext>
              </a:extLst>
            </p:cNvPr>
            <p:cNvSpPr/>
            <p:nvPr/>
          </p:nvSpPr>
          <p:spPr>
            <a:xfrm>
              <a:off x="9344316" y="1728144"/>
              <a:ext cx="90678" cy="38406"/>
            </a:xfrm>
            <a:custGeom>
              <a:avLst/>
              <a:gdLst>
                <a:gd name="connsiteX0" fmla="*/ 8373 w 168034"/>
                <a:gd name="connsiteY0" fmla="*/ 66575 h 71169"/>
                <a:gd name="connsiteX1" fmla="*/ 164429 w 168034"/>
                <a:gd name="connsiteY1" fmla="*/ 20533 h 71169"/>
                <a:gd name="connsiteX2" fmla="*/ 147563 w 168034"/>
                <a:gd name="connsiteY2" fmla="*/ 3536 h 71169"/>
                <a:gd name="connsiteX3" fmla="*/ 14733 w 168034"/>
                <a:gd name="connsiteY3" fmla="*/ 43435 h 71169"/>
                <a:gd name="connsiteX4" fmla="*/ 8373 w 168034"/>
                <a:gd name="connsiteY4" fmla="*/ 66575 h 71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34" h="71169">
                  <a:moveTo>
                    <a:pt x="8373" y="66575"/>
                  </a:moveTo>
                  <a:cubicBezTo>
                    <a:pt x="65605" y="79967"/>
                    <a:pt x="123825" y="63088"/>
                    <a:pt x="164429" y="20533"/>
                  </a:cubicBezTo>
                  <a:cubicBezTo>
                    <a:pt x="175133" y="9360"/>
                    <a:pt x="158267" y="-7598"/>
                    <a:pt x="147563" y="3536"/>
                  </a:cubicBezTo>
                  <a:cubicBezTo>
                    <a:pt x="112766" y="39989"/>
                    <a:pt x="63867" y="54965"/>
                    <a:pt x="14733" y="43435"/>
                  </a:cubicBezTo>
                  <a:cubicBezTo>
                    <a:pt x="-238" y="39909"/>
                    <a:pt x="-6636" y="63049"/>
                    <a:pt x="8373" y="66575"/>
                  </a:cubicBezTo>
                  <a:close/>
                </a:path>
              </a:pathLst>
            </a:custGeom>
            <a:solidFill>
              <a:schemeClr val="bg1"/>
            </a:solidFill>
            <a:ln w="39496" cap="flat">
              <a:noFill/>
              <a:prstDash val="solid"/>
              <a:round/>
            </a:ln>
          </p:spPr>
          <p:txBody>
            <a:bodyPr rtlCol="0" anchor="ctr"/>
            <a:lstStyle/>
            <a:p>
              <a:endParaRPr lang="en-LT"/>
            </a:p>
          </p:txBody>
        </p:sp>
        <p:sp>
          <p:nvSpPr>
            <p:cNvPr id="91" name="Freeform 90">
              <a:extLst>
                <a:ext uri="{FF2B5EF4-FFF2-40B4-BE49-F238E27FC236}">
                  <a16:creationId xmlns:a16="http://schemas.microsoft.com/office/drawing/2014/main" id="{1CCD6A91-9A90-1041-90C6-3651717CFEDF}"/>
                </a:ext>
              </a:extLst>
            </p:cNvPr>
            <p:cNvSpPr/>
            <p:nvPr/>
          </p:nvSpPr>
          <p:spPr>
            <a:xfrm>
              <a:off x="9244603" y="1855632"/>
              <a:ext cx="46789" cy="100609"/>
            </a:xfrm>
            <a:custGeom>
              <a:avLst/>
              <a:gdLst>
                <a:gd name="connsiteX0" fmla="*/ 20527 w 86704"/>
                <a:gd name="connsiteY0" fmla="*/ 183112 h 186436"/>
                <a:gd name="connsiteX1" fmla="*/ 85184 w 86704"/>
                <a:gd name="connsiteY1" fmla="*/ 11349 h 186436"/>
                <a:gd name="connsiteX2" fmla="*/ 61209 w 86704"/>
                <a:gd name="connsiteY2" fmla="*/ 11349 h 186436"/>
                <a:gd name="connsiteX3" fmla="*/ 3582 w 86704"/>
                <a:gd name="connsiteY3" fmla="*/ 166154 h 186436"/>
                <a:gd name="connsiteX4" fmla="*/ 20527 w 86704"/>
                <a:gd name="connsiteY4" fmla="*/ 183112 h 186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04" h="186436">
                  <a:moveTo>
                    <a:pt x="20527" y="183112"/>
                  </a:moveTo>
                  <a:cubicBezTo>
                    <a:pt x="68635" y="139171"/>
                    <a:pt x="92571" y="76251"/>
                    <a:pt x="85184" y="11349"/>
                  </a:cubicBezTo>
                  <a:cubicBezTo>
                    <a:pt x="83446" y="-3786"/>
                    <a:pt x="59472" y="-3985"/>
                    <a:pt x="61209" y="11349"/>
                  </a:cubicBezTo>
                  <a:cubicBezTo>
                    <a:pt x="67963" y="70545"/>
                    <a:pt x="47582" y="125977"/>
                    <a:pt x="3582" y="166154"/>
                  </a:cubicBezTo>
                  <a:cubicBezTo>
                    <a:pt x="-7833" y="176575"/>
                    <a:pt x="9152" y="193493"/>
                    <a:pt x="20527" y="183112"/>
                  </a:cubicBezTo>
                  <a:close/>
                </a:path>
              </a:pathLst>
            </a:custGeom>
            <a:solidFill>
              <a:schemeClr val="bg1"/>
            </a:solidFill>
            <a:ln w="39496" cap="flat">
              <a:noFill/>
              <a:prstDash val="solid"/>
              <a:round/>
            </a:ln>
          </p:spPr>
          <p:txBody>
            <a:bodyPr rtlCol="0" anchor="ctr"/>
            <a:lstStyle/>
            <a:p>
              <a:endParaRPr lang="en-LT"/>
            </a:p>
          </p:txBody>
        </p:sp>
        <p:sp>
          <p:nvSpPr>
            <p:cNvPr id="92" name="Freeform 91">
              <a:extLst>
                <a:ext uri="{FF2B5EF4-FFF2-40B4-BE49-F238E27FC236}">
                  <a16:creationId xmlns:a16="http://schemas.microsoft.com/office/drawing/2014/main" id="{92B34445-488D-E544-91E2-837D95F61791}"/>
                </a:ext>
              </a:extLst>
            </p:cNvPr>
            <p:cNvSpPr/>
            <p:nvPr/>
          </p:nvSpPr>
          <p:spPr>
            <a:xfrm>
              <a:off x="9242770" y="2038606"/>
              <a:ext cx="51991" cy="96802"/>
            </a:xfrm>
            <a:custGeom>
              <a:avLst/>
              <a:gdLst>
                <a:gd name="connsiteX0" fmla="*/ 2950 w 96344"/>
                <a:gd name="connsiteY0" fmla="*/ 20790 h 179381"/>
                <a:gd name="connsiteX1" fmla="*/ 72900 w 96344"/>
                <a:gd name="connsiteY1" fmla="*/ 170642 h 179381"/>
                <a:gd name="connsiteX2" fmla="*/ 95967 w 96344"/>
                <a:gd name="connsiteY2" fmla="*/ 164302 h 179381"/>
                <a:gd name="connsiteX3" fmla="*/ 19894 w 96344"/>
                <a:gd name="connsiteY3" fmla="*/ 3832 h 179381"/>
                <a:gd name="connsiteX4" fmla="*/ 2950 w 96344"/>
                <a:gd name="connsiteY4" fmla="*/ 20790 h 179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4" h="179381">
                  <a:moveTo>
                    <a:pt x="2950" y="20790"/>
                  </a:moveTo>
                  <a:cubicBezTo>
                    <a:pt x="40828" y="63701"/>
                    <a:pt x="63934" y="114180"/>
                    <a:pt x="72900" y="170642"/>
                  </a:cubicBezTo>
                  <a:cubicBezTo>
                    <a:pt x="75309" y="185857"/>
                    <a:pt x="98376" y="179398"/>
                    <a:pt x="95967" y="164302"/>
                  </a:cubicBezTo>
                  <a:cubicBezTo>
                    <a:pt x="86408" y="103799"/>
                    <a:pt x="60301" y="49675"/>
                    <a:pt x="19894" y="3832"/>
                  </a:cubicBezTo>
                  <a:cubicBezTo>
                    <a:pt x="9665" y="-7778"/>
                    <a:pt x="-7241" y="9260"/>
                    <a:pt x="2950" y="20790"/>
                  </a:cubicBezTo>
                  <a:close/>
                </a:path>
              </a:pathLst>
            </a:custGeom>
            <a:solidFill>
              <a:schemeClr val="bg1"/>
            </a:solidFill>
            <a:ln w="39496" cap="flat">
              <a:noFill/>
              <a:prstDash val="solid"/>
              <a:round/>
            </a:ln>
          </p:spPr>
          <p:txBody>
            <a:bodyPr rtlCol="0" anchor="ctr"/>
            <a:lstStyle/>
            <a:p>
              <a:endParaRPr lang="en-LT"/>
            </a:p>
          </p:txBody>
        </p:sp>
        <p:sp>
          <p:nvSpPr>
            <p:cNvPr id="93" name="Freeform 92">
              <a:extLst>
                <a:ext uri="{FF2B5EF4-FFF2-40B4-BE49-F238E27FC236}">
                  <a16:creationId xmlns:a16="http://schemas.microsoft.com/office/drawing/2014/main" id="{29FCD132-04A8-5144-B74A-2AEAB44AE30E}"/>
                </a:ext>
              </a:extLst>
            </p:cNvPr>
            <p:cNvSpPr/>
            <p:nvPr/>
          </p:nvSpPr>
          <p:spPr>
            <a:xfrm>
              <a:off x="9542120" y="2283541"/>
              <a:ext cx="88549" cy="25305"/>
            </a:xfrm>
            <a:custGeom>
              <a:avLst/>
              <a:gdLst>
                <a:gd name="connsiteX0" fmla="*/ 148888 w 164088"/>
                <a:gd name="connsiteY0" fmla="*/ 169 h 46892"/>
                <a:gd name="connsiteX1" fmla="*/ 8474 w 164088"/>
                <a:gd name="connsiteY1" fmla="*/ 23546 h 46892"/>
                <a:gd name="connsiteX2" fmla="*/ 14872 w 164088"/>
                <a:gd name="connsiteY2" fmla="*/ 46685 h 46892"/>
                <a:gd name="connsiteX3" fmla="*/ 155247 w 164088"/>
                <a:gd name="connsiteY3" fmla="*/ 23308 h 46892"/>
                <a:gd name="connsiteX4" fmla="*/ 148888 w 164088"/>
                <a:gd name="connsiteY4" fmla="*/ 169 h 46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88" h="46892">
                  <a:moveTo>
                    <a:pt x="148888" y="169"/>
                  </a:moveTo>
                  <a:cubicBezTo>
                    <a:pt x="102123" y="7974"/>
                    <a:pt x="55318" y="15740"/>
                    <a:pt x="8474" y="23546"/>
                  </a:cubicBezTo>
                  <a:cubicBezTo>
                    <a:pt x="-6654" y="26042"/>
                    <a:pt x="-216" y="49182"/>
                    <a:pt x="14872" y="46685"/>
                  </a:cubicBezTo>
                  <a:cubicBezTo>
                    <a:pt x="61677" y="38880"/>
                    <a:pt x="108481" y="31074"/>
                    <a:pt x="155247" y="23308"/>
                  </a:cubicBezTo>
                  <a:cubicBezTo>
                    <a:pt x="170453" y="20812"/>
                    <a:pt x="164015" y="-2327"/>
                    <a:pt x="148888" y="169"/>
                  </a:cubicBezTo>
                  <a:close/>
                </a:path>
              </a:pathLst>
            </a:custGeom>
            <a:solidFill>
              <a:schemeClr val="bg1"/>
            </a:solidFill>
            <a:ln w="39496" cap="flat">
              <a:noFill/>
              <a:prstDash val="solid"/>
              <a:round/>
            </a:ln>
          </p:spPr>
          <p:txBody>
            <a:bodyPr rtlCol="0" anchor="ctr"/>
            <a:lstStyle/>
            <a:p>
              <a:endParaRPr lang="en-LT"/>
            </a:p>
          </p:txBody>
        </p:sp>
        <p:sp>
          <p:nvSpPr>
            <p:cNvPr id="94" name="Freeform 93">
              <a:extLst>
                <a:ext uri="{FF2B5EF4-FFF2-40B4-BE49-F238E27FC236}">
                  <a16:creationId xmlns:a16="http://schemas.microsoft.com/office/drawing/2014/main" id="{35474F91-AF8E-F845-B12F-7F17E8F36BBF}"/>
                </a:ext>
              </a:extLst>
            </p:cNvPr>
            <p:cNvSpPr/>
            <p:nvPr/>
          </p:nvSpPr>
          <p:spPr>
            <a:xfrm>
              <a:off x="9744209" y="2161035"/>
              <a:ext cx="62665" cy="69717"/>
            </a:xfrm>
            <a:custGeom>
              <a:avLst/>
              <a:gdLst>
                <a:gd name="connsiteX0" fmla="*/ 98033 w 116123"/>
                <a:gd name="connsiteY0" fmla="*/ 1557 h 129191"/>
                <a:gd name="connsiteX1" fmla="*/ 711 w 116123"/>
                <a:gd name="connsiteY1" fmla="*/ 114678 h 129191"/>
                <a:gd name="connsiteX2" fmla="*/ 23817 w 116123"/>
                <a:gd name="connsiteY2" fmla="*/ 121057 h 129191"/>
                <a:gd name="connsiteX3" fmla="*/ 110119 w 116123"/>
                <a:gd name="connsiteY3" fmla="*/ 22279 h 129191"/>
                <a:gd name="connsiteX4" fmla="*/ 98033 w 116123"/>
                <a:gd name="connsiteY4" fmla="*/ 1557 h 12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23" h="129191">
                  <a:moveTo>
                    <a:pt x="98033" y="1557"/>
                  </a:moveTo>
                  <a:cubicBezTo>
                    <a:pt x="52571" y="26717"/>
                    <a:pt x="19117" y="66181"/>
                    <a:pt x="711" y="114678"/>
                  </a:cubicBezTo>
                  <a:cubicBezTo>
                    <a:pt x="-4780" y="129140"/>
                    <a:pt x="18326" y="135361"/>
                    <a:pt x="23817" y="121057"/>
                  </a:cubicBezTo>
                  <a:cubicBezTo>
                    <a:pt x="40011" y="78423"/>
                    <a:pt x="70345" y="44269"/>
                    <a:pt x="110119" y="22279"/>
                  </a:cubicBezTo>
                  <a:cubicBezTo>
                    <a:pt x="123588" y="14830"/>
                    <a:pt x="111501" y="-5893"/>
                    <a:pt x="98033" y="1557"/>
                  </a:cubicBezTo>
                  <a:close/>
                </a:path>
              </a:pathLst>
            </a:custGeom>
            <a:solidFill>
              <a:schemeClr val="bg1"/>
            </a:solidFill>
            <a:ln w="39496" cap="flat">
              <a:noFill/>
              <a:prstDash val="solid"/>
              <a:round/>
            </a:ln>
          </p:spPr>
          <p:txBody>
            <a:bodyPr rtlCol="0" anchor="ctr"/>
            <a:lstStyle/>
            <a:p>
              <a:endParaRPr lang="en-LT"/>
            </a:p>
          </p:txBody>
        </p:sp>
        <p:sp>
          <p:nvSpPr>
            <p:cNvPr id="95" name="Freeform 94">
              <a:extLst>
                <a:ext uri="{FF2B5EF4-FFF2-40B4-BE49-F238E27FC236}">
                  <a16:creationId xmlns:a16="http://schemas.microsoft.com/office/drawing/2014/main" id="{913D878C-4C3A-B545-9E35-0FCD9BE5FA7D}"/>
                </a:ext>
              </a:extLst>
            </p:cNvPr>
            <p:cNvSpPr/>
            <p:nvPr/>
          </p:nvSpPr>
          <p:spPr>
            <a:xfrm>
              <a:off x="9839681" y="1932786"/>
              <a:ext cx="23533" cy="92140"/>
            </a:xfrm>
            <a:custGeom>
              <a:avLst/>
              <a:gdLst>
                <a:gd name="connsiteX0" fmla="*/ 23940 w 43608"/>
                <a:gd name="connsiteY0" fmla="*/ 159295 h 170742"/>
                <a:gd name="connsiteX1" fmla="*/ 43373 w 43608"/>
                <a:gd name="connsiteY1" fmla="*/ 11345 h 170742"/>
                <a:gd name="connsiteX2" fmla="*/ 19438 w 43608"/>
                <a:gd name="connsiteY2" fmla="*/ 11345 h 170742"/>
                <a:gd name="connsiteX3" fmla="*/ 5 w 43608"/>
                <a:gd name="connsiteY3" fmla="*/ 159295 h 170742"/>
                <a:gd name="connsiteX4" fmla="*/ 23940 w 43608"/>
                <a:gd name="connsiteY4" fmla="*/ 159295 h 17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08" h="170742">
                  <a:moveTo>
                    <a:pt x="23940" y="159295"/>
                  </a:moveTo>
                  <a:cubicBezTo>
                    <a:pt x="30418" y="109965"/>
                    <a:pt x="36896" y="60635"/>
                    <a:pt x="43373" y="11345"/>
                  </a:cubicBezTo>
                  <a:cubicBezTo>
                    <a:pt x="45387" y="-3949"/>
                    <a:pt x="21452" y="-3791"/>
                    <a:pt x="19438" y="11345"/>
                  </a:cubicBezTo>
                  <a:cubicBezTo>
                    <a:pt x="12960" y="60635"/>
                    <a:pt x="6483" y="109965"/>
                    <a:pt x="5" y="159295"/>
                  </a:cubicBezTo>
                  <a:cubicBezTo>
                    <a:pt x="-2009" y="174549"/>
                    <a:pt x="21926" y="174391"/>
                    <a:pt x="23940" y="159295"/>
                  </a:cubicBezTo>
                  <a:close/>
                </a:path>
              </a:pathLst>
            </a:custGeom>
            <a:solidFill>
              <a:schemeClr val="bg1"/>
            </a:solidFill>
            <a:ln w="39496" cap="flat">
              <a:noFill/>
              <a:prstDash val="solid"/>
              <a:round/>
            </a:ln>
          </p:spPr>
          <p:txBody>
            <a:bodyPr rtlCol="0" anchor="ctr"/>
            <a:lstStyle/>
            <a:p>
              <a:endParaRPr lang="en-LT"/>
            </a:p>
          </p:txBody>
        </p:sp>
        <p:sp>
          <p:nvSpPr>
            <p:cNvPr id="96" name="Freeform 95">
              <a:extLst>
                <a:ext uri="{FF2B5EF4-FFF2-40B4-BE49-F238E27FC236}">
                  <a16:creationId xmlns:a16="http://schemas.microsoft.com/office/drawing/2014/main" id="{6FDBE0B1-0FB8-6243-BE81-BFA7DFC5C83C}"/>
                </a:ext>
              </a:extLst>
            </p:cNvPr>
            <p:cNvSpPr/>
            <p:nvPr/>
          </p:nvSpPr>
          <p:spPr>
            <a:xfrm>
              <a:off x="9758899" y="1736640"/>
              <a:ext cx="61333" cy="107454"/>
            </a:xfrm>
            <a:custGeom>
              <a:avLst/>
              <a:gdLst>
                <a:gd name="connsiteX0" fmla="*/ 110036 w 113655"/>
                <a:gd name="connsiteY0" fmla="*/ 178502 h 199120"/>
                <a:gd name="connsiteX1" fmla="*/ 23141 w 113655"/>
                <a:gd name="connsiteY1" fmla="*/ 8561 h 199120"/>
                <a:gd name="connsiteX2" fmla="*/ 75 w 113655"/>
                <a:gd name="connsiteY2" fmla="*/ 14980 h 199120"/>
                <a:gd name="connsiteX3" fmla="*/ 93091 w 113655"/>
                <a:gd name="connsiteY3" fmla="*/ 195500 h 199120"/>
                <a:gd name="connsiteX4" fmla="*/ 110036 w 113655"/>
                <a:gd name="connsiteY4" fmla="*/ 178502 h 199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55" h="199120">
                  <a:moveTo>
                    <a:pt x="110036" y="178502"/>
                  </a:moveTo>
                  <a:cubicBezTo>
                    <a:pt x="63231" y="131510"/>
                    <a:pt x="34082" y="73978"/>
                    <a:pt x="23141" y="8561"/>
                  </a:cubicBezTo>
                  <a:cubicBezTo>
                    <a:pt x="20573" y="-6614"/>
                    <a:pt x="-2493" y="-155"/>
                    <a:pt x="75" y="14980"/>
                  </a:cubicBezTo>
                  <a:cubicBezTo>
                    <a:pt x="11648" y="84161"/>
                    <a:pt x="43641" y="145853"/>
                    <a:pt x="93091" y="195500"/>
                  </a:cubicBezTo>
                  <a:cubicBezTo>
                    <a:pt x="103954" y="206436"/>
                    <a:pt x="120898" y="189438"/>
                    <a:pt x="110036" y="178502"/>
                  </a:cubicBezTo>
                  <a:close/>
                </a:path>
              </a:pathLst>
            </a:custGeom>
            <a:solidFill>
              <a:schemeClr val="bg1"/>
            </a:solidFill>
            <a:ln w="39496" cap="flat">
              <a:noFill/>
              <a:prstDash val="solid"/>
              <a:round/>
            </a:ln>
          </p:spPr>
          <p:txBody>
            <a:bodyPr rtlCol="0" anchor="ctr"/>
            <a:lstStyle/>
            <a:p>
              <a:endParaRPr lang="en-LT"/>
            </a:p>
          </p:txBody>
        </p:sp>
        <p:sp>
          <p:nvSpPr>
            <p:cNvPr id="97" name="Freeform 96">
              <a:extLst>
                <a:ext uri="{FF2B5EF4-FFF2-40B4-BE49-F238E27FC236}">
                  <a16:creationId xmlns:a16="http://schemas.microsoft.com/office/drawing/2014/main" id="{FE3E502F-5308-8244-8113-9FB3ACB22D85}"/>
                </a:ext>
              </a:extLst>
            </p:cNvPr>
            <p:cNvSpPr/>
            <p:nvPr/>
          </p:nvSpPr>
          <p:spPr>
            <a:xfrm>
              <a:off x="9547041" y="1681313"/>
              <a:ext cx="147660" cy="34753"/>
            </a:xfrm>
            <a:custGeom>
              <a:avLst/>
              <a:gdLst>
                <a:gd name="connsiteX0" fmla="*/ 5916 w 273626"/>
                <a:gd name="connsiteY0" fmla="*/ 22002 h 64400"/>
                <a:gd name="connsiteX1" fmla="*/ 264863 w 273626"/>
                <a:gd name="connsiteY1" fmla="*/ 55087 h 64400"/>
                <a:gd name="connsiteX2" fmla="*/ 258504 w 273626"/>
                <a:gd name="connsiteY2" fmla="*/ 31948 h 64400"/>
                <a:gd name="connsiteX3" fmla="*/ 18002 w 273626"/>
                <a:gd name="connsiteY3" fmla="*/ 1280 h 64400"/>
                <a:gd name="connsiteX4" fmla="*/ 5916 w 273626"/>
                <a:gd name="connsiteY4" fmla="*/ 22002 h 6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626" h="64400">
                  <a:moveTo>
                    <a:pt x="5916" y="22002"/>
                  </a:moveTo>
                  <a:cubicBezTo>
                    <a:pt x="87637" y="63170"/>
                    <a:pt x="175440" y="74462"/>
                    <a:pt x="264863" y="55087"/>
                  </a:cubicBezTo>
                  <a:cubicBezTo>
                    <a:pt x="279952" y="51838"/>
                    <a:pt x="273552" y="28699"/>
                    <a:pt x="258504" y="31948"/>
                  </a:cubicBezTo>
                  <a:cubicBezTo>
                    <a:pt x="175599" y="49897"/>
                    <a:pt x="93799" y="39515"/>
                    <a:pt x="18002" y="1280"/>
                  </a:cubicBezTo>
                  <a:cubicBezTo>
                    <a:pt x="4297" y="-5614"/>
                    <a:pt x="-7869" y="15069"/>
                    <a:pt x="5916" y="22002"/>
                  </a:cubicBezTo>
                  <a:close/>
                </a:path>
              </a:pathLst>
            </a:custGeom>
            <a:solidFill>
              <a:schemeClr val="bg1"/>
            </a:solidFill>
            <a:ln w="39496" cap="flat">
              <a:noFill/>
              <a:prstDash val="solid"/>
              <a:round/>
            </a:ln>
          </p:spPr>
          <p:txBody>
            <a:bodyPr rtlCol="0" anchor="ctr"/>
            <a:lstStyle/>
            <a:p>
              <a:endParaRPr lang="en-LT"/>
            </a:p>
          </p:txBody>
        </p:sp>
        <p:sp>
          <p:nvSpPr>
            <p:cNvPr id="98" name="Freeform 97">
              <a:extLst>
                <a:ext uri="{FF2B5EF4-FFF2-40B4-BE49-F238E27FC236}">
                  <a16:creationId xmlns:a16="http://schemas.microsoft.com/office/drawing/2014/main" id="{94762A06-BC04-0A4F-8BFE-2774619B5033}"/>
                </a:ext>
              </a:extLst>
            </p:cNvPr>
            <p:cNvSpPr/>
            <p:nvPr/>
          </p:nvSpPr>
          <p:spPr>
            <a:xfrm>
              <a:off x="9314972" y="1813558"/>
              <a:ext cx="89631" cy="371043"/>
            </a:xfrm>
            <a:custGeom>
              <a:avLst/>
              <a:gdLst>
                <a:gd name="connsiteX0" fmla="*/ 157342 w 166093"/>
                <a:gd name="connsiteY0" fmla="*/ 27241 h 687570"/>
                <a:gd name="connsiteX1" fmla="*/ 164649 w 166093"/>
                <a:gd name="connsiteY1" fmla="*/ 17969 h 687570"/>
                <a:gd name="connsiteX2" fmla="*/ 159357 w 166093"/>
                <a:gd name="connsiteY2" fmla="*/ 1248 h 687570"/>
                <a:gd name="connsiteX3" fmla="*/ 143952 w 166093"/>
                <a:gd name="connsiteY3" fmla="*/ 6241 h 687570"/>
                <a:gd name="connsiteX4" fmla="*/ 139607 w 166093"/>
                <a:gd name="connsiteY4" fmla="*/ 11154 h 687570"/>
                <a:gd name="connsiteX5" fmla="*/ 128824 w 166093"/>
                <a:gd name="connsiteY5" fmla="*/ 682912 h 687570"/>
                <a:gd name="connsiteX6" fmla="*/ 138225 w 166093"/>
                <a:gd name="connsiteY6" fmla="*/ 687508 h 687570"/>
                <a:gd name="connsiteX7" fmla="*/ 145572 w 166093"/>
                <a:gd name="connsiteY7" fmla="*/ 684932 h 687570"/>
                <a:gd name="connsiteX8" fmla="*/ 147626 w 166093"/>
                <a:gd name="connsiteY8" fmla="*/ 668093 h 687570"/>
                <a:gd name="connsiteX9" fmla="*/ 157342 w 166093"/>
                <a:gd name="connsiteY9" fmla="*/ 27241 h 687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093" h="687570">
                  <a:moveTo>
                    <a:pt x="157342" y="27241"/>
                  </a:moveTo>
                  <a:cubicBezTo>
                    <a:pt x="162280" y="21773"/>
                    <a:pt x="163622" y="20267"/>
                    <a:pt x="164649" y="17969"/>
                  </a:cubicBezTo>
                  <a:cubicBezTo>
                    <a:pt x="167533" y="11986"/>
                    <a:pt x="165321" y="4022"/>
                    <a:pt x="159357" y="1248"/>
                  </a:cubicBezTo>
                  <a:cubicBezTo>
                    <a:pt x="153313" y="-1604"/>
                    <a:pt x="146677" y="258"/>
                    <a:pt x="143952" y="6241"/>
                  </a:cubicBezTo>
                  <a:cubicBezTo>
                    <a:pt x="143202" y="7113"/>
                    <a:pt x="141740" y="8737"/>
                    <a:pt x="139607" y="11154"/>
                  </a:cubicBezTo>
                  <a:cubicBezTo>
                    <a:pt x="53266" y="106881"/>
                    <a:pt x="-120603" y="363991"/>
                    <a:pt x="128824" y="682912"/>
                  </a:cubicBezTo>
                  <a:cubicBezTo>
                    <a:pt x="131194" y="685923"/>
                    <a:pt x="134710" y="687508"/>
                    <a:pt x="138225" y="687508"/>
                  </a:cubicBezTo>
                  <a:cubicBezTo>
                    <a:pt x="140832" y="687508"/>
                    <a:pt x="143438" y="686675"/>
                    <a:pt x="145572" y="684932"/>
                  </a:cubicBezTo>
                  <a:cubicBezTo>
                    <a:pt x="150825" y="680851"/>
                    <a:pt x="151694" y="673323"/>
                    <a:pt x="147626" y="668093"/>
                  </a:cubicBezTo>
                  <a:cubicBezTo>
                    <a:pt x="-90545" y="363516"/>
                    <a:pt x="75108" y="118491"/>
                    <a:pt x="157342" y="27241"/>
                  </a:cubicBezTo>
                  <a:close/>
                </a:path>
              </a:pathLst>
            </a:custGeom>
            <a:solidFill>
              <a:schemeClr val="bg1"/>
            </a:solidFill>
            <a:ln w="39496" cap="flat">
              <a:noFill/>
              <a:prstDash val="solid"/>
              <a:round/>
            </a:ln>
          </p:spPr>
          <p:txBody>
            <a:bodyPr rtlCol="0" anchor="ctr"/>
            <a:lstStyle/>
            <a:p>
              <a:endParaRPr lang="en-LT"/>
            </a:p>
          </p:txBody>
        </p:sp>
        <p:sp>
          <p:nvSpPr>
            <p:cNvPr id="99" name="Freeform 98">
              <a:extLst>
                <a:ext uri="{FF2B5EF4-FFF2-40B4-BE49-F238E27FC236}">
                  <a16:creationId xmlns:a16="http://schemas.microsoft.com/office/drawing/2014/main" id="{93D49018-577C-9545-91ED-6B1C4515C63A}"/>
                </a:ext>
              </a:extLst>
            </p:cNvPr>
            <p:cNvSpPr/>
            <p:nvPr/>
          </p:nvSpPr>
          <p:spPr>
            <a:xfrm>
              <a:off x="9570472" y="1972385"/>
              <a:ext cx="230750" cy="278542"/>
            </a:xfrm>
            <a:custGeom>
              <a:avLst/>
              <a:gdLst>
                <a:gd name="connsiteX0" fmla="*/ 301119 w 427598"/>
                <a:gd name="connsiteY0" fmla="*/ 356000 h 516160"/>
                <a:gd name="connsiteX1" fmla="*/ 15274 w 427598"/>
                <a:gd name="connsiteY1" fmla="*/ 491985 h 516160"/>
                <a:gd name="connsiteX2" fmla="*/ 11324 w 427598"/>
                <a:gd name="connsiteY2" fmla="*/ 492143 h 516160"/>
                <a:gd name="connsiteX3" fmla="*/ -129 w 427598"/>
                <a:gd name="connsiteY3" fmla="*/ 504624 h 516160"/>
                <a:gd name="connsiteX4" fmla="*/ 11838 w 427598"/>
                <a:gd name="connsiteY4" fmla="*/ 516114 h 516160"/>
                <a:gd name="connsiteX5" fmla="*/ 12351 w 427598"/>
                <a:gd name="connsiteY5" fmla="*/ 516114 h 516160"/>
                <a:gd name="connsiteX6" fmla="*/ 16104 w 427598"/>
                <a:gd name="connsiteY6" fmla="*/ 515956 h 516160"/>
                <a:gd name="connsiteX7" fmla="*/ 320236 w 427598"/>
                <a:gd name="connsiteY7" fmla="*/ 370463 h 516160"/>
                <a:gd name="connsiteX8" fmla="*/ 423680 w 427598"/>
                <a:gd name="connsiteY8" fmla="*/ 10058 h 516160"/>
                <a:gd name="connsiteX9" fmla="*/ 410015 w 427598"/>
                <a:gd name="connsiteY9" fmla="*/ 113 h 516160"/>
                <a:gd name="connsiteX10" fmla="*/ 400061 w 427598"/>
                <a:gd name="connsiteY10" fmla="*/ 13862 h 516160"/>
                <a:gd name="connsiteX11" fmla="*/ 301119 w 427598"/>
                <a:gd name="connsiteY11" fmla="*/ 356000 h 516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7598" h="516160">
                  <a:moveTo>
                    <a:pt x="301119" y="356000"/>
                  </a:moveTo>
                  <a:cubicBezTo>
                    <a:pt x="256684" y="414959"/>
                    <a:pt x="170975" y="486438"/>
                    <a:pt x="15274" y="491985"/>
                  </a:cubicBezTo>
                  <a:lnTo>
                    <a:pt x="11324" y="492143"/>
                  </a:lnTo>
                  <a:cubicBezTo>
                    <a:pt x="4729" y="492421"/>
                    <a:pt x="-406" y="498007"/>
                    <a:pt x="-129" y="504624"/>
                  </a:cubicBezTo>
                  <a:cubicBezTo>
                    <a:pt x="147" y="511082"/>
                    <a:pt x="5440" y="516114"/>
                    <a:pt x="11838" y="516114"/>
                  </a:cubicBezTo>
                  <a:lnTo>
                    <a:pt x="12351" y="516114"/>
                  </a:lnTo>
                  <a:lnTo>
                    <a:pt x="16104" y="515956"/>
                  </a:lnTo>
                  <a:cubicBezTo>
                    <a:pt x="181243" y="510092"/>
                    <a:pt x="272642" y="433581"/>
                    <a:pt x="320236" y="370463"/>
                  </a:cubicBezTo>
                  <a:cubicBezTo>
                    <a:pt x="446707" y="202623"/>
                    <a:pt x="428617" y="40765"/>
                    <a:pt x="423680" y="10058"/>
                  </a:cubicBezTo>
                  <a:cubicBezTo>
                    <a:pt x="422614" y="3481"/>
                    <a:pt x="416334" y="-957"/>
                    <a:pt x="410015" y="113"/>
                  </a:cubicBezTo>
                  <a:cubicBezTo>
                    <a:pt x="403497" y="1143"/>
                    <a:pt x="398994" y="7324"/>
                    <a:pt x="400061" y="13862"/>
                  </a:cubicBezTo>
                  <a:cubicBezTo>
                    <a:pt x="404722" y="42905"/>
                    <a:pt x="421745" y="195926"/>
                    <a:pt x="301119" y="356000"/>
                  </a:cubicBezTo>
                  <a:close/>
                </a:path>
              </a:pathLst>
            </a:custGeom>
            <a:solidFill>
              <a:schemeClr val="bg1"/>
            </a:solidFill>
            <a:ln w="39496" cap="flat">
              <a:noFill/>
              <a:prstDash val="solid"/>
              <a:round/>
            </a:ln>
          </p:spPr>
          <p:txBody>
            <a:bodyPr rtlCol="0" anchor="ctr"/>
            <a:lstStyle/>
            <a:p>
              <a:endParaRPr lang="en-LT"/>
            </a:p>
          </p:txBody>
        </p:sp>
      </p:grpSp>
      <p:grpSp>
        <p:nvGrpSpPr>
          <p:cNvPr id="100" name="Group 99">
            <a:extLst>
              <a:ext uri="{FF2B5EF4-FFF2-40B4-BE49-F238E27FC236}">
                <a16:creationId xmlns:a16="http://schemas.microsoft.com/office/drawing/2014/main" id="{2412E11F-6893-924E-B422-E69D7D628A99}"/>
              </a:ext>
            </a:extLst>
          </p:cNvPr>
          <p:cNvGrpSpPr/>
          <p:nvPr/>
        </p:nvGrpSpPr>
        <p:grpSpPr>
          <a:xfrm>
            <a:off x="9097952" y="4120801"/>
            <a:ext cx="901492" cy="901844"/>
            <a:chOff x="9097952" y="1550321"/>
            <a:chExt cx="901492" cy="901844"/>
          </a:xfrm>
        </p:grpSpPr>
        <p:sp>
          <p:nvSpPr>
            <p:cNvPr id="101" name="Freeform 100">
              <a:extLst>
                <a:ext uri="{FF2B5EF4-FFF2-40B4-BE49-F238E27FC236}">
                  <a16:creationId xmlns:a16="http://schemas.microsoft.com/office/drawing/2014/main" id="{53C4C768-4DA7-D542-9512-155048CFC4EF}"/>
                </a:ext>
              </a:extLst>
            </p:cNvPr>
            <p:cNvSpPr/>
            <p:nvPr/>
          </p:nvSpPr>
          <p:spPr>
            <a:xfrm>
              <a:off x="9097952" y="1550321"/>
              <a:ext cx="901492" cy="901844"/>
            </a:xfrm>
            <a:custGeom>
              <a:avLst/>
              <a:gdLst>
                <a:gd name="connsiteX0" fmla="*/ 598272 w 1670533"/>
                <a:gd name="connsiteY0" fmla="*/ 1371675 h 1671185"/>
                <a:gd name="connsiteX1" fmla="*/ 533022 w 1670533"/>
                <a:gd name="connsiteY1" fmla="*/ 1330507 h 1671185"/>
                <a:gd name="connsiteX2" fmla="*/ 527611 w 1670533"/>
                <a:gd name="connsiteY2" fmla="*/ 1323375 h 1671185"/>
                <a:gd name="connsiteX3" fmla="*/ 598786 w 1670533"/>
                <a:gd name="connsiteY3" fmla="*/ 1364661 h 1671185"/>
                <a:gd name="connsiteX4" fmla="*/ 610872 w 1670533"/>
                <a:gd name="connsiteY4" fmla="*/ 1343939 h 1671185"/>
                <a:gd name="connsiteX5" fmla="*/ 488824 w 1670533"/>
                <a:gd name="connsiteY5" fmla="*/ 1273134 h 1671185"/>
                <a:gd name="connsiteX6" fmla="*/ 476738 w 1670533"/>
                <a:gd name="connsiteY6" fmla="*/ 1293856 h 1671185"/>
                <a:gd name="connsiteX7" fmla="*/ 527097 w 1670533"/>
                <a:gd name="connsiteY7" fmla="*/ 1323019 h 1671185"/>
                <a:gd name="connsiteX8" fmla="*/ 522279 w 1670533"/>
                <a:gd name="connsiteY8" fmla="*/ 1321711 h 1671185"/>
                <a:gd name="connsiteX9" fmla="*/ 514655 w 1670533"/>
                <a:gd name="connsiteY9" fmla="*/ 1321473 h 1671185"/>
                <a:gd name="connsiteX10" fmla="*/ 493683 w 1670533"/>
                <a:gd name="connsiteY10" fmla="*/ 1311568 h 1671185"/>
                <a:gd name="connsiteX11" fmla="*/ 463743 w 1670533"/>
                <a:gd name="connsiteY11" fmla="*/ 1305466 h 1671185"/>
                <a:gd name="connsiteX12" fmla="*/ 445495 w 1670533"/>
                <a:gd name="connsiteY12" fmla="*/ 1308002 h 1671185"/>
                <a:gd name="connsiteX13" fmla="*/ 420217 w 1670533"/>
                <a:gd name="connsiteY13" fmla="*/ 1267627 h 1671185"/>
                <a:gd name="connsiteX14" fmla="*/ 399559 w 1670533"/>
                <a:gd name="connsiteY14" fmla="*/ 1279751 h 1671185"/>
                <a:gd name="connsiteX15" fmla="*/ 423258 w 1670533"/>
                <a:gd name="connsiteY15" fmla="*/ 1317591 h 1671185"/>
                <a:gd name="connsiteX16" fmla="*/ 414766 w 1670533"/>
                <a:gd name="connsiteY16" fmla="*/ 1323692 h 1671185"/>
                <a:gd name="connsiteX17" fmla="*/ 397347 w 1670533"/>
                <a:gd name="connsiteY17" fmla="*/ 1338749 h 1671185"/>
                <a:gd name="connsiteX18" fmla="*/ 366421 w 1670533"/>
                <a:gd name="connsiteY18" fmla="*/ 1298374 h 1671185"/>
                <a:gd name="connsiteX19" fmla="*/ 345764 w 1670533"/>
                <a:gd name="connsiteY19" fmla="*/ 1310458 h 1671185"/>
                <a:gd name="connsiteX20" fmla="*/ 379337 w 1670533"/>
                <a:gd name="connsiteY20" fmla="*/ 1354360 h 1671185"/>
                <a:gd name="connsiteX21" fmla="*/ 354058 w 1670533"/>
                <a:gd name="connsiteY21" fmla="*/ 1376271 h 1671185"/>
                <a:gd name="connsiteX22" fmla="*/ 320920 w 1670533"/>
                <a:gd name="connsiteY22" fmla="*/ 1335737 h 1671185"/>
                <a:gd name="connsiteX23" fmla="*/ 303975 w 1670533"/>
                <a:gd name="connsiteY23" fmla="*/ 1352656 h 1671185"/>
                <a:gd name="connsiteX24" fmla="*/ 336047 w 1670533"/>
                <a:gd name="connsiteY24" fmla="*/ 1391922 h 1671185"/>
                <a:gd name="connsiteX25" fmla="*/ 331071 w 1670533"/>
                <a:gd name="connsiteY25" fmla="*/ 1396201 h 1671185"/>
                <a:gd name="connsiteX26" fmla="*/ 321907 w 1670533"/>
                <a:gd name="connsiteY26" fmla="*/ 1401788 h 1671185"/>
                <a:gd name="connsiteX27" fmla="*/ 317523 w 1670533"/>
                <a:gd name="connsiteY27" fmla="*/ 1400480 h 1671185"/>
                <a:gd name="connsiteX28" fmla="*/ 316930 w 1670533"/>
                <a:gd name="connsiteY28" fmla="*/ 1399648 h 1671185"/>
                <a:gd name="connsiteX29" fmla="*/ 269059 w 1670533"/>
                <a:gd name="connsiteY29" fmla="*/ 1355707 h 1671185"/>
                <a:gd name="connsiteX30" fmla="*/ 252154 w 1670533"/>
                <a:gd name="connsiteY30" fmla="*/ 1372666 h 1671185"/>
                <a:gd name="connsiteX31" fmla="*/ 290190 w 1670533"/>
                <a:gd name="connsiteY31" fmla="*/ 1407612 h 1671185"/>
                <a:gd name="connsiteX32" fmla="*/ 270521 w 1670533"/>
                <a:gd name="connsiteY32" fmla="*/ 1401471 h 1671185"/>
                <a:gd name="connsiteX33" fmla="*/ 223953 w 1670533"/>
                <a:gd name="connsiteY33" fmla="*/ 1365296 h 1671185"/>
                <a:gd name="connsiteX34" fmla="*/ 181019 w 1670533"/>
                <a:gd name="connsiteY34" fmla="*/ 1303643 h 1671185"/>
                <a:gd name="connsiteX35" fmla="*/ 195554 w 1670533"/>
                <a:gd name="connsiteY35" fmla="*/ 1242427 h 1671185"/>
                <a:gd name="connsiteX36" fmla="*/ 300894 w 1670533"/>
                <a:gd name="connsiteY36" fmla="*/ 1156050 h 1671185"/>
                <a:gd name="connsiteX37" fmla="*/ 326094 w 1670533"/>
                <a:gd name="connsiteY37" fmla="*/ 1079341 h 1671185"/>
                <a:gd name="connsiteX38" fmla="*/ 303501 w 1670533"/>
                <a:gd name="connsiteY38" fmla="*/ 1010041 h 1671185"/>
                <a:gd name="connsiteX39" fmla="*/ 301211 w 1670533"/>
                <a:gd name="connsiteY39" fmla="*/ 1004811 h 1671185"/>
                <a:gd name="connsiteX40" fmla="*/ 300065 w 1670533"/>
                <a:gd name="connsiteY40" fmla="*/ 995223 h 1671185"/>
                <a:gd name="connsiteX41" fmla="*/ 292363 w 1670533"/>
                <a:gd name="connsiteY41" fmla="*/ 984644 h 1671185"/>
                <a:gd name="connsiteX42" fmla="*/ 271863 w 1670533"/>
                <a:gd name="connsiteY42" fmla="*/ 943714 h 1671185"/>
                <a:gd name="connsiteX43" fmla="*/ 238133 w 1670533"/>
                <a:gd name="connsiteY43" fmla="*/ 913600 h 1671185"/>
                <a:gd name="connsiteX44" fmla="*/ 242438 w 1670533"/>
                <a:gd name="connsiteY44" fmla="*/ 904408 h 1671185"/>
                <a:gd name="connsiteX45" fmla="*/ 240858 w 1670533"/>
                <a:gd name="connsiteY45" fmla="*/ 856465 h 1671185"/>
                <a:gd name="connsiteX46" fmla="*/ 216962 w 1670533"/>
                <a:gd name="connsiteY46" fmla="*/ 856465 h 1671185"/>
                <a:gd name="connsiteX47" fmla="*/ 218502 w 1670533"/>
                <a:gd name="connsiteY47" fmla="*/ 904408 h 1671185"/>
                <a:gd name="connsiteX48" fmla="*/ 219331 w 1670533"/>
                <a:gd name="connsiteY48" fmla="*/ 907895 h 1671185"/>
                <a:gd name="connsiteX49" fmla="*/ 207008 w 1670533"/>
                <a:gd name="connsiteY49" fmla="*/ 906270 h 1671185"/>
                <a:gd name="connsiteX50" fmla="*/ 182401 w 1670533"/>
                <a:gd name="connsiteY50" fmla="*/ 906270 h 1671185"/>
                <a:gd name="connsiteX51" fmla="*/ 184376 w 1670533"/>
                <a:gd name="connsiteY51" fmla="*/ 897276 h 1671185"/>
                <a:gd name="connsiteX52" fmla="*/ 176398 w 1670533"/>
                <a:gd name="connsiteY52" fmla="*/ 849294 h 1671185"/>
                <a:gd name="connsiteX53" fmla="*/ 153291 w 1670533"/>
                <a:gd name="connsiteY53" fmla="*/ 855673 h 1671185"/>
                <a:gd name="connsiteX54" fmla="*/ 161270 w 1670533"/>
                <a:gd name="connsiteY54" fmla="*/ 903655 h 1671185"/>
                <a:gd name="connsiteX55" fmla="*/ 162258 w 1670533"/>
                <a:gd name="connsiteY55" fmla="*/ 906270 h 1671185"/>
                <a:gd name="connsiteX56" fmla="*/ 121062 w 1670533"/>
                <a:gd name="connsiteY56" fmla="*/ 906270 h 1671185"/>
                <a:gd name="connsiteX57" fmla="*/ 117388 w 1670533"/>
                <a:gd name="connsiteY57" fmla="*/ 856465 h 1671185"/>
                <a:gd name="connsiteX58" fmla="*/ 93492 w 1670533"/>
                <a:gd name="connsiteY58" fmla="*/ 856465 h 1671185"/>
                <a:gd name="connsiteX59" fmla="*/ 97166 w 1670533"/>
                <a:gd name="connsiteY59" fmla="*/ 906270 h 1671185"/>
                <a:gd name="connsiteX60" fmla="*/ 80814 w 1670533"/>
                <a:gd name="connsiteY60" fmla="*/ 906270 h 1671185"/>
                <a:gd name="connsiteX61" fmla="*/ 76666 w 1670533"/>
                <a:gd name="connsiteY61" fmla="*/ 905914 h 1671185"/>
                <a:gd name="connsiteX62" fmla="*/ 76666 w 1670533"/>
                <a:gd name="connsiteY62" fmla="*/ 905240 h 1671185"/>
                <a:gd name="connsiteX63" fmla="*/ 68688 w 1670533"/>
                <a:gd name="connsiteY63" fmla="*/ 857297 h 1671185"/>
                <a:gd name="connsiteX64" fmla="*/ 45621 w 1670533"/>
                <a:gd name="connsiteY64" fmla="*/ 863676 h 1671185"/>
                <a:gd name="connsiteX65" fmla="*/ 51151 w 1670533"/>
                <a:gd name="connsiteY65" fmla="*/ 896801 h 1671185"/>
                <a:gd name="connsiteX66" fmla="*/ 30178 w 1670533"/>
                <a:gd name="connsiteY66" fmla="*/ 865697 h 1671185"/>
                <a:gd name="connsiteX67" fmla="*/ 23029 w 1670533"/>
                <a:gd name="connsiteY67" fmla="*/ 794575 h 1671185"/>
                <a:gd name="connsiteX68" fmla="*/ 25991 w 1670533"/>
                <a:gd name="connsiteY68" fmla="*/ 759272 h 1671185"/>
                <a:gd name="connsiteX69" fmla="*/ 76113 w 1670533"/>
                <a:gd name="connsiteY69" fmla="*/ 716163 h 1671185"/>
                <a:gd name="connsiteX70" fmla="*/ 201242 w 1670533"/>
                <a:gd name="connsiteY70" fmla="*/ 713745 h 1671185"/>
                <a:gd name="connsiteX71" fmla="*/ 256301 w 1670533"/>
                <a:gd name="connsiteY71" fmla="*/ 688030 h 1671185"/>
                <a:gd name="connsiteX72" fmla="*/ 291691 w 1670533"/>
                <a:gd name="connsiteY72" fmla="*/ 633272 h 1671185"/>
                <a:gd name="connsiteX73" fmla="*/ 312072 w 1670533"/>
                <a:gd name="connsiteY73" fmla="*/ 569362 h 1671185"/>
                <a:gd name="connsiteX74" fmla="*/ 303777 w 1670533"/>
                <a:gd name="connsiteY74" fmla="*/ 522449 h 1671185"/>
                <a:gd name="connsiteX75" fmla="*/ 303383 w 1670533"/>
                <a:gd name="connsiteY75" fmla="*/ 516624 h 1671185"/>
                <a:gd name="connsiteX76" fmla="*/ 310808 w 1670533"/>
                <a:gd name="connsiteY76" fmla="*/ 510760 h 1671185"/>
                <a:gd name="connsiteX77" fmla="*/ 318787 w 1670533"/>
                <a:gd name="connsiteY77" fmla="*/ 494752 h 1671185"/>
                <a:gd name="connsiteX78" fmla="*/ 298169 w 1670533"/>
                <a:gd name="connsiteY78" fmla="*/ 482668 h 1671185"/>
                <a:gd name="connsiteX79" fmla="*/ 290151 w 1670533"/>
                <a:gd name="connsiteY79" fmla="*/ 498636 h 1671185"/>
                <a:gd name="connsiteX80" fmla="*/ 289045 w 1670533"/>
                <a:gd name="connsiteY80" fmla="*/ 502717 h 1671185"/>
                <a:gd name="connsiteX81" fmla="*/ 288176 w 1670533"/>
                <a:gd name="connsiteY81" fmla="*/ 501686 h 1671185"/>
                <a:gd name="connsiteX82" fmla="*/ 275181 w 1670533"/>
                <a:gd name="connsiteY82" fmla="*/ 491662 h 1671185"/>
                <a:gd name="connsiteX83" fmla="*/ 275221 w 1670533"/>
                <a:gd name="connsiteY83" fmla="*/ 491622 h 1671185"/>
                <a:gd name="connsiteX84" fmla="*/ 287109 w 1670533"/>
                <a:gd name="connsiteY84" fmla="*/ 451643 h 1671185"/>
                <a:gd name="connsiteX85" fmla="*/ 264043 w 1670533"/>
                <a:gd name="connsiteY85" fmla="*/ 445264 h 1671185"/>
                <a:gd name="connsiteX86" fmla="*/ 254761 w 1670533"/>
                <a:gd name="connsiteY86" fmla="*/ 476328 h 1671185"/>
                <a:gd name="connsiteX87" fmla="*/ 229522 w 1670533"/>
                <a:gd name="connsiteY87" fmla="*/ 457389 h 1671185"/>
                <a:gd name="connsiteX88" fmla="*/ 227271 w 1670533"/>
                <a:gd name="connsiteY88" fmla="*/ 455685 h 1671185"/>
                <a:gd name="connsiteX89" fmla="*/ 239397 w 1670533"/>
                <a:gd name="connsiteY89" fmla="*/ 407742 h 1671185"/>
                <a:gd name="connsiteX90" fmla="*/ 216330 w 1670533"/>
                <a:gd name="connsiteY90" fmla="*/ 401363 h 1671185"/>
                <a:gd name="connsiteX91" fmla="*/ 206495 w 1670533"/>
                <a:gd name="connsiteY91" fmla="*/ 440113 h 1671185"/>
                <a:gd name="connsiteX92" fmla="*/ 189037 w 1670533"/>
                <a:gd name="connsiteY92" fmla="*/ 426998 h 1671185"/>
                <a:gd name="connsiteX93" fmla="*/ 190735 w 1670533"/>
                <a:gd name="connsiteY93" fmla="*/ 423512 h 1671185"/>
                <a:gd name="connsiteX94" fmla="*/ 203454 w 1670533"/>
                <a:gd name="connsiteY94" fmla="*/ 375767 h 1671185"/>
                <a:gd name="connsiteX95" fmla="*/ 183547 w 1670533"/>
                <a:gd name="connsiteY95" fmla="*/ 364038 h 1671185"/>
                <a:gd name="connsiteX96" fmla="*/ 252193 w 1670533"/>
                <a:gd name="connsiteY96" fmla="*/ 278652 h 1671185"/>
                <a:gd name="connsiteX97" fmla="*/ 273088 w 1670533"/>
                <a:gd name="connsiteY97" fmla="*/ 261179 h 1671185"/>
                <a:gd name="connsiteX98" fmla="*/ 340392 w 1670533"/>
                <a:gd name="connsiteY98" fmla="*/ 257494 h 1671185"/>
                <a:gd name="connsiteX99" fmla="*/ 446996 w 1670533"/>
                <a:gd name="connsiteY99" fmla="*/ 339512 h 1671185"/>
                <a:gd name="connsiteX100" fmla="*/ 492497 w 1670533"/>
                <a:gd name="connsiteY100" fmla="*/ 355084 h 1671185"/>
                <a:gd name="connsiteX101" fmla="*/ 496724 w 1670533"/>
                <a:gd name="connsiteY101" fmla="*/ 354965 h 1671185"/>
                <a:gd name="connsiteX102" fmla="*/ 580419 w 1670533"/>
                <a:gd name="connsiteY102" fmla="*/ 325248 h 1671185"/>
                <a:gd name="connsiteX103" fmla="*/ 588951 w 1670533"/>
                <a:gd name="connsiteY103" fmla="*/ 319503 h 1671185"/>
                <a:gd name="connsiteX104" fmla="*/ 590334 w 1670533"/>
                <a:gd name="connsiteY104" fmla="*/ 316611 h 1671185"/>
                <a:gd name="connsiteX105" fmla="*/ 632872 w 1670533"/>
                <a:gd name="connsiteY105" fmla="*/ 256900 h 1671185"/>
                <a:gd name="connsiteX106" fmla="*/ 634768 w 1670533"/>
                <a:gd name="connsiteY106" fmla="*/ 250917 h 1671185"/>
                <a:gd name="connsiteX107" fmla="*/ 683547 w 1670533"/>
                <a:gd name="connsiteY107" fmla="*/ 232968 h 1671185"/>
                <a:gd name="connsiteX108" fmla="*/ 666603 w 1670533"/>
                <a:gd name="connsiteY108" fmla="*/ 216009 h 1671185"/>
                <a:gd name="connsiteX109" fmla="*/ 637888 w 1670533"/>
                <a:gd name="connsiteY109" fmla="*/ 227381 h 1671185"/>
                <a:gd name="connsiteX110" fmla="*/ 636901 w 1670533"/>
                <a:gd name="connsiteY110" fmla="*/ 217436 h 1671185"/>
                <a:gd name="connsiteX111" fmla="*/ 634413 w 1670533"/>
                <a:gd name="connsiteY111" fmla="*/ 202458 h 1671185"/>
                <a:gd name="connsiteX112" fmla="*/ 675569 w 1670533"/>
                <a:gd name="connsiteY112" fmla="*/ 201864 h 1671185"/>
                <a:gd name="connsiteX113" fmla="*/ 675569 w 1670533"/>
                <a:gd name="connsiteY113" fmla="*/ 177893 h 1671185"/>
                <a:gd name="connsiteX114" fmla="*/ 630463 w 1670533"/>
                <a:gd name="connsiteY114" fmla="*/ 178566 h 1671185"/>
                <a:gd name="connsiteX115" fmla="*/ 625802 w 1670533"/>
                <a:gd name="connsiteY115" fmla="*/ 150553 h 1671185"/>
                <a:gd name="connsiteX116" fmla="*/ 675687 w 1670533"/>
                <a:gd name="connsiteY116" fmla="*/ 147026 h 1671185"/>
                <a:gd name="connsiteX117" fmla="*/ 675687 w 1670533"/>
                <a:gd name="connsiteY117" fmla="*/ 123055 h 1671185"/>
                <a:gd name="connsiteX118" fmla="*/ 621813 w 1670533"/>
                <a:gd name="connsiteY118" fmla="*/ 126819 h 1671185"/>
                <a:gd name="connsiteX119" fmla="*/ 617389 w 1670533"/>
                <a:gd name="connsiteY119" fmla="*/ 100153 h 1671185"/>
                <a:gd name="connsiteX120" fmla="*/ 666880 w 1670533"/>
                <a:gd name="connsiteY120" fmla="*/ 93259 h 1671185"/>
                <a:gd name="connsiteX121" fmla="*/ 660481 w 1670533"/>
                <a:gd name="connsiteY121" fmla="*/ 70160 h 1671185"/>
                <a:gd name="connsiteX122" fmla="*/ 617231 w 1670533"/>
                <a:gd name="connsiteY122" fmla="*/ 76143 h 1671185"/>
                <a:gd name="connsiteX123" fmla="*/ 651120 w 1670533"/>
                <a:gd name="connsiteY123" fmla="*/ 38145 h 1671185"/>
                <a:gd name="connsiteX124" fmla="*/ 702862 w 1670533"/>
                <a:gd name="connsiteY124" fmla="*/ 25901 h 1671185"/>
                <a:gd name="connsiteX125" fmla="*/ 798012 w 1670533"/>
                <a:gd name="connsiteY125" fmla="*/ 28278 h 1671185"/>
                <a:gd name="connsiteX126" fmla="*/ 840591 w 1670533"/>
                <a:gd name="connsiteY126" fmla="*/ 74121 h 1671185"/>
                <a:gd name="connsiteX127" fmla="*/ 849516 w 1670533"/>
                <a:gd name="connsiteY127" fmla="*/ 161132 h 1671185"/>
                <a:gd name="connsiteX128" fmla="*/ 870924 w 1670533"/>
                <a:gd name="connsiteY128" fmla="*/ 206421 h 1671185"/>
                <a:gd name="connsiteX129" fmla="*/ 924206 w 1670533"/>
                <a:gd name="connsiteY129" fmla="*/ 241368 h 1671185"/>
                <a:gd name="connsiteX130" fmla="*/ 1046807 w 1670533"/>
                <a:gd name="connsiteY130" fmla="*/ 243784 h 1671185"/>
                <a:gd name="connsiteX131" fmla="*/ 1078010 w 1670533"/>
                <a:gd name="connsiteY131" fmla="*/ 223617 h 1671185"/>
                <a:gd name="connsiteX132" fmla="*/ 1107989 w 1670533"/>
                <a:gd name="connsiteY132" fmla="*/ 240060 h 1671185"/>
                <a:gd name="connsiteX133" fmla="*/ 1120036 w 1670533"/>
                <a:gd name="connsiteY133" fmla="*/ 219338 h 1671185"/>
                <a:gd name="connsiteX134" fmla="*/ 1091913 w 1670533"/>
                <a:gd name="connsiteY134" fmla="*/ 203924 h 1671185"/>
                <a:gd name="connsiteX135" fmla="*/ 1099971 w 1670533"/>
                <a:gd name="connsiteY135" fmla="*/ 190215 h 1671185"/>
                <a:gd name="connsiteX136" fmla="*/ 1147724 w 1670533"/>
                <a:gd name="connsiteY136" fmla="*/ 212483 h 1671185"/>
                <a:gd name="connsiteX137" fmla="*/ 1159811 w 1670533"/>
                <a:gd name="connsiteY137" fmla="*/ 191761 h 1671185"/>
                <a:gd name="connsiteX138" fmla="*/ 1112137 w 1670533"/>
                <a:gd name="connsiteY138" fmla="*/ 169572 h 1671185"/>
                <a:gd name="connsiteX139" fmla="*/ 1128449 w 1670533"/>
                <a:gd name="connsiteY139" fmla="*/ 141836 h 1671185"/>
                <a:gd name="connsiteX140" fmla="*/ 1188051 w 1670533"/>
                <a:gd name="connsiteY140" fmla="*/ 175515 h 1671185"/>
                <a:gd name="connsiteX141" fmla="*/ 1200137 w 1670533"/>
                <a:gd name="connsiteY141" fmla="*/ 154832 h 1671185"/>
                <a:gd name="connsiteX142" fmla="*/ 1140614 w 1670533"/>
                <a:gd name="connsiteY142" fmla="*/ 121193 h 1671185"/>
                <a:gd name="connsiteX143" fmla="*/ 1146380 w 1670533"/>
                <a:gd name="connsiteY143" fmla="*/ 111367 h 1671185"/>
                <a:gd name="connsiteX144" fmla="*/ 1158309 w 1670533"/>
                <a:gd name="connsiteY144" fmla="*/ 97855 h 1671185"/>
                <a:gd name="connsiteX145" fmla="*/ 1164313 w 1670533"/>
                <a:gd name="connsiteY145" fmla="*/ 107166 h 1671185"/>
                <a:gd name="connsiteX146" fmla="*/ 1236199 w 1670533"/>
                <a:gd name="connsiteY146" fmla="*/ 139063 h 1671185"/>
                <a:gd name="connsiteX147" fmla="*/ 1248245 w 1670533"/>
                <a:gd name="connsiteY147" fmla="*/ 118380 h 1671185"/>
                <a:gd name="connsiteX148" fmla="*/ 1178848 w 1670533"/>
                <a:gd name="connsiteY148" fmla="*/ 87554 h 1671185"/>
                <a:gd name="connsiteX149" fmla="*/ 1197768 w 1670533"/>
                <a:gd name="connsiteY149" fmla="*/ 86286 h 1671185"/>
                <a:gd name="connsiteX150" fmla="*/ 1258633 w 1670533"/>
                <a:gd name="connsiteY150" fmla="*/ 105859 h 1671185"/>
                <a:gd name="connsiteX151" fmla="*/ 1332099 w 1670533"/>
                <a:gd name="connsiteY151" fmla="*/ 168621 h 1671185"/>
                <a:gd name="connsiteX152" fmla="*/ 1333284 w 1670533"/>
                <a:gd name="connsiteY152" fmla="*/ 226351 h 1671185"/>
                <a:gd name="connsiteX153" fmla="*/ 1273169 w 1670533"/>
                <a:gd name="connsiteY153" fmla="*/ 320335 h 1671185"/>
                <a:gd name="connsiteX154" fmla="*/ 1265308 w 1670533"/>
                <a:gd name="connsiteY154" fmla="*/ 385078 h 1671185"/>
                <a:gd name="connsiteX155" fmla="*/ 1300461 w 1670533"/>
                <a:gd name="connsiteY155" fmla="*/ 457111 h 1671185"/>
                <a:gd name="connsiteX156" fmla="*/ 1338695 w 1670533"/>
                <a:gd name="connsiteY156" fmla="*/ 503984 h 1671185"/>
                <a:gd name="connsiteX157" fmla="*/ 1405209 w 1670533"/>
                <a:gd name="connsiteY157" fmla="*/ 524548 h 1671185"/>
                <a:gd name="connsiteX158" fmla="*/ 1429026 w 1670533"/>
                <a:gd name="connsiteY158" fmla="*/ 588222 h 1671185"/>
                <a:gd name="connsiteX159" fmla="*/ 1452133 w 1670533"/>
                <a:gd name="connsiteY159" fmla="*/ 581843 h 1671185"/>
                <a:gd name="connsiteX160" fmla="*/ 1428196 w 1670533"/>
                <a:gd name="connsiteY160" fmla="*/ 517892 h 1671185"/>
                <a:gd name="connsiteX161" fmla="*/ 1427841 w 1670533"/>
                <a:gd name="connsiteY161" fmla="*/ 517297 h 1671185"/>
                <a:gd name="connsiteX162" fmla="*/ 1466825 w 1670533"/>
                <a:gd name="connsiteY162" fmla="*/ 501845 h 1671185"/>
                <a:gd name="connsiteX163" fmla="*/ 1467141 w 1670533"/>
                <a:gd name="connsiteY163" fmla="*/ 510760 h 1671185"/>
                <a:gd name="connsiteX164" fmla="*/ 1491117 w 1670533"/>
                <a:gd name="connsiteY164" fmla="*/ 566746 h 1671185"/>
                <a:gd name="connsiteX165" fmla="*/ 1511773 w 1670533"/>
                <a:gd name="connsiteY165" fmla="*/ 554622 h 1671185"/>
                <a:gd name="connsiteX166" fmla="*/ 1487838 w 1670533"/>
                <a:gd name="connsiteY166" fmla="*/ 498675 h 1671185"/>
                <a:gd name="connsiteX167" fmla="*/ 1484995 w 1670533"/>
                <a:gd name="connsiteY167" fmla="*/ 494634 h 1671185"/>
                <a:gd name="connsiteX168" fmla="*/ 1519357 w 1670533"/>
                <a:gd name="connsiteY168" fmla="*/ 481043 h 1671185"/>
                <a:gd name="connsiteX169" fmla="*/ 1533813 w 1670533"/>
                <a:gd name="connsiteY169" fmla="*/ 531879 h 1671185"/>
                <a:gd name="connsiteX170" fmla="*/ 1556919 w 1670533"/>
                <a:gd name="connsiteY170" fmla="*/ 525499 h 1671185"/>
                <a:gd name="connsiteX171" fmla="*/ 1541989 w 1670533"/>
                <a:gd name="connsiteY171" fmla="*/ 473158 h 1671185"/>
                <a:gd name="connsiteX172" fmla="*/ 1565253 w 1670533"/>
                <a:gd name="connsiteY172" fmla="*/ 472326 h 1671185"/>
                <a:gd name="connsiteX173" fmla="*/ 1565727 w 1670533"/>
                <a:gd name="connsiteY173" fmla="*/ 475892 h 1671185"/>
                <a:gd name="connsiteX174" fmla="*/ 1589703 w 1670533"/>
                <a:gd name="connsiteY174" fmla="*/ 543884 h 1671185"/>
                <a:gd name="connsiteX175" fmla="*/ 1612769 w 1670533"/>
                <a:gd name="connsiteY175" fmla="*/ 537505 h 1671185"/>
                <a:gd name="connsiteX176" fmla="*/ 1597326 w 1670533"/>
                <a:gd name="connsiteY176" fmla="*/ 493722 h 1671185"/>
                <a:gd name="connsiteX177" fmla="*/ 1623236 w 1670533"/>
                <a:gd name="connsiteY177" fmla="*/ 532711 h 1671185"/>
                <a:gd name="connsiteX178" fmla="*/ 1635441 w 1670533"/>
                <a:gd name="connsiteY178" fmla="*/ 624952 h 1671185"/>
                <a:gd name="connsiteX179" fmla="*/ 1603922 w 1670533"/>
                <a:gd name="connsiteY179" fmla="*/ 664336 h 1671185"/>
                <a:gd name="connsiteX180" fmla="*/ 1466351 w 1670533"/>
                <a:gd name="connsiteY180" fmla="*/ 720560 h 1671185"/>
                <a:gd name="connsiteX181" fmla="*/ 1425431 w 1670533"/>
                <a:gd name="connsiteY181" fmla="*/ 761292 h 1671185"/>
                <a:gd name="connsiteX182" fmla="*/ 1410264 w 1670533"/>
                <a:gd name="connsiteY182" fmla="*/ 832573 h 1671185"/>
                <a:gd name="connsiteX183" fmla="*/ 1423101 w 1670533"/>
                <a:gd name="connsiteY183" fmla="*/ 909282 h 1671185"/>
                <a:gd name="connsiteX184" fmla="*/ 1444984 w 1670533"/>
                <a:gd name="connsiteY184" fmla="*/ 939672 h 1671185"/>
                <a:gd name="connsiteX185" fmla="*/ 1422588 w 1670533"/>
                <a:gd name="connsiteY185" fmla="*/ 1017371 h 1671185"/>
                <a:gd name="connsiteX186" fmla="*/ 1445693 w 1670533"/>
                <a:gd name="connsiteY186" fmla="*/ 1023711 h 1671185"/>
                <a:gd name="connsiteX187" fmla="*/ 1466114 w 1670533"/>
                <a:gd name="connsiteY187" fmla="*/ 952747 h 1671185"/>
                <a:gd name="connsiteX188" fmla="*/ 1487047 w 1670533"/>
                <a:gd name="connsiteY188" fmla="*/ 963049 h 1671185"/>
                <a:gd name="connsiteX189" fmla="*/ 1485153 w 1670533"/>
                <a:gd name="connsiteY189" fmla="*/ 968398 h 1671185"/>
                <a:gd name="connsiteX190" fmla="*/ 1477332 w 1670533"/>
                <a:gd name="connsiteY190" fmla="*/ 1040352 h 1671185"/>
                <a:gd name="connsiteX191" fmla="*/ 1501267 w 1670533"/>
                <a:gd name="connsiteY191" fmla="*/ 1040352 h 1671185"/>
                <a:gd name="connsiteX192" fmla="*/ 1508534 w 1670533"/>
                <a:gd name="connsiteY192" fmla="*/ 973629 h 1671185"/>
                <a:gd name="connsiteX193" fmla="*/ 1535354 w 1670533"/>
                <a:gd name="connsiteY193" fmla="*/ 986783 h 1671185"/>
                <a:gd name="connsiteX194" fmla="*/ 1533813 w 1670533"/>
                <a:gd name="connsiteY194" fmla="*/ 989240 h 1671185"/>
                <a:gd name="connsiteX195" fmla="*/ 1509877 w 1670533"/>
                <a:gd name="connsiteY195" fmla="*/ 1053190 h 1671185"/>
                <a:gd name="connsiteX196" fmla="*/ 1532944 w 1670533"/>
                <a:gd name="connsiteY196" fmla="*/ 1059530 h 1671185"/>
                <a:gd name="connsiteX197" fmla="*/ 1556327 w 1670533"/>
                <a:gd name="connsiteY197" fmla="*/ 997124 h 1671185"/>
                <a:gd name="connsiteX198" fmla="*/ 1591046 w 1670533"/>
                <a:gd name="connsiteY198" fmla="*/ 1014162 h 1671185"/>
                <a:gd name="connsiteX199" fmla="*/ 1585673 w 1670533"/>
                <a:gd name="connsiteY199" fmla="*/ 1021215 h 1671185"/>
                <a:gd name="connsiteX200" fmla="*/ 1569717 w 1670533"/>
                <a:gd name="connsiteY200" fmla="*/ 1081163 h 1671185"/>
                <a:gd name="connsiteX201" fmla="*/ 1592822 w 1670533"/>
                <a:gd name="connsiteY201" fmla="*/ 1087543 h 1671185"/>
                <a:gd name="connsiteX202" fmla="*/ 1608779 w 1670533"/>
                <a:gd name="connsiteY202" fmla="*/ 1027594 h 1671185"/>
                <a:gd name="connsiteX203" fmla="*/ 1609056 w 1670533"/>
                <a:gd name="connsiteY203" fmla="*/ 1023038 h 1671185"/>
                <a:gd name="connsiteX204" fmla="*/ 1617786 w 1670533"/>
                <a:gd name="connsiteY204" fmla="*/ 1027317 h 1671185"/>
                <a:gd name="connsiteX205" fmla="*/ 1646618 w 1670533"/>
                <a:gd name="connsiteY205" fmla="*/ 1077717 h 1671185"/>
                <a:gd name="connsiteX206" fmla="*/ 1620352 w 1670533"/>
                <a:gd name="connsiteY206" fmla="*/ 1150661 h 1671185"/>
                <a:gd name="connsiteX207" fmla="*/ 1568610 w 1670533"/>
                <a:gd name="connsiteY207" fmla="*/ 1198208 h 1671185"/>
                <a:gd name="connsiteX208" fmla="*/ 1520463 w 1670533"/>
                <a:gd name="connsiteY208" fmla="*/ 1200110 h 1671185"/>
                <a:gd name="connsiteX209" fmla="*/ 1409554 w 1670533"/>
                <a:gd name="connsiteY209" fmla="*/ 1147333 h 1671185"/>
                <a:gd name="connsiteX210" fmla="*/ 1360616 w 1670533"/>
                <a:gd name="connsiteY210" fmla="*/ 1141944 h 1671185"/>
                <a:gd name="connsiteX211" fmla="*/ 1287071 w 1670533"/>
                <a:gd name="connsiteY211" fmla="*/ 1179387 h 1671185"/>
                <a:gd name="connsiteX212" fmla="*/ 1234382 w 1670533"/>
                <a:gd name="connsiteY212" fmla="*/ 1267587 h 1671185"/>
                <a:gd name="connsiteX213" fmla="*/ 1237502 w 1670533"/>
                <a:gd name="connsiteY213" fmla="*/ 1311092 h 1671185"/>
                <a:gd name="connsiteX214" fmla="*/ 1177781 w 1670533"/>
                <a:gd name="connsiteY214" fmla="*/ 1359709 h 1671185"/>
                <a:gd name="connsiteX215" fmla="*/ 1194727 w 1670533"/>
                <a:gd name="connsiteY215" fmla="*/ 1376667 h 1671185"/>
                <a:gd name="connsiteX216" fmla="*/ 1249194 w 1670533"/>
                <a:gd name="connsiteY216" fmla="*/ 1332330 h 1671185"/>
                <a:gd name="connsiteX217" fmla="*/ 1249510 w 1670533"/>
                <a:gd name="connsiteY217" fmla="*/ 1332766 h 1671185"/>
                <a:gd name="connsiteX218" fmla="*/ 1259226 w 1670533"/>
                <a:gd name="connsiteY218" fmla="*/ 1344573 h 1671185"/>
                <a:gd name="connsiteX219" fmla="*/ 1213171 w 1670533"/>
                <a:gd name="connsiteY219" fmla="*/ 1387127 h 1671185"/>
                <a:gd name="connsiteX220" fmla="*/ 1230076 w 1670533"/>
                <a:gd name="connsiteY220" fmla="*/ 1404086 h 1671185"/>
                <a:gd name="connsiteX221" fmla="*/ 1274432 w 1670533"/>
                <a:gd name="connsiteY221" fmla="*/ 1363077 h 1671185"/>
                <a:gd name="connsiteX222" fmla="*/ 1291771 w 1670533"/>
                <a:gd name="connsiteY222" fmla="*/ 1384116 h 1671185"/>
                <a:gd name="connsiteX223" fmla="*/ 1248956 w 1670533"/>
                <a:gd name="connsiteY223" fmla="*/ 1426987 h 1671185"/>
                <a:gd name="connsiteX224" fmla="*/ 1265900 w 1670533"/>
                <a:gd name="connsiteY224" fmla="*/ 1443946 h 1671185"/>
                <a:gd name="connsiteX225" fmla="*/ 1307096 w 1670533"/>
                <a:gd name="connsiteY225" fmla="*/ 1402699 h 1671185"/>
                <a:gd name="connsiteX226" fmla="*/ 1326332 w 1670533"/>
                <a:gd name="connsiteY226" fmla="*/ 1426037 h 1671185"/>
                <a:gd name="connsiteX227" fmla="*/ 1332731 w 1670533"/>
                <a:gd name="connsiteY227" fmla="*/ 1436339 h 1671185"/>
                <a:gd name="connsiteX228" fmla="*/ 1281660 w 1670533"/>
                <a:gd name="connsiteY228" fmla="*/ 1483767 h 1671185"/>
                <a:gd name="connsiteX229" fmla="*/ 1298604 w 1670533"/>
                <a:gd name="connsiteY229" fmla="*/ 1500725 h 1671185"/>
                <a:gd name="connsiteX230" fmla="*/ 1337588 w 1670533"/>
                <a:gd name="connsiteY230" fmla="*/ 1464510 h 1671185"/>
                <a:gd name="connsiteX231" fmla="*/ 1322896 w 1670533"/>
                <a:gd name="connsiteY231" fmla="*/ 1495930 h 1671185"/>
                <a:gd name="connsiteX232" fmla="*/ 1265624 w 1670533"/>
                <a:gd name="connsiteY232" fmla="*/ 1541061 h 1671185"/>
                <a:gd name="connsiteX233" fmla="*/ 1213409 w 1670533"/>
                <a:gd name="connsiteY233" fmla="*/ 1565468 h 1671185"/>
                <a:gd name="connsiteX234" fmla="*/ 1151397 w 1670533"/>
                <a:gd name="connsiteY234" fmla="*/ 1539198 h 1671185"/>
                <a:gd name="connsiteX235" fmla="*/ 1105184 w 1670533"/>
                <a:gd name="connsiteY235" fmla="*/ 1446561 h 1671185"/>
                <a:gd name="connsiteX236" fmla="*/ 1072520 w 1670533"/>
                <a:gd name="connsiteY236" fmla="*/ 1413357 h 1671185"/>
                <a:gd name="connsiteX237" fmla="*/ 958688 w 1670533"/>
                <a:gd name="connsiteY237" fmla="*/ 1388871 h 1671185"/>
                <a:gd name="connsiteX238" fmla="*/ 869463 w 1670533"/>
                <a:gd name="connsiteY238" fmla="*/ 1414903 h 1671185"/>
                <a:gd name="connsiteX239" fmla="*/ 834744 w 1670533"/>
                <a:gd name="connsiteY239" fmla="*/ 1459874 h 1671185"/>
                <a:gd name="connsiteX240" fmla="*/ 767322 w 1670533"/>
                <a:gd name="connsiteY240" fmla="*/ 1456110 h 1671185"/>
                <a:gd name="connsiteX241" fmla="*/ 767322 w 1670533"/>
                <a:gd name="connsiteY241" fmla="*/ 1480121 h 1671185"/>
                <a:gd name="connsiteX242" fmla="*/ 830203 w 1670533"/>
                <a:gd name="connsiteY242" fmla="*/ 1483608 h 1671185"/>
                <a:gd name="connsiteX243" fmla="*/ 826292 w 1670533"/>
                <a:gd name="connsiteY243" fmla="*/ 1510987 h 1671185"/>
                <a:gd name="connsiteX244" fmla="*/ 762464 w 1670533"/>
                <a:gd name="connsiteY244" fmla="*/ 1500804 h 1671185"/>
                <a:gd name="connsiteX245" fmla="*/ 756105 w 1670533"/>
                <a:gd name="connsiteY245" fmla="*/ 1523904 h 1671185"/>
                <a:gd name="connsiteX246" fmla="*/ 822934 w 1670533"/>
                <a:gd name="connsiteY246" fmla="*/ 1534602 h 1671185"/>
                <a:gd name="connsiteX247" fmla="*/ 819459 w 1670533"/>
                <a:gd name="connsiteY247" fmla="*/ 1558930 h 1671185"/>
                <a:gd name="connsiteX248" fmla="*/ 763294 w 1670533"/>
                <a:gd name="connsiteY248" fmla="*/ 1551957 h 1671185"/>
                <a:gd name="connsiteX249" fmla="*/ 763294 w 1670533"/>
                <a:gd name="connsiteY249" fmla="*/ 1575928 h 1671185"/>
                <a:gd name="connsiteX250" fmla="*/ 816101 w 1670533"/>
                <a:gd name="connsiteY250" fmla="*/ 1582505 h 1671185"/>
                <a:gd name="connsiteX251" fmla="*/ 814048 w 1670533"/>
                <a:gd name="connsiteY251" fmla="*/ 1596690 h 1671185"/>
                <a:gd name="connsiteX252" fmla="*/ 813139 w 1670533"/>
                <a:gd name="connsiteY252" fmla="*/ 1600058 h 1671185"/>
                <a:gd name="connsiteX253" fmla="*/ 751365 w 1670533"/>
                <a:gd name="connsiteY253" fmla="*/ 1600058 h 1671185"/>
                <a:gd name="connsiteX254" fmla="*/ 751365 w 1670533"/>
                <a:gd name="connsiteY254" fmla="*/ 1624030 h 1671185"/>
                <a:gd name="connsiteX255" fmla="*/ 801251 w 1670533"/>
                <a:gd name="connsiteY255" fmla="*/ 1624030 h 1671185"/>
                <a:gd name="connsiteX256" fmla="*/ 780751 w 1670533"/>
                <a:gd name="connsiteY256" fmla="*/ 1638056 h 1671185"/>
                <a:gd name="connsiteX257" fmla="*/ 717121 w 1670533"/>
                <a:gd name="connsiteY257" fmla="*/ 1647565 h 1671185"/>
                <a:gd name="connsiteX258" fmla="*/ 642589 w 1670533"/>
                <a:gd name="connsiteY258" fmla="*/ 1627318 h 1671185"/>
                <a:gd name="connsiteX259" fmla="*/ 615967 w 1670533"/>
                <a:gd name="connsiteY259" fmla="*/ 1576958 h 1671185"/>
                <a:gd name="connsiteX260" fmla="*/ 628725 w 1670533"/>
                <a:gd name="connsiteY260" fmla="*/ 1439231 h 1671185"/>
                <a:gd name="connsiteX261" fmla="*/ 598272 w 1670533"/>
                <a:gd name="connsiteY261" fmla="*/ 1371675 h 1671185"/>
                <a:gd name="connsiteX262" fmla="*/ 1360853 w 1670533"/>
                <a:gd name="connsiteY262" fmla="*/ 488175 h 1671185"/>
                <a:gd name="connsiteX263" fmla="*/ 1358246 w 1670533"/>
                <a:gd name="connsiteY263" fmla="*/ 490038 h 1671185"/>
                <a:gd name="connsiteX264" fmla="*/ 1355087 w 1670533"/>
                <a:gd name="connsiteY264" fmla="*/ 487660 h 1671185"/>
                <a:gd name="connsiteX265" fmla="*/ 1351966 w 1670533"/>
                <a:gd name="connsiteY265" fmla="*/ 484173 h 1671185"/>
                <a:gd name="connsiteX266" fmla="*/ 1360853 w 1670533"/>
                <a:gd name="connsiteY266" fmla="*/ 488175 h 1671185"/>
                <a:gd name="connsiteX267" fmla="*/ 631885 w 1670533"/>
                <a:gd name="connsiteY267" fmla="*/ 1647803 h 1671185"/>
                <a:gd name="connsiteX268" fmla="*/ 716212 w 1670533"/>
                <a:gd name="connsiteY268" fmla="*/ 1670705 h 1671185"/>
                <a:gd name="connsiteX269" fmla="*/ 851728 w 1670533"/>
                <a:gd name="connsiteY269" fmla="*/ 1575334 h 1671185"/>
                <a:gd name="connsiteX270" fmla="*/ 1061856 w 1670533"/>
                <a:gd name="connsiteY270" fmla="*/ 1433921 h 1671185"/>
                <a:gd name="connsiteX271" fmla="*/ 1084488 w 1670533"/>
                <a:gd name="connsiteY271" fmla="*/ 1456902 h 1671185"/>
                <a:gd name="connsiteX272" fmla="*/ 1130739 w 1670533"/>
                <a:gd name="connsiteY272" fmla="*/ 1549579 h 1671185"/>
                <a:gd name="connsiteX273" fmla="*/ 1221031 w 1670533"/>
                <a:gd name="connsiteY273" fmla="*/ 1587340 h 1671185"/>
                <a:gd name="connsiteX274" fmla="*/ 1277473 w 1670533"/>
                <a:gd name="connsiteY274" fmla="*/ 1560951 h 1671185"/>
                <a:gd name="connsiteX275" fmla="*/ 1349201 w 1670533"/>
                <a:gd name="connsiteY275" fmla="*/ 1395924 h 1671185"/>
                <a:gd name="connsiteX276" fmla="*/ 1367449 w 1670533"/>
                <a:gd name="connsiteY276" fmla="*/ 1160250 h 1671185"/>
                <a:gd name="connsiteX277" fmla="*/ 1510549 w 1670533"/>
                <a:gd name="connsiteY277" fmla="*/ 1221030 h 1671185"/>
                <a:gd name="connsiteX278" fmla="*/ 1580065 w 1670533"/>
                <a:gd name="connsiteY278" fmla="*/ 1218376 h 1671185"/>
                <a:gd name="connsiteX279" fmla="*/ 1639469 w 1670533"/>
                <a:gd name="connsiteY279" fmla="*/ 1163736 h 1671185"/>
                <a:gd name="connsiteX280" fmla="*/ 1634769 w 1670533"/>
                <a:gd name="connsiteY280" fmla="*/ 998234 h 1671185"/>
                <a:gd name="connsiteX281" fmla="*/ 1611505 w 1670533"/>
                <a:gd name="connsiteY281" fmla="*/ 982147 h 1671185"/>
                <a:gd name="connsiteX282" fmla="*/ 1440007 w 1670533"/>
                <a:gd name="connsiteY282" fmla="*/ 788949 h 1671185"/>
                <a:gd name="connsiteX283" fmla="*/ 1612651 w 1670533"/>
                <a:gd name="connsiteY283" fmla="*/ 685772 h 1671185"/>
                <a:gd name="connsiteX284" fmla="*/ 1658310 w 1670533"/>
                <a:gd name="connsiteY284" fmla="*/ 628399 h 1671185"/>
                <a:gd name="connsiteX285" fmla="*/ 1644328 w 1670533"/>
                <a:gd name="connsiteY285" fmla="*/ 523122 h 1671185"/>
                <a:gd name="connsiteX286" fmla="*/ 1536617 w 1670533"/>
                <a:gd name="connsiteY286" fmla="*/ 439241 h 1671185"/>
                <a:gd name="connsiteX287" fmla="*/ 1414056 w 1670533"/>
                <a:gd name="connsiteY287" fmla="*/ 476606 h 1671185"/>
                <a:gd name="connsiteX288" fmla="*/ 1352756 w 1670533"/>
                <a:gd name="connsiteY288" fmla="*/ 238871 h 1671185"/>
                <a:gd name="connsiteX289" fmla="*/ 1350741 w 1670533"/>
                <a:gd name="connsiteY289" fmla="*/ 154872 h 1671185"/>
                <a:gd name="connsiteX290" fmla="*/ 1269061 w 1670533"/>
                <a:gd name="connsiteY290" fmla="*/ 85176 h 1671185"/>
                <a:gd name="connsiteX291" fmla="*/ 1201322 w 1670533"/>
                <a:gd name="connsiteY291" fmla="*/ 63384 h 1671185"/>
                <a:gd name="connsiteX292" fmla="*/ 970774 w 1670533"/>
                <a:gd name="connsiteY292" fmla="*/ 224528 h 1671185"/>
                <a:gd name="connsiteX293" fmla="*/ 802120 w 1670533"/>
                <a:gd name="connsiteY293" fmla="*/ 5456 h 1671185"/>
                <a:gd name="connsiteX294" fmla="*/ 699623 w 1670533"/>
                <a:gd name="connsiteY294" fmla="*/ 2960 h 1671185"/>
                <a:gd name="connsiteX295" fmla="*/ 643774 w 1670533"/>
                <a:gd name="connsiteY295" fmla="*/ 16154 h 1671185"/>
                <a:gd name="connsiteX296" fmla="*/ 586502 w 1670533"/>
                <a:gd name="connsiteY296" fmla="*/ 112555 h 1671185"/>
                <a:gd name="connsiteX297" fmla="*/ 569874 w 1670533"/>
                <a:gd name="connsiteY297" fmla="*/ 303892 h 1671185"/>
                <a:gd name="connsiteX298" fmla="*/ 567188 w 1670533"/>
                <a:gd name="connsiteY298" fmla="*/ 306269 h 1671185"/>
                <a:gd name="connsiteX299" fmla="*/ 354414 w 1670533"/>
                <a:gd name="connsiteY299" fmla="*/ 239109 h 1671185"/>
                <a:gd name="connsiteX300" fmla="*/ 257605 w 1670533"/>
                <a:gd name="connsiteY300" fmla="*/ 243943 h 1671185"/>
                <a:gd name="connsiteX301" fmla="*/ 237501 w 1670533"/>
                <a:gd name="connsiteY301" fmla="*/ 260743 h 1671185"/>
                <a:gd name="connsiteX302" fmla="*/ 157360 w 1670533"/>
                <a:gd name="connsiteY302" fmla="*/ 433298 h 1671185"/>
                <a:gd name="connsiteX303" fmla="*/ 228653 w 1670533"/>
                <a:gd name="connsiteY303" fmla="*/ 499309 h 1671185"/>
                <a:gd name="connsiteX304" fmla="*/ 225888 w 1670533"/>
                <a:gd name="connsiteY304" fmla="*/ 683118 h 1671185"/>
                <a:gd name="connsiteX305" fmla="*/ 75600 w 1670533"/>
                <a:gd name="connsiteY305" fmla="*/ 692983 h 1671185"/>
                <a:gd name="connsiteX306" fmla="*/ 3121 w 1670533"/>
                <a:gd name="connsiteY306" fmla="*/ 755943 h 1671185"/>
                <a:gd name="connsiteX307" fmla="*/ -78 w 1670533"/>
                <a:gd name="connsiteY307" fmla="*/ 794060 h 1671185"/>
                <a:gd name="connsiteX308" fmla="*/ 7625 w 1670533"/>
                <a:gd name="connsiteY308" fmla="*/ 870848 h 1671185"/>
                <a:gd name="connsiteX309" fmla="*/ 168064 w 1670533"/>
                <a:gd name="connsiteY309" fmla="*/ 943119 h 1671185"/>
                <a:gd name="connsiteX310" fmla="*/ 277512 w 1670533"/>
                <a:gd name="connsiteY310" fmla="*/ 999106 h 1671185"/>
                <a:gd name="connsiteX311" fmla="*/ 180901 w 1670533"/>
                <a:gd name="connsiteY311" fmla="*/ 1224478 h 1671185"/>
                <a:gd name="connsiteX312" fmla="*/ 160085 w 1670533"/>
                <a:gd name="connsiteY312" fmla="*/ 1313549 h 1671185"/>
                <a:gd name="connsiteX313" fmla="*/ 207483 w 1670533"/>
                <a:gd name="connsiteY313" fmla="*/ 1381541 h 1671185"/>
                <a:gd name="connsiteX314" fmla="*/ 258988 w 1670533"/>
                <a:gd name="connsiteY314" fmla="*/ 1421599 h 1671185"/>
                <a:gd name="connsiteX315" fmla="*/ 371161 w 1670533"/>
                <a:gd name="connsiteY315" fmla="*/ 1394775 h 1671185"/>
                <a:gd name="connsiteX316" fmla="*/ 514103 w 1670533"/>
                <a:gd name="connsiteY316" fmla="*/ 1365732 h 1671185"/>
                <a:gd name="connsiteX317" fmla="*/ 605619 w 1670533"/>
                <a:gd name="connsiteY317" fmla="*/ 1429286 h 1671185"/>
                <a:gd name="connsiteX318" fmla="*/ 592940 w 1670533"/>
                <a:gd name="connsiteY318" fmla="*/ 1574818 h 1671185"/>
                <a:gd name="connsiteX319" fmla="*/ 631885 w 1670533"/>
                <a:gd name="connsiteY319" fmla="*/ 1647803 h 167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1670533" h="1671185">
                  <a:moveTo>
                    <a:pt x="598272" y="1371675"/>
                  </a:moveTo>
                  <a:cubicBezTo>
                    <a:pt x="577694" y="1356301"/>
                    <a:pt x="555694" y="1342592"/>
                    <a:pt x="533022" y="1330507"/>
                  </a:cubicBezTo>
                  <a:cubicBezTo>
                    <a:pt x="532113" y="1327655"/>
                    <a:pt x="530415" y="1325000"/>
                    <a:pt x="527611" y="1323375"/>
                  </a:cubicBezTo>
                  <a:cubicBezTo>
                    <a:pt x="551349" y="1337124"/>
                    <a:pt x="575008" y="1350873"/>
                    <a:pt x="598786" y="1364661"/>
                  </a:cubicBezTo>
                  <a:cubicBezTo>
                    <a:pt x="612136" y="1372388"/>
                    <a:pt x="624183" y="1351665"/>
                    <a:pt x="610872" y="1343939"/>
                  </a:cubicBezTo>
                  <a:cubicBezTo>
                    <a:pt x="570150" y="1320324"/>
                    <a:pt x="529507" y="1296749"/>
                    <a:pt x="488824" y="1273134"/>
                  </a:cubicBezTo>
                  <a:cubicBezTo>
                    <a:pt x="475474" y="1265368"/>
                    <a:pt x="463387" y="1286090"/>
                    <a:pt x="476738" y="1293856"/>
                  </a:cubicBezTo>
                  <a:cubicBezTo>
                    <a:pt x="493524" y="1303564"/>
                    <a:pt x="510311" y="1313311"/>
                    <a:pt x="527097" y="1323019"/>
                  </a:cubicBezTo>
                  <a:cubicBezTo>
                    <a:pt x="525676" y="1322345"/>
                    <a:pt x="524095" y="1321830"/>
                    <a:pt x="522279" y="1321711"/>
                  </a:cubicBezTo>
                  <a:cubicBezTo>
                    <a:pt x="519751" y="1321513"/>
                    <a:pt x="517223" y="1321592"/>
                    <a:pt x="514655" y="1321473"/>
                  </a:cubicBezTo>
                  <a:cubicBezTo>
                    <a:pt x="507664" y="1318105"/>
                    <a:pt x="500752" y="1314579"/>
                    <a:pt x="493683" y="1311568"/>
                  </a:cubicBezTo>
                  <a:cubicBezTo>
                    <a:pt x="484124" y="1307526"/>
                    <a:pt x="474052" y="1305466"/>
                    <a:pt x="463743" y="1305466"/>
                  </a:cubicBezTo>
                  <a:cubicBezTo>
                    <a:pt x="457503" y="1305466"/>
                    <a:pt x="451420" y="1306496"/>
                    <a:pt x="445495" y="1308002"/>
                  </a:cubicBezTo>
                  <a:cubicBezTo>
                    <a:pt x="437082" y="1294570"/>
                    <a:pt x="428630" y="1281098"/>
                    <a:pt x="420217" y="1267627"/>
                  </a:cubicBezTo>
                  <a:cubicBezTo>
                    <a:pt x="412041" y="1254591"/>
                    <a:pt x="391344" y="1266636"/>
                    <a:pt x="399559" y="1279751"/>
                  </a:cubicBezTo>
                  <a:lnTo>
                    <a:pt x="423258" y="1317591"/>
                  </a:lnTo>
                  <a:cubicBezTo>
                    <a:pt x="420296" y="1319453"/>
                    <a:pt x="417413" y="1321394"/>
                    <a:pt x="414766" y="1323692"/>
                  </a:cubicBezTo>
                  <a:lnTo>
                    <a:pt x="397347" y="1338749"/>
                  </a:lnTo>
                  <a:cubicBezTo>
                    <a:pt x="387038" y="1325277"/>
                    <a:pt x="376730" y="1311845"/>
                    <a:pt x="366421" y="1298374"/>
                  </a:cubicBezTo>
                  <a:cubicBezTo>
                    <a:pt x="357178" y="1286289"/>
                    <a:pt x="336363" y="1298215"/>
                    <a:pt x="345764" y="1310458"/>
                  </a:cubicBezTo>
                  <a:cubicBezTo>
                    <a:pt x="356942" y="1325118"/>
                    <a:pt x="368159" y="1339739"/>
                    <a:pt x="379337" y="1354360"/>
                  </a:cubicBezTo>
                  <a:lnTo>
                    <a:pt x="354058" y="1376271"/>
                  </a:lnTo>
                  <a:cubicBezTo>
                    <a:pt x="342999" y="1362760"/>
                    <a:pt x="331979" y="1349249"/>
                    <a:pt x="320920" y="1335737"/>
                  </a:cubicBezTo>
                  <a:cubicBezTo>
                    <a:pt x="311164" y="1323771"/>
                    <a:pt x="294298" y="1340809"/>
                    <a:pt x="303975" y="1352656"/>
                  </a:cubicBezTo>
                  <a:lnTo>
                    <a:pt x="336047" y="1391922"/>
                  </a:lnTo>
                  <a:lnTo>
                    <a:pt x="331071" y="1396201"/>
                  </a:lnTo>
                  <a:cubicBezTo>
                    <a:pt x="328305" y="1398578"/>
                    <a:pt x="325067" y="1400124"/>
                    <a:pt x="321907" y="1401788"/>
                  </a:cubicBezTo>
                  <a:cubicBezTo>
                    <a:pt x="320683" y="1401114"/>
                    <a:pt x="319221" y="1400639"/>
                    <a:pt x="317523" y="1400480"/>
                  </a:cubicBezTo>
                  <a:cubicBezTo>
                    <a:pt x="317286" y="1400243"/>
                    <a:pt x="317207" y="1399925"/>
                    <a:pt x="316930" y="1399648"/>
                  </a:cubicBezTo>
                  <a:cubicBezTo>
                    <a:pt x="300973" y="1385028"/>
                    <a:pt x="285016" y="1370367"/>
                    <a:pt x="269059" y="1355707"/>
                  </a:cubicBezTo>
                  <a:cubicBezTo>
                    <a:pt x="257723" y="1345286"/>
                    <a:pt x="240739" y="1362205"/>
                    <a:pt x="252154" y="1372666"/>
                  </a:cubicBezTo>
                  <a:cubicBezTo>
                    <a:pt x="264833" y="1384314"/>
                    <a:pt x="277512" y="1395963"/>
                    <a:pt x="290190" y="1407612"/>
                  </a:cubicBezTo>
                  <a:cubicBezTo>
                    <a:pt x="283357" y="1406741"/>
                    <a:pt x="276603" y="1405037"/>
                    <a:pt x="270521" y="1401471"/>
                  </a:cubicBezTo>
                  <a:cubicBezTo>
                    <a:pt x="253418" y="1391486"/>
                    <a:pt x="237737" y="1379322"/>
                    <a:pt x="223953" y="1365296"/>
                  </a:cubicBezTo>
                  <a:cubicBezTo>
                    <a:pt x="206298" y="1347387"/>
                    <a:pt x="191841" y="1326624"/>
                    <a:pt x="181019" y="1303643"/>
                  </a:cubicBezTo>
                  <a:cubicBezTo>
                    <a:pt x="171145" y="1282683"/>
                    <a:pt x="177109" y="1257523"/>
                    <a:pt x="195554" y="1242427"/>
                  </a:cubicBezTo>
                  <a:lnTo>
                    <a:pt x="300894" y="1156050"/>
                  </a:lnTo>
                  <a:cubicBezTo>
                    <a:pt x="323408" y="1137625"/>
                    <a:pt x="333282" y="1107473"/>
                    <a:pt x="326094" y="1079341"/>
                  </a:cubicBezTo>
                  <a:cubicBezTo>
                    <a:pt x="320051" y="1055845"/>
                    <a:pt x="312507" y="1032547"/>
                    <a:pt x="303501" y="1010041"/>
                  </a:cubicBezTo>
                  <a:cubicBezTo>
                    <a:pt x="302830" y="1008298"/>
                    <a:pt x="301921" y="1006594"/>
                    <a:pt x="301211" y="1004811"/>
                  </a:cubicBezTo>
                  <a:cubicBezTo>
                    <a:pt x="302238" y="1001959"/>
                    <a:pt x="302158" y="998630"/>
                    <a:pt x="300065" y="995223"/>
                  </a:cubicBezTo>
                  <a:cubicBezTo>
                    <a:pt x="297734" y="991340"/>
                    <a:pt x="294970" y="988170"/>
                    <a:pt x="292363" y="984644"/>
                  </a:cubicBezTo>
                  <a:cubicBezTo>
                    <a:pt x="286004" y="970736"/>
                    <a:pt x="279289" y="956987"/>
                    <a:pt x="271863" y="943714"/>
                  </a:cubicBezTo>
                  <a:cubicBezTo>
                    <a:pt x="264162" y="930044"/>
                    <a:pt x="252115" y="919980"/>
                    <a:pt x="238133" y="913600"/>
                  </a:cubicBezTo>
                  <a:cubicBezTo>
                    <a:pt x="240739" y="911699"/>
                    <a:pt x="242557" y="908727"/>
                    <a:pt x="242438" y="904408"/>
                  </a:cubicBezTo>
                  <a:cubicBezTo>
                    <a:pt x="241924" y="888440"/>
                    <a:pt x="241411" y="872473"/>
                    <a:pt x="240858" y="856465"/>
                  </a:cubicBezTo>
                  <a:cubicBezTo>
                    <a:pt x="240384" y="841092"/>
                    <a:pt x="216448" y="841013"/>
                    <a:pt x="216962" y="856465"/>
                  </a:cubicBezTo>
                  <a:cubicBezTo>
                    <a:pt x="217475" y="872473"/>
                    <a:pt x="217989" y="888440"/>
                    <a:pt x="218502" y="904408"/>
                  </a:cubicBezTo>
                  <a:cubicBezTo>
                    <a:pt x="218542" y="905755"/>
                    <a:pt x="218976" y="906785"/>
                    <a:pt x="219331" y="907895"/>
                  </a:cubicBezTo>
                  <a:cubicBezTo>
                    <a:pt x="215263" y="907221"/>
                    <a:pt x="211195" y="906270"/>
                    <a:pt x="207008" y="906270"/>
                  </a:cubicBezTo>
                  <a:lnTo>
                    <a:pt x="182401" y="906270"/>
                  </a:lnTo>
                  <a:cubicBezTo>
                    <a:pt x="184021" y="903854"/>
                    <a:pt x="184929" y="900842"/>
                    <a:pt x="184376" y="897276"/>
                  </a:cubicBezTo>
                  <a:cubicBezTo>
                    <a:pt x="181691" y="881269"/>
                    <a:pt x="179044" y="865301"/>
                    <a:pt x="176398" y="849294"/>
                  </a:cubicBezTo>
                  <a:cubicBezTo>
                    <a:pt x="173830" y="834118"/>
                    <a:pt x="150764" y="840577"/>
                    <a:pt x="153291" y="855673"/>
                  </a:cubicBezTo>
                  <a:cubicBezTo>
                    <a:pt x="155938" y="871680"/>
                    <a:pt x="158584" y="887688"/>
                    <a:pt x="161270" y="903655"/>
                  </a:cubicBezTo>
                  <a:cubicBezTo>
                    <a:pt x="161467" y="904725"/>
                    <a:pt x="161902" y="905399"/>
                    <a:pt x="162258" y="906270"/>
                  </a:cubicBezTo>
                  <a:lnTo>
                    <a:pt x="121062" y="906270"/>
                  </a:lnTo>
                  <a:lnTo>
                    <a:pt x="117388" y="856465"/>
                  </a:lnTo>
                  <a:cubicBezTo>
                    <a:pt x="116282" y="841171"/>
                    <a:pt x="92347" y="841013"/>
                    <a:pt x="93492" y="856465"/>
                  </a:cubicBezTo>
                  <a:lnTo>
                    <a:pt x="97166" y="906270"/>
                  </a:lnTo>
                  <a:lnTo>
                    <a:pt x="80814" y="906270"/>
                  </a:lnTo>
                  <a:cubicBezTo>
                    <a:pt x="79391" y="906270"/>
                    <a:pt x="78049" y="906033"/>
                    <a:pt x="76666" y="905914"/>
                  </a:cubicBezTo>
                  <a:cubicBezTo>
                    <a:pt x="76627" y="905676"/>
                    <a:pt x="76706" y="905478"/>
                    <a:pt x="76666" y="905240"/>
                  </a:cubicBezTo>
                  <a:cubicBezTo>
                    <a:pt x="74020" y="889272"/>
                    <a:pt x="71334" y="873265"/>
                    <a:pt x="68688" y="857297"/>
                  </a:cubicBezTo>
                  <a:cubicBezTo>
                    <a:pt x="66160" y="842122"/>
                    <a:pt x="43093" y="848540"/>
                    <a:pt x="45621" y="863676"/>
                  </a:cubicBezTo>
                  <a:lnTo>
                    <a:pt x="51151" y="896801"/>
                  </a:lnTo>
                  <a:cubicBezTo>
                    <a:pt x="40842" y="889590"/>
                    <a:pt x="33179" y="878812"/>
                    <a:pt x="30178" y="865697"/>
                  </a:cubicBezTo>
                  <a:cubicBezTo>
                    <a:pt x="24924" y="842320"/>
                    <a:pt x="22475" y="818388"/>
                    <a:pt x="23029" y="794575"/>
                  </a:cubicBezTo>
                  <a:cubicBezTo>
                    <a:pt x="23305" y="782807"/>
                    <a:pt x="24293" y="770960"/>
                    <a:pt x="25991" y="759272"/>
                  </a:cubicBezTo>
                  <a:cubicBezTo>
                    <a:pt x="29585" y="734785"/>
                    <a:pt x="50637" y="716638"/>
                    <a:pt x="76113" y="716163"/>
                  </a:cubicBezTo>
                  <a:lnTo>
                    <a:pt x="201242" y="713745"/>
                  </a:lnTo>
                  <a:cubicBezTo>
                    <a:pt x="222729" y="713310"/>
                    <a:pt x="242833" y="703919"/>
                    <a:pt x="256301" y="688030"/>
                  </a:cubicBezTo>
                  <a:cubicBezTo>
                    <a:pt x="270402" y="671349"/>
                    <a:pt x="282330" y="652925"/>
                    <a:pt x="291691" y="633272"/>
                  </a:cubicBezTo>
                  <a:cubicBezTo>
                    <a:pt x="301289" y="613025"/>
                    <a:pt x="308162" y="591510"/>
                    <a:pt x="312072" y="569362"/>
                  </a:cubicBezTo>
                  <a:cubicBezTo>
                    <a:pt x="314916" y="553315"/>
                    <a:pt x="311519" y="536871"/>
                    <a:pt x="303777" y="522449"/>
                  </a:cubicBezTo>
                  <a:cubicBezTo>
                    <a:pt x="304015" y="520467"/>
                    <a:pt x="303975" y="518526"/>
                    <a:pt x="303383" y="516624"/>
                  </a:cubicBezTo>
                  <a:cubicBezTo>
                    <a:pt x="306345" y="516109"/>
                    <a:pt x="309031" y="514326"/>
                    <a:pt x="310808" y="510760"/>
                  </a:cubicBezTo>
                  <a:cubicBezTo>
                    <a:pt x="313494" y="505451"/>
                    <a:pt x="316140" y="500102"/>
                    <a:pt x="318787" y="494752"/>
                  </a:cubicBezTo>
                  <a:cubicBezTo>
                    <a:pt x="325659" y="481003"/>
                    <a:pt x="305002" y="468840"/>
                    <a:pt x="298169" y="482668"/>
                  </a:cubicBezTo>
                  <a:cubicBezTo>
                    <a:pt x="295443" y="487977"/>
                    <a:pt x="292837" y="493326"/>
                    <a:pt x="290151" y="498636"/>
                  </a:cubicBezTo>
                  <a:cubicBezTo>
                    <a:pt x="289479" y="500023"/>
                    <a:pt x="289242" y="501370"/>
                    <a:pt x="289045" y="502717"/>
                  </a:cubicBezTo>
                  <a:cubicBezTo>
                    <a:pt x="288690" y="502400"/>
                    <a:pt x="288492" y="502004"/>
                    <a:pt x="288176" y="501686"/>
                  </a:cubicBezTo>
                  <a:cubicBezTo>
                    <a:pt x="287188" y="500815"/>
                    <a:pt x="283476" y="497922"/>
                    <a:pt x="275181" y="491662"/>
                  </a:cubicBezTo>
                  <a:lnTo>
                    <a:pt x="275221" y="491622"/>
                  </a:lnTo>
                  <a:cubicBezTo>
                    <a:pt x="279171" y="478309"/>
                    <a:pt x="283160" y="464956"/>
                    <a:pt x="287109" y="451643"/>
                  </a:cubicBezTo>
                  <a:cubicBezTo>
                    <a:pt x="291573" y="436825"/>
                    <a:pt x="268467" y="430485"/>
                    <a:pt x="264043" y="445264"/>
                  </a:cubicBezTo>
                  <a:cubicBezTo>
                    <a:pt x="260962" y="455606"/>
                    <a:pt x="257882" y="465947"/>
                    <a:pt x="254761" y="476328"/>
                  </a:cubicBezTo>
                  <a:cubicBezTo>
                    <a:pt x="247731" y="471019"/>
                    <a:pt x="239476" y="464877"/>
                    <a:pt x="229522" y="457389"/>
                  </a:cubicBezTo>
                  <a:cubicBezTo>
                    <a:pt x="228811" y="456834"/>
                    <a:pt x="227982" y="456239"/>
                    <a:pt x="227271" y="455685"/>
                  </a:cubicBezTo>
                  <a:cubicBezTo>
                    <a:pt x="231300" y="439677"/>
                    <a:pt x="235368" y="423749"/>
                    <a:pt x="239397" y="407742"/>
                  </a:cubicBezTo>
                  <a:cubicBezTo>
                    <a:pt x="243228" y="392765"/>
                    <a:pt x="220161" y="386425"/>
                    <a:pt x="216330" y="401363"/>
                  </a:cubicBezTo>
                  <a:cubicBezTo>
                    <a:pt x="213051" y="414280"/>
                    <a:pt x="209773" y="427197"/>
                    <a:pt x="206495" y="440113"/>
                  </a:cubicBezTo>
                  <a:cubicBezTo>
                    <a:pt x="200136" y="435359"/>
                    <a:pt x="194211" y="430881"/>
                    <a:pt x="189037" y="426998"/>
                  </a:cubicBezTo>
                  <a:cubicBezTo>
                    <a:pt x="189708" y="425968"/>
                    <a:pt x="190380" y="424898"/>
                    <a:pt x="190735" y="423512"/>
                  </a:cubicBezTo>
                  <a:cubicBezTo>
                    <a:pt x="194962" y="407583"/>
                    <a:pt x="199228" y="391655"/>
                    <a:pt x="203454" y="375767"/>
                  </a:cubicBezTo>
                  <a:cubicBezTo>
                    <a:pt x="206811" y="363127"/>
                    <a:pt x="190973" y="356827"/>
                    <a:pt x="183547" y="364038"/>
                  </a:cubicBezTo>
                  <a:cubicBezTo>
                    <a:pt x="193856" y="327388"/>
                    <a:pt x="216725" y="307933"/>
                    <a:pt x="252193" y="278652"/>
                  </a:cubicBezTo>
                  <a:cubicBezTo>
                    <a:pt x="258632" y="273343"/>
                    <a:pt x="265425" y="267716"/>
                    <a:pt x="273088" y="261179"/>
                  </a:cubicBezTo>
                  <a:cubicBezTo>
                    <a:pt x="291059" y="243943"/>
                    <a:pt x="320604" y="242319"/>
                    <a:pt x="340392" y="257494"/>
                  </a:cubicBezTo>
                  <a:lnTo>
                    <a:pt x="446996" y="339512"/>
                  </a:lnTo>
                  <a:cubicBezTo>
                    <a:pt x="460070" y="349537"/>
                    <a:pt x="476185" y="355084"/>
                    <a:pt x="492497" y="355084"/>
                  </a:cubicBezTo>
                  <a:cubicBezTo>
                    <a:pt x="492853" y="355559"/>
                    <a:pt x="495302" y="355044"/>
                    <a:pt x="496724" y="354965"/>
                  </a:cubicBezTo>
                  <a:cubicBezTo>
                    <a:pt x="518210" y="353697"/>
                    <a:pt x="550125" y="347516"/>
                    <a:pt x="580419" y="325248"/>
                  </a:cubicBezTo>
                  <a:cubicBezTo>
                    <a:pt x="583698" y="324971"/>
                    <a:pt x="586857" y="323386"/>
                    <a:pt x="588951" y="319503"/>
                  </a:cubicBezTo>
                  <a:cubicBezTo>
                    <a:pt x="589464" y="318552"/>
                    <a:pt x="589820" y="317561"/>
                    <a:pt x="590334" y="316611"/>
                  </a:cubicBezTo>
                  <a:cubicBezTo>
                    <a:pt x="613044" y="296601"/>
                    <a:pt x="626197" y="273660"/>
                    <a:pt x="632872" y="256900"/>
                  </a:cubicBezTo>
                  <a:cubicBezTo>
                    <a:pt x="633662" y="254958"/>
                    <a:pt x="634175" y="252937"/>
                    <a:pt x="634768" y="250917"/>
                  </a:cubicBezTo>
                  <a:cubicBezTo>
                    <a:pt x="652819" y="252264"/>
                    <a:pt x="670434" y="246360"/>
                    <a:pt x="683547" y="232968"/>
                  </a:cubicBezTo>
                  <a:cubicBezTo>
                    <a:pt x="694409" y="221953"/>
                    <a:pt x="677465" y="204994"/>
                    <a:pt x="666603" y="216009"/>
                  </a:cubicBezTo>
                  <a:cubicBezTo>
                    <a:pt x="658743" y="224092"/>
                    <a:pt x="648671" y="227936"/>
                    <a:pt x="637888" y="227381"/>
                  </a:cubicBezTo>
                  <a:cubicBezTo>
                    <a:pt x="637770" y="224092"/>
                    <a:pt x="637454" y="220764"/>
                    <a:pt x="636901" y="217436"/>
                  </a:cubicBezTo>
                  <a:lnTo>
                    <a:pt x="634413" y="202458"/>
                  </a:lnTo>
                  <a:cubicBezTo>
                    <a:pt x="648118" y="202300"/>
                    <a:pt x="661824" y="202102"/>
                    <a:pt x="675569" y="201864"/>
                  </a:cubicBezTo>
                  <a:cubicBezTo>
                    <a:pt x="690934" y="201705"/>
                    <a:pt x="691012" y="177694"/>
                    <a:pt x="675569" y="177893"/>
                  </a:cubicBezTo>
                  <a:cubicBezTo>
                    <a:pt x="660481" y="178130"/>
                    <a:pt x="645472" y="178328"/>
                    <a:pt x="630463" y="178566"/>
                  </a:cubicBezTo>
                  <a:lnTo>
                    <a:pt x="625802" y="150553"/>
                  </a:lnTo>
                  <a:cubicBezTo>
                    <a:pt x="642391" y="149364"/>
                    <a:pt x="659019" y="148176"/>
                    <a:pt x="675687" y="147026"/>
                  </a:cubicBezTo>
                  <a:cubicBezTo>
                    <a:pt x="690934" y="145957"/>
                    <a:pt x="691092" y="121986"/>
                    <a:pt x="675687" y="123055"/>
                  </a:cubicBezTo>
                  <a:cubicBezTo>
                    <a:pt x="657716" y="124284"/>
                    <a:pt x="639784" y="125551"/>
                    <a:pt x="621813" y="126819"/>
                  </a:cubicBezTo>
                  <a:lnTo>
                    <a:pt x="617389" y="100153"/>
                  </a:lnTo>
                  <a:cubicBezTo>
                    <a:pt x="633899" y="97816"/>
                    <a:pt x="650409" y="95557"/>
                    <a:pt x="666880" y="93259"/>
                  </a:cubicBezTo>
                  <a:cubicBezTo>
                    <a:pt x="682047" y="91199"/>
                    <a:pt x="675569" y="68059"/>
                    <a:pt x="660481" y="70160"/>
                  </a:cubicBezTo>
                  <a:cubicBezTo>
                    <a:pt x="646064" y="72140"/>
                    <a:pt x="631648" y="74121"/>
                    <a:pt x="617231" y="76143"/>
                  </a:cubicBezTo>
                  <a:cubicBezTo>
                    <a:pt x="620944" y="58748"/>
                    <a:pt x="633386" y="44088"/>
                    <a:pt x="651120" y="38145"/>
                  </a:cubicBezTo>
                  <a:cubicBezTo>
                    <a:pt x="667946" y="32479"/>
                    <a:pt x="685325" y="28358"/>
                    <a:pt x="702862" y="25901"/>
                  </a:cubicBezTo>
                  <a:cubicBezTo>
                    <a:pt x="734184" y="21464"/>
                    <a:pt x="766532" y="22295"/>
                    <a:pt x="798012" y="28278"/>
                  </a:cubicBezTo>
                  <a:cubicBezTo>
                    <a:pt x="821118" y="32637"/>
                    <a:pt x="838181" y="51101"/>
                    <a:pt x="840591" y="74121"/>
                  </a:cubicBezTo>
                  <a:lnTo>
                    <a:pt x="849516" y="161132"/>
                  </a:lnTo>
                  <a:cubicBezTo>
                    <a:pt x="851294" y="178724"/>
                    <a:pt x="858917" y="194811"/>
                    <a:pt x="870924" y="206421"/>
                  </a:cubicBezTo>
                  <a:cubicBezTo>
                    <a:pt x="886604" y="221596"/>
                    <a:pt x="904537" y="233324"/>
                    <a:pt x="924206" y="241368"/>
                  </a:cubicBezTo>
                  <a:cubicBezTo>
                    <a:pt x="961927" y="256781"/>
                    <a:pt x="1005019" y="257454"/>
                    <a:pt x="1046807" y="243784"/>
                  </a:cubicBezTo>
                  <a:cubicBezTo>
                    <a:pt x="1058815" y="239822"/>
                    <a:pt x="1069439" y="232769"/>
                    <a:pt x="1078010" y="223617"/>
                  </a:cubicBezTo>
                  <a:cubicBezTo>
                    <a:pt x="1088003" y="229085"/>
                    <a:pt x="1097997" y="234592"/>
                    <a:pt x="1107989" y="240060"/>
                  </a:cubicBezTo>
                  <a:cubicBezTo>
                    <a:pt x="1121458" y="247469"/>
                    <a:pt x="1133584" y="226747"/>
                    <a:pt x="1120036" y="219338"/>
                  </a:cubicBezTo>
                  <a:cubicBezTo>
                    <a:pt x="1110675" y="214187"/>
                    <a:pt x="1101314" y="209075"/>
                    <a:pt x="1091913" y="203924"/>
                  </a:cubicBezTo>
                  <a:lnTo>
                    <a:pt x="1099971" y="190215"/>
                  </a:lnTo>
                  <a:lnTo>
                    <a:pt x="1147724" y="212483"/>
                  </a:lnTo>
                  <a:cubicBezTo>
                    <a:pt x="1161627" y="218941"/>
                    <a:pt x="1173792" y="198298"/>
                    <a:pt x="1159811" y="191761"/>
                  </a:cubicBezTo>
                  <a:cubicBezTo>
                    <a:pt x="1143932" y="184351"/>
                    <a:pt x="1128014" y="176942"/>
                    <a:pt x="1112137" y="169572"/>
                  </a:cubicBezTo>
                  <a:lnTo>
                    <a:pt x="1128449" y="141836"/>
                  </a:lnTo>
                  <a:cubicBezTo>
                    <a:pt x="1148316" y="153089"/>
                    <a:pt x="1168183" y="164302"/>
                    <a:pt x="1188051" y="175515"/>
                  </a:cubicBezTo>
                  <a:cubicBezTo>
                    <a:pt x="1201520" y="183123"/>
                    <a:pt x="1213567" y="162400"/>
                    <a:pt x="1200137" y="154832"/>
                  </a:cubicBezTo>
                  <a:cubicBezTo>
                    <a:pt x="1180309" y="143619"/>
                    <a:pt x="1160482" y="132406"/>
                    <a:pt x="1140614" y="121193"/>
                  </a:cubicBezTo>
                  <a:lnTo>
                    <a:pt x="1146380" y="111367"/>
                  </a:lnTo>
                  <a:cubicBezTo>
                    <a:pt x="1149541" y="106057"/>
                    <a:pt x="1153727" y="101699"/>
                    <a:pt x="1158309" y="97855"/>
                  </a:cubicBezTo>
                  <a:cubicBezTo>
                    <a:pt x="1158151" y="101540"/>
                    <a:pt x="1159731" y="105146"/>
                    <a:pt x="1164313" y="107166"/>
                  </a:cubicBezTo>
                  <a:cubicBezTo>
                    <a:pt x="1188287" y="117785"/>
                    <a:pt x="1212224" y="128444"/>
                    <a:pt x="1236199" y="139063"/>
                  </a:cubicBezTo>
                  <a:cubicBezTo>
                    <a:pt x="1250141" y="145283"/>
                    <a:pt x="1262346" y="124640"/>
                    <a:pt x="1248245" y="118380"/>
                  </a:cubicBezTo>
                  <a:cubicBezTo>
                    <a:pt x="1225100" y="108117"/>
                    <a:pt x="1201994" y="97816"/>
                    <a:pt x="1178848" y="87554"/>
                  </a:cubicBezTo>
                  <a:cubicBezTo>
                    <a:pt x="1185010" y="86048"/>
                    <a:pt x="1191329" y="85295"/>
                    <a:pt x="1197768" y="86286"/>
                  </a:cubicBezTo>
                  <a:cubicBezTo>
                    <a:pt x="1219096" y="89614"/>
                    <a:pt x="1239635" y="96191"/>
                    <a:pt x="1258633" y="105859"/>
                  </a:cubicBezTo>
                  <a:cubicBezTo>
                    <a:pt x="1287585" y="120519"/>
                    <a:pt x="1312271" y="141598"/>
                    <a:pt x="1332099" y="168621"/>
                  </a:cubicBezTo>
                  <a:cubicBezTo>
                    <a:pt x="1344304" y="185223"/>
                    <a:pt x="1344777" y="208402"/>
                    <a:pt x="1333284" y="226351"/>
                  </a:cubicBezTo>
                  <a:lnTo>
                    <a:pt x="1273169" y="320335"/>
                  </a:lnTo>
                  <a:cubicBezTo>
                    <a:pt x="1260845" y="339591"/>
                    <a:pt x="1257962" y="363206"/>
                    <a:pt x="1265308" y="385078"/>
                  </a:cubicBezTo>
                  <a:cubicBezTo>
                    <a:pt x="1273840" y="410555"/>
                    <a:pt x="1285689" y="434764"/>
                    <a:pt x="1300461" y="457111"/>
                  </a:cubicBezTo>
                  <a:cubicBezTo>
                    <a:pt x="1311639" y="473951"/>
                    <a:pt x="1324475" y="489720"/>
                    <a:pt x="1338695" y="503984"/>
                  </a:cubicBezTo>
                  <a:cubicBezTo>
                    <a:pt x="1356074" y="521418"/>
                    <a:pt x="1381313" y="528828"/>
                    <a:pt x="1405209" y="524548"/>
                  </a:cubicBezTo>
                  <a:cubicBezTo>
                    <a:pt x="1413148" y="545786"/>
                    <a:pt x="1421087" y="566984"/>
                    <a:pt x="1429026" y="588222"/>
                  </a:cubicBezTo>
                  <a:cubicBezTo>
                    <a:pt x="1434398" y="602565"/>
                    <a:pt x="1457583" y="596345"/>
                    <a:pt x="1452133" y="581843"/>
                  </a:cubicBezTo>
                  <a:cubicBezTo>
                    <a:pt x="1444153" y="560526"/>
                    <a:pt x="1436175" y="539209"/>
                    <a:pt x="1428196" y="517892"/>
                  </a:cubicBezTo>
                  <a:cubicBezTo>
                    <a:pt x="1428118" y="517654"/>
                    <a:pt x="1427920" y="517536"/>
                    <a:pt x="1427841" y="517297"/>
                  </a:cubicBezTo>
                  <a:lnTo>
                    <a:pt x="1466825" y="501845"/>
                  </a:lnTo>
                  <a:cubicBezTo>
                    <a:pt x="1465917" y="504579"/>
                    <a:pt x="1465798" y="507590"/>
                    <a:pt x="1467141" y="510760"/>
                  </a:cubicBezTo>
                  <a:cubicBezTo>
                    <a:pt x="1475120" y="529422"/>
                    <a:pt x="1483137" y="548084"/>
                    <a:pt x="1491117" y="566746"/>
                  </a:cubicBezTo>
                  <a:cubicBezTo>
                    <a:pt x="1497159" y="580892"/>
                    <a:pt x="1517817" y="568688"/>
                    <a:pt x="1511773" y="554622"/>
                  </a:cubicBezTo>
                  <a:cubicBezTo>
                    <a:pt x="1503795" y="535999"/>
                    <a:pt x="1495816" y="517337"/>
                    <a:pt x="1487838" y="498675"/>
                  </a:cubicBezTo>
                  <a:cubicBezTo>
                    <a:pt x="1487087" y="496932"/>
                    <a:pt x="1486140" y="495624"/>
                    <a:pt x="1484995" y="494634"/>
                  </a:cubicBezTo>
                  <a:lnTo>
                    <a:pt x="1519357" y="481043"/>
                  </a:lnTo>
                  <a:lnTo>
                    <a:pt x="1533813" y="531879"/>
                  </a:lnTo>
                  <a:cubicBezTo>
                    <a:pt x="1538039" y="546697"/>
                    <a:pt x="1561145" y="540398"/>
                    <a:pt x="1556919" y="525499"/>
                  </a:cubicBezTo>
                  <a:cubicBezTo>
                    <a:pt x="1551942" y="508066"/>
                    <a:pt x="1546966" y="490632"/>
                    <a:pt x="1541989" y="473158"/>
                  </a:cubicBezTo>
                  <a:cubicBezTo>
                    <a:pt x="1549692" y="471296"/>
                    <a:pt x="1557591" y="470702"/>
                    <a:pt x="1565253" y="472326"/>
                  </a:cubicBezTo>
                  <a:cubicBezTo>
                    <a:pt x="1565293" y="473476"/>
                    <a:pt x="1565293" y="474624"/>
                    <a:pt x="1565727" y="475892"/>
                  </a:cubicBezTo>
                  <a:cubicBezTo>
                    <a:pt x="1573745" y="498556"/>
                    <a:pt x="1581723" y="521220"/>
                    <a:pt x="1589703" y="543884"/>
                  </a:cubicBezTo>
                  <a:cubicBezTo>
                    <a:pt x="1594798" y="558347"/>
                    <a:pt x="1617944" y="552086"/>
                    <a:pt x="1612769" y="537505"/>
                  </a:cubicBezTo>
                  <a:cubicBezTo>
                    <a:pt x="1607634" y="522924"/>
                    <a:pt x="1602499" y="508304"/>
                    <a:pt x="1597326" y="493722"/>
                  </a:cubicBezTo>
                  <a:cubicBezTo>
                    <a:pt x="1607792" y="505609"/>
                    <a:pt x="1616759" y="518486"/>
                    <a:pt x="1623236" y="532711"/>
                  </a:cubicBezTo>
                  <a:cubicBezTo>
                    <a:pt x="1639429" y="568292"/>
                    <a:pt x="1638798" y="602486"/>
                    <a:pt x="1635441" y="624952"/>
                  </a:cubicBezTo>
                  <a:cubicBezTo>
                    <a:pt x="1632834" y="642346"/>
                    <a:pt x="1620747" y="657442"/>
                    <a:pt x="1603922" y="664336"/>
                  </a:cubicBezTo>
                  <a:lnTo>
                    <a:pt x="1466351" y="720560"/>
                  </a:lnTo>
                  <a:cubicBezTo>
                    <a:pt x="1447550" y="728247"/>
                    <a:pt x="1433015" y="742710"/>
                    <a:pt x="1425431" y="761292"/>
                  </a:cubicBezTo>
                  <a:cubicBezTo>
                    <a:pt x="1416032" y="784115"/>
                    <a:pt x="1410937" y="808086"/>
                    <a:pt x="1410264" y="832573"/>
                  </a:cubicBezTo>
                  <a:cubicBezTo>
                    <a:pt x="1409554" y="858803"/>
                    <a:pt x="1413898" y="884597"/>
                    <a:pt x="1423101" y="909282"/>
                  </a:cubicBezTo>
                  <a:cubicBezTo>
                    <a:pt x="1427565" y="921248"/>
                    <a:pt x="1435267" y="931510"/>
                    <a:pt x="1444984" y="939672"/>
                  </a:cubicBezTo>
                  <a:cubicBezTo>
                    <a:pt x="1437517" y="965545"/>
                    <a:pt x="1430092" y="991459"/>
                    <a:pt x="1422588" y="1017371"/>
                  </a:cubicBezTo>
                  <a:cubicBezTo>
                    <a:pt x="1418362" y="1032230"/>
                    <a:pt x="1441428" y="1038570"/>
                    <a:pt x="1445693" y="1023711"/>
                  </a:cubicBezTo>
                  <a:cubicBezTo>
                    <a:pt x="1452487" y="1000057"/>
                    <a:pt x="1459320" y="976402"/>
                    <a:pt x="1466114" y="952747"/>
                  </a:cubicBezTo>
                  <a:lnTo>
                    <a:pt x="1487047" y="963049"/>
                  </a:lnTo>
                  <a:cubicBezTo>
                    <a:pt x="1486100" y="964555"/>
                    <a:pt x="1485389" y="966298"/>
                    <a:pt x="1485153" y="968398"/>
                  </a:cubicBezTo>
                  <a:lnTo>
                    <a:pt x="1477332" y="1040352"/>
                  </a:lnTo>
                  <a:cubicBezTo>
                    <a:pt x="1475634" y="1055687"/>
                    <a:pt x="1499609" y="1055568"/>
                    <a:pt x="1501267" y="1040352"/>
                  </a:cubicBezTo>
                  <a:lnTo>
                    <a:pt x="1508534" y="973629"/>
                  </a:lnTo>
                  <a:lnTo>
                    <a:pt x="1535354" y="986783"/>
                  </a:lnTo>
                  <a:cubicBezTo>
                    <a:pt x="1534801" y="987575"/>
                    <a:pt x="1534208" y="988249"/>
                    <a:pt x="1533813" y="989240"/>
                  </a:cubicBezTo>
                  <a:cubicBezTo>
                    <a:pt x="1525835" y="1010556"/>
                    <a:pt x="1517857" y="1031873"/>
                    <a:pt x="1509877" y="1053190"/>
                  </a:cubicBezTo>
                  <a:cubicBezTo>
                    <a:pt x="1504466" y="1067652"/>
                    <a:pt x="1527612" y="1073913"/>
                    <a:pt x="1532944" y="1059530"/>
                  </a:cubicBezTo>
                  <a:cubicBezTo>
                    <a:pt x="1540765" y="1038768"/>
                    <a:pt x="1548545" y="1017926"/>
                    <a:pt x="1556327" y="997124"/>
                  </a:cubicBezTo>
                  <a:lnTo>
                    <a:pt x="1591046" y="1014162"/>
                  </a:lnTo>
                  <a:cubicBezTo>
                    <a:pt x="1588596" y="1015509"/>
                    <a:pt x="1586622" y="1017728"/>
                    <a:pt x="1585673" y="1021215"/>
                  </a:cubicBezTo>
                  <a:cubicBezTo>
                    <a:pt x="1580381" y="1041184"/>
                    <a:pt x="1575049" y="1061155"/>
                    <a:pt x="1569717" y="1081163"/>
                  </a:cubicBezTo>
                  <a:cubicBezTo>
                    <a:pt x="1565727" y="1096101"/>
                    <a:pt x="1588834" y="1102441"/>
                    <a:pt x="1592822" y="1087543"/>
                  </a:cubicBezTo>
                  <a:cubicBezTo>
                    <a:pt x="1598155" y="1067573"/>
                    <a:pt x="1603448" y="1047564"/>
                    <a:pt x="1608779" y="1027594"/>
                  </a:cubicBezTo>
                  <a:cubicBezTo>
                    <a:pt x="1609214" y="1025930"/>
                    <a:pt x="1609214" y="1024464"/>
                    <a:pt x="1609056" y="1023038"/>
                  </a:cubicBezTo>
                  <a:lnTo>
                    <a:pt x="1617786" y="1027317"/>
                  </a:lnTo>
                  <a:cubicBezTo>
                    <a:pt x="1637099" y="1036826"/>
                    <a:pt x="1648672" y="1057073"/>
                    <a:pt x="1646618" y="1077717"/>
                  </a:cubicBezTo>
                  <a:cubicBezTo>
                    <a:pt x="1643933" y="1104580"/>
                    <a:pt x="1635085" y="1129107"/>
                    <a:pt x="1620352" y="1150661"/>
                  </a:cubicBezTo>
                  <a:cubicBezTo>
                    <a:pt x="1607002" y="1170235"/>
                    <a:pt x="1589623" y="1186242"/>
                    <a:pt x="1568610" y="1198208"/>
                  </a:cubicBezTo>
                  <a:cubicBezTo>
                    <a:pt x="1553918" y="1206608"/>
                    <a:pt x="1535670" y="1207321"/>
                    <a:pt x="1520463" y="1200110"/>
                  </a:cubicBezTo>
                  <a:lnTo>
                    <a:pt x="1409554" y="1147333"/>
                  </a:lnTo>
                  <a:cubicBezTo>
                    <a:pt x="1394229" y="1140043"/>
                    <a:pt x="1377008" y="1138101"/>
                    <a:pt x="1360616" y="1141944"/>
                  </a:cubicBezTo>
                  <a:cubicBezTo>
                    <a:pt x="1332731" y="1148442"/>
                    <a:pt x="1307965" y="1161042"/>
                    <a:pt x="1287071" y="1179387"/>
                  </a:cubicBezTo>
                  <a:cubicBezTo>
                    <a:pt x="1254485" y="1208034"/>
                    <a:pt x="1240425" y="1243140"/>
                    <a:pt x="1234382" y="1267587"/>
                  </a:cubicBezTo>
                  <a:cubicBezTo>
                    <a:pt x="1230788" y="1282088"/>
                    <a:pt x="1232288" y="1297184"/>
                    <a:pt x="1237502" y="1311092"/>
                  </a:cubicBezTo>
                  <a:cubicBezTo>
                    <a:pt x="1217595" y="1327298"/>
                    <a:pt x="1197688" y="1343503"/>
                    <a:pt x="1177781" y="1359709"/>
                  </a:cubicBezTo>
                  <a:cubicBezTo>
                    <a:pt x="1165813" y="1369456"/>
                    <a:pt x="1182877" y="1386335"/>
                    <a:pt x="1194727" y="1376667"/>
                  </a:cubicBezTo>
                  <a:cubicBezTo>
                    <a:pt x="1212895" y="1361888"/>
                    <a:pt x="1231024" y="1347109"/>
                    <a:pt x="1249194" y="1332330"/>
                  </a:cubicBezTo>
                  <a:cubicBezTo>
                    <a:pt x="1249312" y="1332449"/>
                    <a:pt x="1249390" y="1332647"/>
                    <a:pt x="1249510" y="1332766"/>
                  </a:cubicBezTo>
                  <a:lnTo>
                    <a:pt x="1259226" y="1344573"/>
                  </a:lnTo>
                  <a:cubicBezTo>
                    <a:pt x="1243861" y="1358758"/>
                    <a:pt x="1228496" y="1372943"/>
                    <a:pt x="1213171" y="1387127"/>
                  </a:cubicBezTo>
                  <a:cubicBezTo>
                    <a:pt x="1201836" y="1397588"/>
                    <a:pt x="1218780" y="1414507"/>
                    <a:pt x="1230076" y="1404086"/>
                  </a:cubicBezTo>
                  <a:cubicBezTo>
                    <a:pt x="1244888" y="1390416"/>
                    <a:pt x="1259660" y="1376747"/>
                    <a:pt x="1274432" y="1363077"/>
                  </a:cubicBezTo>
                  <a:lnTo>
                    <a:pt x="1291771" y="1384116"/>
                  </a:lnTo>
                  <a:cubicBezTo>
                    <a:pt x="1277513" y="1398420"/>
                    <a:pt x="1263215" y="1412684"/>
                    <a:pt x="1248956" y="1426987"/>
                  </a:cubicBezTo>
                  <a:cubicBezTo>
                    <a:pt x="1238055" y="1437884"/>
                    <a:pt x="1254960" y="1454882"/>
                    <a:pt x="1265900" y="1443946"/>
                  </a:cubicBezTo>
                  <a:cubicBezTo>
                    <a:pt x="1279606" y="1430197"/>
                    <a:pt x="1293351" y="1416448"/>
                    <a:pt x="1307096" y="1402699"/>
                  </a:cubicBezTo>
                  <a:lnTo>
                    <a:pt x="1326332" y="1426037"/>
                  </a:lnTo>
                  <a:cubicBezTo>
                    <a:pt x="1328939" y="1429286"/>
                    <a:pt x="1330993" y="1432773"/>
                    <a:pt x="1332731" y="1436339"/>
                  </a:cubicBezTo>
                  <a:cubicBezTo>
                    <a:pt x="1315707" y="1452148"/>
                    <a:pt x="1298684" y="1467957"/>
                    <a:pt x="1281660" y="1483767"/>
                  </a:cubicBezTo>
                  <a:cubicBezTo>
                    <a:pt x="1270324" y="1494267"/>
                    <a:pt x="1287309" y="1511185"/>
                    <a:pt x="1298604" y="1500725"/>
                  </a:cubicBezTo>
                  <a:cubicBezTo>
                    <a:pt x="1311599" y="1488640"/>
                    <a:pt x="1324595" y="1476555"/>
                    <a:pt x="1337588" y="1464510"/>
                  </a:cubicBezTo>
                  <a:cubicBezTo>
                    <a:pt x="1336404" y="1475921"/>
                    <a:pt x="1331586" y="1487055"/>
                    <a:pt x="1322896" y="1495930"/>
                  </a:cubicBezTo>
                  <a:cubicBezTo>
                    <a:pt x="1305753" y="1513444"/>
                    <a:pt x="1286479" y="1528619"/>
                    <a:pt x="1265624" y="1541061"/>
                  </a:cubicBezTo>
                  <a:cubicBezTo>
                    <a:pt x="1249154" y="1550926"/>
                    <a:pt x="1231577" y="1559128"/>
                    <a:pt x="1213409" y="1565468"/>
                  </a:cubicBezTo>
                  <a:cubicBezTo>
                    <a:pt x="1190105" y="1573551"/>
                    <a:pt x="1162654" y="1561783"/>
                    <a:pt x="1151397" y="1539198"/>
                  </a:cubicBezTo>
                  <a:lnTo>
                    <a:pt x="1105184" y="1446561"/>
                  </a:lnTo>
                  <a:cubicBezTo>
                    <a:pt x="1098075" y="1432258"/>
                    <a:pt x="1086740" y="1420807"/>
                    <a:pt x="1072520" y="1413357"/>
                  </a:cubicBezTo>
                  <a:cubicBezTo>
                    <a:pt x="1048585" y="1400837"/>
                    <a:pt x="1008534" y="1385780"/>
                    <a:pt x="958688" y="1388871"/>
                  </a:cubicBezTo>
                  <a:cubicBezTo>
                    <a:pt x="927406" y="1390892"/>
                    <a:pt x="897388" y="1399648"/>
                    <a:pt x="869463" y="1414903"/>
                  </a:cubicBezTo>
                  <a:cubicBezTo>
                    <a:pt x="852360" y="1424253"/>
                    <a:pt x="840116" y="1440736"/>
                    <a:pt x="834744" y="1459874"/>
                  </a:cubicBezTo>
                  <a:cubicBezTo>
                    <a:pt x="812270" y="1458646"/>
                    <a:pt x="789796" y="1457378"/>
                    <a:pt x="767322" y="1456110"/>
                  </a:cubicBezTo>
                  <a:cubicBezTo>
                    <a:pt x="751879" y="1455278"/>
                    <a:pt x="751997" y="1479249"/>
                    <a:pt x="767322" y="1480121"/>
                  </a:cubicBezTo>
                  <a:cubicBezTo>
                    <a:pt x="788295" y="1481270"/>
                    <a:pt x="809229" y="1482459"/>
                    <a:pt x="830203" y="1483608"/>
                  </a:cubicBezTo>
                  <a:lnTo>
                    <a:pt x="826292" y="1510987"/>
                  </a:lnTo>
                  <a:cubicBezTo>
                    <a:pt x="805042" y="1507619"/>
                    <a:pt x="783714" y="1504212"/>
                    <a:pt x="762464" y="1500804"/>
                  </a:cubicBezTo>
                  <a:cubicBezTo>
                    <a:pt x="747415" y="1498387"/>
                    <a:pt x="740938" y="1521487"/>
                    <a:pt x="756105" y="1523904"/>
                  </a:cubicBezTo>
                  <a:cubicBezTo>
                    <a:pt x="778381" y="1527470"/>
                    <a:pt x="800658" y="1531036"/>
                    <a:pt x="822934" y="1534602"/>
                  </a:cubicBezTo>
                  <a:lnTo>
                    <a:pt x="819459" y="1558930"/>
                  </a:lnTo>
                  <a:cubicBezTo>
                    <a:pt x="800737" y="1556593"/>
                    <a:pt x="782015" y="1554294"/>
                    <a:pt x="763294" y="1551957"/>
                  </a:cubicBezTo>
                  <a:cubicBezTo>
                    <a:pt x="748087" y="1550015"/>
                    <a:pt x="748245" y="1574026"/>
                    <a:pt x="763294" y="1575928"/>
                  </a:cubicBezTo>
                  <a:cubicBezTo>
                    <a:pt x="780909" y="1578107"/>
                    <a:pt x="798525" y="1580326"/>
                    <a:pt x="816101" y="1582505"/>
                  </a:cubicBezTo>
                  <a:lnTo>
                    <a:pt x="814048" y="1596690"/>
                  </a:lnTo>
                  <a:cubicBezTo>
                    <a:pt x="813889" y="1597879"/>
                    <a:pt x="813376" y="1598909"/>
                    <a:pt x="813139" y="1600058"/>
                  </a:cubicBezTo>
                  <a:lnTo>
                    <a:pt x="751365" y="1600058"/>
                  </a:lnTo>
                  <a:cubicBezTo>
                    <a:pt x="735961" y="1600058"/>
                    <a:pt x="735961" y="1624030"/>
                    <a:pt x="751365" y="1624030"/>
                  </a:cubicBezTo>
                  <a:lnTo>
                    <a:pt x="801251" y="1624030"/>
                  </a:lnTo>
                  <a:cubicBezTo>
                    <a:pt x="795721" y="1630250"/>
                    <a:pt x="788849" y="1635282"/>
                    <a:pt x="780751" y="1638056"/>
                  </a:cubicBezTo>
                  <a:cubicBezTo>
                    <a:pt x="760133" y="1645188"/>
                    <a:pt x="739121" y="1648437"/>
                    <a:pt x="717121" y="1647565"/>
                  </a:cubicBezTo>
                  <a:cubicBezTo>
                    <a:pt x="691210" y="1646496"/>
                    <a:pt x="666090" y="1639720"/>
                    <a:pt x="642589" y="1627318"/>
                  </a:cubicBezTo>
                  <a:cubicBezTo>
                    <a:pt x="624499" y="1617730"/>
                    <a:pt x="613993" y="1597958"/>
                    <a:pt x="615967" y="1576958"/>
                  </a:cubicBezTo>
                  <a:lnTo>
                    <a:pt x="628725" y="1439231"/>
                  </a:lnTo>
                  <a:cubicBezTo>
                    <a:pt x="631134" y="1412961"/>
                    <a:pt x="619759" y="1387722"/>
                    <a:pt x="598272" y="1371675"/>
                  </a:cubicBezTo>
                  <a:close/>
                  <a:moveTo>
                    <a:pt x="1360853" y="488175"/>
                  </a:moveTo>
                  <a:cubicBezTo>
                    <a:pt x="1359866" y="488690"/>
                    <a:pt x="1359036" y="489284"/>
                    <a:pt x="1358246" y="490038"/>
                  </a:cubicBezTo>
                  <a:cubicBezTo>
                    <a:pt x="1357259" y="489166"/>
                    <a:pt x="1356034" y="488611"/>
                    <a:pt x="1355087" y="487660"/>
                  </a:cubicBezTo>
                  <a:cubicBezTo>
                    <a:pt x="1353980" y="486550"/>
                    <a:pt x="1353071" y="485283"/>
                    <a:pt x="1351966" y="484173"/>
                  </a:cubicBezTo>
                  <a:cubicBezTo>
                    <a:pt x="1354889" y="485679"/>
                    <a:pt x="1357891" y="486868"/>
                    <a:pt x="1360853" y="488175"/>
                  </a:cubicBezTo>
                  <a:close/>
                  <a:moveTo>
                    <a:pt x="631885" y="1647803"/>
                  </a:moveTo>
                  <a:cubicBezTo>
                    <a:pt x="658427" y="1661829"/>
                    <a:pt x="686786" y="1669516"/>
                    <a:pt x="716212" y="1670705"/>
                  </a:cubicBezTo>
                  <a:cubicBezTo>
                    <a:pt x="802633" y="1674112"/>
                    <a:pt x="838101" y="1657946"/>
                    <a:pt x="851728" y="1575334"/>
                  </a:cubicBezTo>
                  <a:cubicBezTo>
                    <a:pt x="869739" y="1466570"/>
                    <a:pt x="935305" y="1367792"/>
                    <a:pt x="1061856" y="1433921"/>
                  </a:cubicBezTo>
                  <a:cubicBezTo>
                    <a:pt x="1071730" y="1439072"/>
                    <a:pt x="1079551" y="1447037"/>
                    <a:pt x="1084488" y="1456902"/>
                  </a:cubicBezTo>
                  <a:lnTo>
                    <a:pt x="1130739" y="1549579"/>
                  </a:lnTo>
                  <a:cubicBezTo>
                    <a:pt x="1147053" y="1582228"/>
                    <a:pt x="1187024" y="1599147"/>
                    <a:pt x="1221031" y="1587340"/>
                  </a:cubicBezTo>
                  <a:cubicBezTo>
                    <a:pt x="1240662" y="1580485"/>
                    <a:pt x="1259660" y="1571609"/>
                    <a:pt x="1277473" y="1560951"/>
                  </a:cubicBezTo>
                  <a:cubicBezTo>
                    <a:pt x="1345922" y="1520060"/>
                    <a:pt x="1390634" y="1471682"/>
                    <a:pt x="1349201" y="1395924"/>
                  </a:cubicBezTo>
                  <a:cubicBezTo>
                    <a:pt x="1320881" y="1344137"/>
                    <a:pt x="1246151" y="1166154"/>
                    <a:pt x="1367449" y="1160250"/>
                  </a:cubicBezTo>
                  <a:cubicBezTo>
                    <a:pt x="1412160" y="1158071"/>
                    <a:pt x="1471762" y="1202567"/>
                    <a:pt x="1510549" y="1221030"/>
                  </a:cubicBezTo>
                  <a:cubicBezTo>
                    <a:pt x="1532471" y="1231451"/>
                    <a:pt x="1558894" y="1230461"/>
                    <a:pt x="1580065" y="1218376"/>
                  </a:cubicBezTo>
                  <a:cubicBezTo>
                    <a:pt x="1604159" y="1204587"/>
                    <a:pt x="1624144" y="1186242"/>
                    <a:pt x="1639469" y="1163736"/>
                  </a:cubicBezTo>
                  <a:cubicBezTo>
                    <a:pt x="1679836" y="1104541"/>
                    <a:pt x="1683075" y="1039917"/>
                    <a:pt x="1634769" y="998234"/>
                  </a:cubicBezTo>
                  <a:cubicBezTo>
                    <a:pt x="1628054" y="992410"/>
                    <a:pt x="1620274" y="987021"/>
                    <a:pt x="1611505" y="982147"/>
                  </a:cubicBezTo>
                  <a:cubicBezTo>
                    <a:pt x="1535630" y="940306"/>
                    <a:pt x="1406236" y="901317"/>
                    <a:pt x="1440007" y="788949"/>
                  </a:cubicBezTo>
                  <a:cubicBezTo>
                    <a:pt x="1458886" y="725989"/>
                    <a:pt x="1555892" y="708951"/>
                    <a:pt x="1612651" y="685772"/>
                  </a:cubicBezTo>
                  <a:cubicBezTo>
                    <a:pt x="1637021" y="675787"/>
                    <a:pt x="1654478" y="653797"/>
                    <a:pt x="1658310" y="628399"/>
                  </a:cubicBezTo>
                  <a:cubicBezTo>
                    <a:pt x="1662141" y="602843"/>
                    <a:pt x="1662773" y="563854"/>
                    <a:pt x="1644328" y="523122"/>
                  </a:cubicBezTo>
                  <a:cubicBezTo>
                    <a:pt x="1625448" y="481638"/>
                    <a:pt x="1585753" y="440153"/>
                    <a:pt x="1536617" y="439241"/>
                  </a:cubicBezTo>
                  <a:cubicBezTo>
                    <a:pt x="1492854" y="438449"/>
                    <a:pt x="1459162" y="478428"/>
                    <a:pt x="1414056" y="476606"/>
                  </a:cubicBezTo>
                  <a:cubicBezTo>
                    <a:pt x="1276999" y="471098"/>
                    <a:pt x="1300461" y="320652"/>
                    <a:pt x="1352756" y="238871"/>
                  </a:cubicBezTo>
                  <a:cubicBezTo>
                    <a:pt x="1369385" y="212879"/>
                    <a:pt x="1368554" y="179160"/>
                    <a:pt x="1350741" y="154872"/>
                  </a:cubicBezTo>
                  <a:cubicBezTo>
                    <a:pt x="1328741" y="124957"/>
                    <a:pt x="1301291" y="101501"/>
                    <a:pt x="1269061" y="85176"/>
                  </a:cubicBezTo>
                  <a:cubicBezTo>
                    <a:pt x="1247889" y="74439"/>
                    <a:pt x="1225060" y="67148"/>
                    <a:pt x="1201322" y="63384"/>
                  </a:cubicBezTo>
                  <a:cubicBezTo>
                    <a:pt x="1081881" y="44603"/>
                    <a:pt x="1093217" y="253967"/>
                    <a:pt x="970774" y="224528"/>
                  </a:cubicBezTo>
                  <a:cubicBezTo>
                    <a:pt x="868238" y="199883"/>
                    <a:pt x="894189" y="22930"/>
                    <a:pt x="802120" y="5456"/>
                  </a:cubicBezTo>
                  <a:cubicBezTo>
                    <a:pt x="768231" y="-923"/>
                    <a:pt x="733433" y="-1795"/>
                    <a:pt x="699623" y="2960"/>
                  </a:cubicBezTo>
                  <a:cubicBezTo>
                    <a:pt x="680744" y="5614"/>
                    <a:pt x="661982" y="10052"/>
                    <a:pt x="643774" y="16154"/>
                  </a:cubicBezTo>
                  <a:cubicBezTo>
                    <a:pt x="596298" y="32083"/>
                    <a:pt x="580537" y="66990"/>
                    <a:pt x="586502" y="112555"/>
                  </a:cubicBezTo>
                  <a:cubicBezTo>
                    <a:pt x="595705" y="182370"/>
                    <a:pt x="604039" y="237643"/>
                    <a:pt x="569874" y="303892"/>
                  </a:cubicBezTo>
                  <a:cubicBezTo>
                    <a:pt x="568886" y="304645"/>
                    <a:pt x="568254" y="305516"/>
                    <a:pt x="567188" y="306269"/>
                  </a:cubicBezTo>
                  <a:cubicBezTo>
                    <a:pt x="495381" y="359521"/>
                    <a:pt x="408920" y="280990"/>
                    <a:pt x="354414" y="239109"/>
                  </a:cubicBezTo>
                  <a:cubicBezTo>
                    <a:pt x="325857" y="217158"/>
                    <a:pt x="282686" y="219932"/>
                    <a:pt x="257605" y="243943"/>
                  </a:cubicBezTo>
                  <a:cubicBezTo>
                    <a:pt x="250614" y="249966"/>
                    <a:pt x="243899" y="255473"/>
                    <a:pt x="237501" y="260743"/>
                  </a:cubicBezTo>
                  <a:cubicBezTo>
                    <a:pt x="191328" y="298899"/>
                    <a:pt x="132437" y="367842"/>
                    <a:pt x="157360" y="433298"/>
                  </a:cubicBezTo>
                  <a:cubicBezTo>
                    <a:pt x="171855" y="471494"/>
                    <a:pt x="200096" y="478508"/>
                    <a:pt x="228653" y="499309"/>
                  </a:cubicBezTo>
                  <a:cubicBezTo>
                    <a:pt x="287505" y="542181"/>
                    <a:pt x="291771" y="643336"/>
                    <a:pt x="225888" y="683118"/>
                  </a:cubicBezTo>
                  <a:cubicBezTo>
                    <a:pt x="188998" y="705425"/>
                    <a:pt x="117467" y="692151"/>
                    <a:pt x="75600" y="692983"/>
                  </a:cubicBezTo>
                  <a:cubicBezTo>
                    <a:pt x="38827" y="693697"/>
                    <a:pt x="8335" y="720164"/>
                    <a:pt x="3121" y="755943"/>
                  </a:cubicBezTo>
                  <a:cubicBezTo>
                    <a:pt x="1305" y="768543"/>
                    <a:pt x="238" y="781341"/>
                    <a:pt x="-78" y="794060"/>
                  </a:cubicBezTo>
                  <a:cubicBezTo>
                    <a:pt x="-670" y="819735"/>
                    <a:pt x="1936" y="845569"/>
                    <a:pt x="7625" y="870848"/>
                  </a:cubicBezTo>
                  <a:cubicBezTo>
                    <a:pt x="25201" y="948746"/>
                    <a:pt x="106448" y="937731"/>
                    <a:pt x="168064" y="943119"/>
                  </a:cubicBezTo>
                  <a:cubicBezTo>
                    <a:pt x="212815" y="947042"/>
                    <a:pt x="251799" y="960672"/>
                    <a:pt x="277512" y="999106"/>
                  </a:cubicBezTo>
                  <a:cubicBezTo>
                    <a:pt x="352557" y="1111118"/>
                    <a:pt x="258632" y="1160765"/>
                    <a:pt x="180901" y="1224478"/>
                  </a:cubicBezTo>
                  <a:cubicBezTo>
                    <a:pt x="154239" y="1246349"/>
                    <a:pt x="145669" y="1282960"/>
                    <a:pt x="160085" y="1313549"/>
                  </a:cubicBezTo>
                  <a:cubicBezTo>
                    <a:pt x="172053" y="1338867"/>
                    <a:pt x="188050" y="1361769"/>
                    <a:pt x="207483" y="1381541"/>
                  </a:cubicBezTo>
                  <a:cubicBezTo>
                    <a:pt x="222689" y="1397033"/>
                    <a:pt x="239989" y="1410465"/>
                    <a:pt x="258988" y="1421599"/>
                  </a:cubicBezTo>
                  <a:cubicBezTo>
                    <a:pt x="313376" y="1453337"/>
                    <a:pt x="332571" y="1428374"/>
                    <a:pt x="371161" y="1394775"/>
                  </a:cubicBezTo>
                  <a:cubicBezTo>
                    <a:pt x="415753" y="1355984"/>
                    <a:pt x="459319" y="1349565"/>
                    <a:pt x="514103" y="1365732"/>
                  </a:cubicBezTo>
                  <a:cubicBezTo>
                    <a:pt x="554746" y="1377737"/>
                    <a:pt x="597641" y="1381818"/>
                    <a:pt x="605619" y="1429286"/>
                  </a:cubicBezTo>
                  <a:cubicBezTo>
                    <a:pt x="612966" y="1473504"/>
                    <a:pt x="597087" y="1530164"/>
                    <a:pt x="592940" y="1574818"/>
                  </a:cubicBezTo>
                  <a:cubicBezTo>
                    <a:pt x="590136" y="1605169"/>
                    <a:pt x="605421" y="1633816"/>
                    <a:pt x="631885" y="1647803"/>
                  </a:cubicBezTo>
                  <a:close/>
                </a:path>
              </a:pathLst>
            </a:custGeom>
            <a:solidFill>
              <a:schemeClr val="bg1"/>
            </a:solidFill>
            <a:ln w="39496" cap="flat">
              <a:noFill/>
              <a:prstDash val="solid"/>
              <a:round/>
            </a:ln>
          </p:spPr>
          <p:txBody>
            <a:bodyPr rtlCol="0" anchor="ctr"/>
            <a:lstStyle/>
            <a:p>
              <a:endParaRPr lang="en-LT"/>
            </a:p>
          </p:txBody>
        </p:sp>
        <p:sp>
          <p:nvSpPr>
            <p:cNvPr id="102" name="Freeform 101">
              <a:extLst>
                <a:ext uri="{FF2B5EF4-FFF2-40B4-BE49-F238E27FC236}">
                  <a16:creationId xmlns:a16="http://schemas.microsoft.com/office/drawing/2014/main" id="{C6964565-40CA-1E48-9325-1F2BF3EA0D8D}"/>
                </a:ext>
              </a:extLst>
            </p:cNvPr>
            <p:cNvSpPr/>
            <p:nvPr/>
          </p:nvSpPr>
          <p:spPr>
            <a:xfrm>
              <a:off x="9295685" y="1747020"/>
              <a:ext cx="526284" cy="523195"/>
            </a:xfrm>
            <a:custGeom>
              <a:avLst/>
              <a:gdLst>
                <a:gd name="connsiteX0" fmla="*/ 186398 w 975245"/>
                <a:gd name="connsiteY0" fmla="*/ 834306 h 969519"/>
                <a:gd name="connsiteX1" fmla="*/ 26195 w 975245"/>
                <a:gd name="connsiteY1" fmla="*/ 563170 h 969519"/>
                <a:gd name="connsiteX2" fmla="*/ 86390 w 975245"/>
                <a:gd name="connsiteY2" fmla="*/ 234027 h 969519"/>
                <a:gd name="connsiteX3" fmla="*/ 472440 w 975245"/>
                <a:gd name="connsiteY3" fmla="*/ 23117 h 969519"/>
                <a:gd name="connsiteX4" fmla="*/ 604520 w 975245"/>
                <a:gd name="connsiteY4" fmla="*/ 35955 h 969519"/>
                <a:gd name="connsiteX5" fmla="*/ 951625 w 975245"/>
                <a:gd name="connsiteY5" fmla="*/ 467838 h 969519"/>
                <a:gd name="connsiteX6" fmla="*/ 913431 w 975245"/>
                <a:gd name="connsiteY6" fmla="*/ 652083 h 969519"/>
                <a:gd name="connsiteX7" fmla="*/ 610800 w 975245"/>
                <a:gd name="connsiteY7" fmla="*/ 936849 h 969519"/>
                <a:gd name="connsiteX8" fmla="*/ 525367 w 975245"/>
                <a:gd name="connsiteY8" fmla="*/ 944337 h 969519"/>
                <a:gd name="connsiteX9" fmla="*/ 495664 w 975245"/>
                <a:gd name="connsiteY9" fmla="*/ 944059 h 969519"/>
                <a:gd name="connsiteX10" fmla="*/ 465646 w 975245"/>
                <a:gd name="connsiteY10" fmla="*/ 943743 h 969519"/>
                <a:gd name="connsiteX11" fmla="*/ 416985 w 975245"/>
                <a:gd name="connsiteY11" fmla="*/ 945566 h 969519"/>
                <a:gd name="connsiteX12" fmla="*/ 186398 w 975245"/>
                <a:gd name="connsiteY12" fmla="*/ 834306 h 969519"/>
                <a:gd name="connsiteX13" fmla="*/ 419038 w 975245"/>
                <a:gd name="connsiteY13" fmla="*/ 968626 h 969519"/>
                <a:gd name="connsiteX14" fmla="*/ 465646 w 975245"/>
                <a:gd name="connsiteY14" fmla="*/ 966922 h 969519"/>
                <a:gd name="connsiteX15" fmla="*/ 495308 w 975245"/>
                <a:gd name="connsiteY15" fmla="*/ 967239 h 969519"/>
                <a:gd name="connsiteX16" fmla="*/ 525367 w 975245"/>
                <a:gd name="connsiteY16" fmla="*/ 967516 h 969519"/>
                <a:gd name="connsiteX17" fmla="*/ 615855 w 975245"/>
                <a:gd name="connsiteY17" fmla="*/ 959433 h 969519"/>
                <a:gd name="connsiteX18" fmla="*/ 934601 w 975245"/>
                <a:gd name="connsiteY18" fmla="*/ 661354 h 969519"/>
                <a:gd name="connsiteX19" fmla="*/ 974731 w 975245"/>
                <a:gd name="connsiteY19" fmla="*/ 468829 h 969519"/>
                <a:gd name="connsiteX20" fmla="*/ 608746 w 975245"/>
                <a:gd name="connsiteY20" fmla="*/ 13172 h 969519"/>
                <a:gd name="connsiteX21" fmla="*/ 472440 w 975245"/>
                <a:gd name="connsiteY21" fmla="*/ -62 h 969519"/>
                <a:gd name="connsiteX22" fmla="*/ 66285 w 975245"/>
                <a:gd name="connsiteY22" fmla="*/ 222497 h 969519"/>
                <a:gd name="connsiteX23" fmla="*/ 3168 w 975245"/>
                <a:gd name="connsiteY23" fmla="*/ 565468 h 969519"/>
                <a:gd name="connsiteX24" fmla="*/ 169809 w 975245"/>
                <a:gd name="connsiteY24" fmla="*/ 850432 h 969519"/>
                <a:gd name="connsiteX25" fmla="*/ 400356 w 975245"/>
                <a:gd name="connsiteY25" fmla="*/ 969458 h 969519"/>
                <a:gd name="connsiteX26" fmla="*/ 419038 w 975245"/>
                <a:gd name="connsiteY26" fmla="*/ 968626 h 969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75245" h="969519">
                  <a:moveTo>
                    <a:pt x="186398" y="834306"/>
                  </a:moveTo>
                  <a:cubicBezTo>
                    <a:pt x="114591" y="760370"/>
                    <a:pt x="37018" y="672369"/>
                    <a:pt x="26195" y="563170"/>
                  </a:cubicBezTo>
                  <a:cubicBezTo>
                    <a:pt x="14188" y="441926"/>
                    <a:pt x="36070" y="321949"/>
                    <a:pt x="86390" y="234027"/>
                  </a:cubicBezTo>
                  <a:cubicBezTo>
                    <a:pt x="185964" y="59728"/>
                    <a:pt x="351340" y="23117"/>
                    <a:pt x="472440" y="23117"/>
                  </a:cubicBezTo>
                  <a:cubicBezTo>
                    <a:pt x="514583" y="23117"/>
                    <a:pt x="559018" y="27436"/>
                    <a:pt x="604520" y="35955"/>
                  </a:cubicBezTo>
                  <a:cubicBezTo>
                    <a:pt x="804496" y="73438"/>
                    <a:pt x="960236" y="267191"/>
                    <a:pt x="951625" y="467838"/>
                  </a:cubicBezTo>
                  <a:cubicBezTo>
                    <a:pt x="948544" y="539991"/>
                    <a:pt x="936024" y="600296"/>
                    <a:pt x="913431" y="652083"/>
                  </a:cubicBezTo>
                  <a:cubicBezTo>
                    <a:pt x="841940" y="815960"/>
                    <a:pt x="745763" y="906458"/>
                    <a:pt x="610800" y="936849"/>
                  </a:cubicBezTo>
                  <a:cubicBezTo>
                    <a:pt x="581374" y="943465"/>
                    <a:pt x="551080" y="944337"/>
                    <a:pt x="525367" y="944337"/>
                  </a:cubicBezTo>
                  <a:cubicBezTo>
                    <a:pt x="515452" y="944337"/>
                    <a:pt x="505578" y="944218"/>
                    <a:pt x="495664" y="944059"/>
                  </a:cubicBezTo>
                  <a:cubicBezTo>
                    <a:pt x="485671" y="943901"/>
                    <a:pt x="475639" y="943743"/>
                    <a:pt x="465646" y="943743"/>
                  </a:cubicBezTo>
                  <a:cubicBezTo>
                    <a:pt x="446569" y="943743"/>
                    <a:pt x="431086" y="944337"/>
                    <a:pt x="416985" y="945566"/>
                  </a:cubicBezTo>
                  <a:cubicBezTo>
                    <a:pt x="340636" y="952222"/>
                    <a:pt x="264248" y="914501"/>
                    <a:pt x="186398" y="834306"/>
                  </a:cubicBezTo>
                  <a:close/>
                  <a:moveTo>
                    <a:pt x="419038" y="968626"/>
                  </a:moveTo>
                  <a:cubicBezTo>
                    <a:pt x="432429" y="967476"/>
                    <a:pt x="447240" y="966922"/>
                    <a:pt x="465646" y="966922"/>
                  </a:cubicBezTo>
                  <a:cubicBezTo>
                    <a:pt x="475521" y="966922"/>
                    <a:pt x="485395" y="967080"/>
                    <a:pt x="495308" y="967239"/>
                  </a:cubicBezTo>
                  <a:cubicBezTo>
                    <a:pt x="505342" y="967357"/>
                    <a:pt x="515334" y="967516"/>
                    <a:pt x="525367" y="967516"/>
                  </a:cubicBezTo>
                  <a:cubicBezTo>
                    <a:pt x="552383" y="967516"/>
                    <a:pt x="584218" y="966565"/>
                    <a:pt x="615855" y="959433"/>
                  </a:cubicBezTo>
                  <a:cubicBezTo>
                    <a:pt x="758600" y="927300"/>
                    <a:pt x="859912" y="832602"/>
                    <a:pt x="934601" y="661354"/>
                  </a:cubicBezTo>
                  <a:cubicBezTo>
                    <a:pt x="958418" y="606873"/>
                    <a:pt x="971532" y="543913"/>
                    <a:pt x="974731" y="468829"/>
                  </a:cubicBezTo>
                  <a:cubicBezTo>
                    <a:pt x="983776" y="257127"/>
                    <a:pt x="819585" y="52715"/>
                    <a:pt x="608746" y="13172"/>
                  </a:cubicBezTo>
                  <a:cubicBezTo>
                    <a:pt x="561901" y="4415"/>
                    <a:pt x="516045" y="-62"/>
                    <a:pt x="472440" y="-62"/>
                  </a:cubicBezTo>
                  <a:cubicBezTo>
                    <a:pt x="289961" y="-62"/>
                    <a:pt x="149507" y="76924"/>
                    <a:pt x="66285" y="222497"/>
                  </a:cubicBezTo>
                  <a:cubicBezTo>
                    <a:pt x="13675" y="314500"/>
                    <a:pt x="-9313" y="439509"/>
                    <a:pt x="3168" y="565468"/>
                  </a:cubicBezTo>
                  <a:cubicBezTo>
                    <a:pt x="14741" y="682076"/>
                    <a:pt x="95237" y="773684"/>
                    <a:pt x="169809" y="850432"/>
                  </a:cubicBezTo>
                  <a:cubicBezTo>
                    <a:pt x="246513" y="929399"/>
                    <a:pt x="324086" y="969458"/>
                    <a:pt x="400356" y="969458"/>
                  </a:cubicBezTo>
                  <a:cubicBezTo>
                    <a:pt x="406518" y="969458"/>
                    <a:pt x="412720" y="969180"/>
                    <a:pt x="419038" y="968626"/>
                  </a:cubicBezTo>
                  <a:close/>
                </a:path>
              </a:pathLst>
            </a:custGeom>
            <a:solidFill>
              <a:schemeClr val="bg1"/>
            </a:solidFill>
            <a:ln w="39496" cap="flat">
              <a:noFill/>
              <a:prstDash val="solid"/>
              <a:round/>
            </a:ln>
          </p:spPr>
          <p:txBody>
            <a:bodyPr rtlCol="0" anchor="ctr"/>
            <a:lstStyle/>
            <a:p>
              <a:endParaRPr lang="en-LT"/>
            </a:p>
          </p:txBody>
        </p:sp>
        <p:sp>
          <p:nvSpPr>
            <p:cNvPr id="103" name="Freeform 102">
              <a:extLst>
                <a:ext uri="{FF2B5EF4-FFF2-40B4-BE49-F238E27FC236}">
                  <a16:creationId xmlns:a16="http://schemas.microsoft.com/office/drawing/2014/main" id="{9807B64C-68C2-4241-9BA3-AA94249607BC}"/>
                </a:ext>
              </a:extLst>
            </p:cNvPr>
            <p:cNvSpPr/>
            <p:nvPr/>
          </p:nvSpPr>
          <p:spPr>
            <a:xfrm>
              <a:off x="9335519" y="1786619"/>
              <a:ext cx="446628" cy="443996"/>
            </a:xfrm>
            <a:custGeom>
              <a:avLst/>
              <a:gdLst>
                <a:gd name="connsiteX0" fmla="*/ 163456 w 827635"/>
                <a:gd name="connsiteY0" fmla="*/ 699868 h 822758"/>
                <a:gd name="connsiteX1" fmla="*/ 33035 w 827635"/>
                <a:gd name="connsiteY1" fmla="*/ 476199 h 822758"/>
                <a:gd name="connsiteX2" fmla="*/ 81973 w 827635"/>
                <a:gd name="connsiteY2" fmla="*/ 204429 h 822758"/>
                <a:gd name="connsiteX3" fmla="*/ 395940 w 827635"/>
                <a:gd name="connsiteY3" fmla="*/ 30527 h 822758"/>
                <a:gd name="connsiteX4" fmla="*/ 503531 w 827635"/>
                <a:gd name="connsiteY4" fmla="*/ 41146 h 822758"/>
                <a:gd name="connsiteX5" fmla="*/ 785781 w 827635"/>
                <a:gd name="connsiteY5" fmla="*/ 397271 h 822758"/>
                <a:gd name="connsiteX6" fmla="*/ 754736 w 827635"/>
                <a:gd name="connsiteY6" fmla="*/ 549382 h 822758"/>
                <a:gd name="connsiteX7" fmla="*/ 508587 w 827635"/>
                <a:gd name="connsiteY7" fmla="*/ 784342 h 822758"/>
                <a:gd name="connsiteX8" fmla="*/ 439190 w 827635"/>
                <a:gd name="connsiteY8" fmla="*/ 790563 h 822758"/>
                <a:gd name="connsiteX9" fmla="*/ 414938 w 827635"/>
                <a:gd name="connsiteY9" fmla="*/ 790325 h 822758"/>
                <a:gd name="connsiteX10" fmla="*/ 390370 w 827635"/>
                <a:gd name="connsiteY10" fmla="*/ 790048 h 822758"/>
                <a:gd name="connsiteX11" fmla="*/ 350478 w 827635"/>
                <a:gd name="connsiteY11" fmla="*/ 791554 h 822758"/>
                <a:gd name="connsiteX12" fmla="*/ 163456 w 827635"/>
                <a:gd name="connsiteY12" fmla="*/ 699868 h 822758"/>
                <a:gd name="connsiteX13" fmla="*/ 395189 w 827635"/>
                <a:gd name="connsiteY13" fmla="*/ 820597 h 822758"/>
                <a:gd name="connsiteX14" fmla="*/ 420270 w 827635"/>
                <a:gd name="connsiteY14" fmla="*/ 820835 h 822758"/>
                <a:gd name="connsiteX15" fmla="*/ 445706 w 827635"/>
                <a:gd name="connsiteY15" fmla="*/ 821112 h 822758"/>
                <a:gd name="connsiteX16" fmla="*/ 522529 w 827635"/>
                <a:gd name="connsiteY16" fmla="*/ 814218 h 822758"/>
                <a:gd name="connsiteX17" fmla="*/ 793128 w 827635"/>
                <a:gd name="connsiteY17" fmla="*/ 561348 h 822758"/>
                <a:gd name="connsiteX18" fmla="*/ 827175 w 827635"/>
                <a:gd name="connsiteY18" fmla="*/ 397985 h 822758"/>
                <a:gd name="connsiteX19" fmla="*/ 516447 w 827635"/>
                <a:gd name="connsiteY19" fmla="*/ 11152 h 822758"/>
                <a:gd name="connsiteX20" fmla="*/ 400955 w 827635"/>
                <a:gd name="connsiteY20" fmla="*/ -62 h 822758"/>
                <a:gd name="connsiteX21" fmla="*/ 56220 w 827635"/>
                <a:gd name="connsiteY21" fmla="*/ 188897 h 822758"/>
                <a:gd name="connsiteX22" fmla="*/ 2661 w 827635"/>
                <a:gd name="connsiteY22" fmla="*/ 479726 h 822758"/>
                <a:gd name="connsiteX23" fmla="*/ 143984 w 827635"/>
                <a:gd name="connsiteY23" fmla="*/ 721620 h 822758"/>
                <a:gd name="connsiteX24" fmla="*/ 340050 w 827635"/>
                <a:gd name="connsiteY24" fmla="*/ 822697 h 822758"/>
                <a:gd name="connsiteX25" fmla="*/ 355967 w 827635"/>
                <a:gd name="connsiteY25" fmla="*/ 822023 h 822758"/>
                <a:gd name="connsiteX26" fmla="*/ 395189 w 827635"/>
                <a:gd name="connsiteY26" fmla="*/ 820597 h 822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7635" h="822758">
                  <a:moveTo>
                    <a:pt x="163456" y="699868"/>
                  </a:moveTo>
                  <a:cubicBezTo>
                    <a:pt x="104961" y="638810"/>
                    <a:pt x="41803" y="566102"/>
                    <a:pt x="33035" y="476199"/>
                  </a:cubicBezTo>
                  <a:cubicBezTo>
                    <a:pt x="23240" y="376034"/>
                    <a:pt x="41053" y="276978"/>
                    <a:pt x="81973" y="204429"/>
                  </a:cubicBezTo>
                  <a:cubicBezTo>
                    <a:pt x="162982" y="60680"/>
                    <a:pt x="297432" y="30527"/>
                    <a:pt x="395940" y="30527"/>
                  </a:cubicBezTo>
                  <a:cubicBezTo>
                    <a:pt x="430303" y="30527"/>
                    <a:pt x="466522" y="33855"/>
                    <a:pt x="503531" y="41146"/>
                  </a:cubicBezTo>
                  <a:cubicBezTo>
                    <a:pt x="663930" y="72606"/>
                    <a:pt x="793562" y="236484"/>
                    <a:pt x="785781" y="397271"/>
                  </a:cubicBezTo>
                  <a:cubicBezTo>
                    <a:pt x="782898" y="456824"/>
                    <a:pt x="773102" y="506629"/>
                    <a:pt x="754736" y="549382"/>
                  </a:cubicBezTo>
                  <a:cubicBezTo>
                    <a:pt x="696516" y="684653"/>
                    <a:pt x="618311" y="759301"/>
                    <a:pt x="508587" y="784342"/>
                  </a:cubicBezTo>
                  <a:cubicBezTo>
                    <a:pt x="484730" y="789810"/>
                    <a:pt x="460162" y="790563"/>
                    <a:pt x="439190" y="790563"/>
                  </a:cubicBezTo>
                  <a:cubicBezTo>
                    <a:pt x="431132" y="790563"/>
                    <a:pt x="423034" y="790444"/>
                    <a:pt x="414938" y="790325"/>
                  </a:cubicBezTo>
                  <a:cubicBezTo>
                    <a:pt x="406722" y="790167"/>
                    <a:pt x="398546" y="790048"/>
                    <a:pt x="390370" y="790048"/>
                  </a:cubicBezTo>
                  <a:cubicBezTo>
                    <a:pt x="374729" y="790048"/>
                    <a:pt x="362051" y="790523"/>
                    <a:pt x="350478" y="791554"/>
                  </a:cubicBezTo>
                  <a:cubicBezTo>
                    <a:pt x="288506" y="797022"/>
                    <a:pt x="226692" y="765918"/>
                    <a:pt x="163456" y="699868"/>
                  </a:cubicBezTo>
                  <a:close/>
                  <a:moveTo>
                    <a:pt x="395189" y="820597"/>
                  </a:moveTo>
                  <a:cubicBezTo>
                    <a:pt x="403523" y="820597"/>
                    <a:pt x="411897" y="820715"/>
                    <a:pt x="420270" y="820835"/>
                  </a:cubicBezTo>
                  <a:cubicBezTo>
                    <a:pt x="428762" y="820954"/>
                    <a:pt x="437254" y="821112"/>
                    <a:pt x="445706" y="821112"/>
                  </a:cubicBezTo>
                  <a:cubicBezTo>
                    <a:pt x="468615" y="821112"/>
                    <a:pt x="495631" y="820280"/>
                    <a:pt x="522529" y="814218"/>
                  </a:cubicBezTo>
                  <a:cubicBezTo>
                    <a:pt x="643747" y="786918"/>
                    <a:pt x="729734" y="706564"/>
                    <a:pt x="793128" y="561348"/>
                  </a:cubicBezTo>
                  <a:cubicBezTo>
                    <a:pt x="813311" y="515069"/>
                    <a:pt x="824450" y="461658"/>
                    <a:pt x="827175" y="397985"/>
                  </a:cubicBezTo>
                  <a:cubicBezTo>
                    <a:pt x="834838" y="218218"/>
                    <a:pt x="695489" y="44672"/>
                    <a:pt x="516447" y="11152"/>
                  </a:cubicBezTo>
                  <a:cubicBezTo>
                    <a:pt x="476791" y="3702"/>
                    <a:pt x="437886" y="-62"/>
                    <a:pt x="400955" y="-62"/>
                  </a:cubicBezTo>
                  <a:cubicBezTo>
                    <a:pt x="246125" y="-62"/>
                    <a:pt x="126881" y="65276"/>
                    <a:pt x="56220" y="188897"/>
                  </a:cubicBezTo>
                  <a:cubicBezTo>
                    <a:pt x="11588" y="266914"/>
                    <a:pt x="-7924" y="372943"/>
                    <a:pt x="2661" y="479726"/>
                  </a:cubicBezTo>
                  <a:cubicBezTo>
                    <a:pt x="12496" y="578821"/>
                    <a:pt x="80748" y="656560"/>
                    <a:pt x="143984" y="721620"/>
                  </a:cubicBezTo>
                  <a:cubicBezTo>
                    <a:pt x="209116" y="788701"/>
                    <a:pt x="275077" y="822737"/>
                    <a:pt x="340050" y="822697"/>
                  </a:cubicBezTo>
                  <a:cubicBezTo>
                    <a:pt x="345303" y="822697"/>
                    <a:pt x="350636" y="822459"/>
                    <a:pt x="355967" y="822023"/>
                  </a:cubicBezTo>
                  <a:cubicBezTo>
                    <a:pt x="367224" y="821033"/>
                    <a:pt x="379706" y="820597"/>
                    <a:pt x="395189" y="820597"/>
                  </a:cubicBezTo>
                  <a:close/>
                </a:path>
              </a:pathLst>
            </a:custGeom>
            <a:solidFill>
              <a:schemeClr val="bg1"/>
            </a:solidFill>
            <a:ln w="39496" cap="flat">
              <a:noFill/>
              <a:prstDash val="solid"/>
              <a:round/>
            </a:ln>
          </p:spPr>
          <p:txBody>
            <a:bodyPr rtlCol="0" anchor="ctr"/>
            <a:lstStyle/>
            <a:p>
              <a:endParaRPr lang="en-LT"/>
            </a:p>
          </p:txBody>
        </p:sp>
        <p:sp>
          <p:nvSpPr>
            <p:cNvPr id="104" name="Freeform 103">
              <a:extLst>
                <a:ext uri="{FF2B5EF4-FFF2-40B4-BE49-F238E27FC236}">
                  <a16:creationId xmlns:a16="http://schemas.microsoft.com/office/drawing/2014/main" id="{017E04F3-C0C3-304A-B67E-AE091B8897E3}"/>
                </a:ext>
              </a:extLst>
            </p:cNvPr>
            <p:cNvSpPr/>
            <p:nvPr/>
          </p:nvSpPr>
          <p:spPr>
            <a:xfrm>
              <a:off x="9344316" y="1728144"/>
              <a:ext cx="90678" cy="38406"/>
            </a:xfrm>
            <a:custGeom>
              <a:avLst/>
              <a:gdLst>
                <a:gd name="connsiteX0" fmla="*/ 8373 w 168034"/>
                <a:gd name="connsiteY0" fmla="*/ 66575 h 71169"/>
                <a:gd name="connsiteX1" fmla="*/ 164429 w 168034"/>
                <a:gd name="connsiteY1" fmla="*/ 20533 h 71169"/>
                <a:gd name="connsiteX2" fmla="*/ 147563 w 168034"/>
                <a:gd name="connsiteY2" fmla="*/ 3536 h 71169"/>
                <a:gd name="connsiteX3" fmla="*/ 14733 w 168034"/>
                <a:gd name="connsiteY3" fmla="*/ 43435 h 71169"/>
                <a:gd name="connsiteX4" fmla="*/ 8373 w 168034"/>
                <a:gd name="connsiteY4" fmla="*/ 66575 h 71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34" h="71169">
                  <a:moveTo>
                    <a:pt x="8373" y="66575"/>
                  </a:moveTo>
                  <a:cubicBezTo>
                    <a:pt x="65605" y="79967"/>
                    <a:pt x="123825" y="63088"/>
                    <a:pt x="164429" y="20533"/>
                  </a:cubicBezTo>
                  <a:cubicBezTo>
                    <a:pt x="175133" y="9360"/>
                    <a:pt x="158267" y="-7598"/>
                    <a:pt x="147563" y="3536"/>
                  </a:cubicBezTo>
                  <a:cubicBezTo>
                    <a:pt x="112766" y="39989"/>
                    <a:pt x="63867" y="54965"/>
                    <a:pt x="14733" y="43435"/>
                  </a:cubicBezTo>
                  <a:cubicBezTo>
                    <a:pt x="-238" y="39909"/>
                    <a:pt x="-6636" y="63049"/>
                    <a:pt x="8373" y="66575"/>
                  </a:cubicBezTo>
                  <a:close/>
                </a:path>
              </a:pathLst>
            </a:custGeom>
            <a:solidFill>
              <a:schemeClr val="bg1"/>
            </a:solidFill>
            <a:ln w="39496" cap="flat">
              <a:noFill/>
              <a:prstDash val="solid"/>
              <a:round/>
            </a:ln>
          </p:spPr>
          <p:txBody>
            <a:bodyPr rtlCol="0" anchor="ctr"/>
            <a:lstStyle/>
            <a:p>
              <a:endParaRPr lang="en-LT"/>
            </a:p>
          </p:txBody>
        </p:sp>
        <p:sp>
          <p:nvSpPr>
            <p:cNvPr id="105" name="Freeform 104">
              <a:extLst>
                <a:ext uri="{FF2B5EF4-FFF2-40B4-BE49-F238E27FC236}">
                  <a16:creationId xmlns:a16="http://schemas.microsoft.com/office/drawing/2014/main" id="{B4DEFC8A-3907-EF44-8FBB-74F9A0ABB036}"/>
                </a:ext>
              </a:extLst>
            </p:cNvPr>
            <p:cNvSpPr/>
            <p:nvPr/>
          </p:nvSpPr>
          <p:spPr>
            <a:xfrm>
              <a:off x="9244603" y="1855632"/>
              <a:ext cx="46789" cy="100609"/>
            </a:xfrm>
            <a:custGeom>
              <a:avLst/>
              <a:gdLst>
                <a:gd name="connsiteX0" fmla="*/ 20527 w 86704"/>
                <a:gd name="connsiteY0" fmla="*/ 183112 h 186436"/>
                <a:gd name="connsiteX1" fmla="*/ 85184 w 86704"/>
                <a:gd name="connsiteY1" fmla="*/ 11349 h 186436"/>
                <a:gd name="connsiteX2" fmla="*/ 61209 w 86704"/>
                <a:gd name="connsiteY2" fmla="*/ 11349 h 186436"/>
                <a:gd name="connsiteX3" fmla="*/ 3582 w 86704"/>
                <a:gd name="connsiteY3" fmla="*/ 166154 h 186436"/>
                <a:gd name="connsiteX4" fmla="*/ 20527 w 86704"/>
                <a:gd name="connsiteY4" fmla="*/ 183112 h 186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04" h="186436">
                  <a:moveTo>
                    <a:pt x="20527" y="183112"/>
                  </a:moveTo>
                  <a:cubicBezTo>
                    <a:pt x="68635" y="139171"/>
                    <a:pt x="92571" y="76251"/>
                    <a:pt x="85184" y="11349"/>
                  </a:cubicBezTo>
                  <a:cubicBezTo>
                    <a:pt x="83446" y="-3786"/>
                    <a:pt x="59472" y="-3985"/>
                    <a:pt x="61209" y="11349"/>
                  </a:cubicBezTo>
                  <a:cubicBezTo>
                    <a:pt x="67963" y="70545"/>
                    <a:pt x="47582" y="125977"/>
                    <a:pt x="3582" y="166154"/>
                  </a:cubicBezTo>
                  <a:cubicBezTo>
                    <a:pt x="-7833" y="176575"/>
                    <a:pt x="9152" y="193493"/>
                    <a:pt x="20527" y="183112"/>
                  </a:cubicBezTo>
                  <a:close/>
                </a:path>
              </a:pathLst>
            </a:custGeom>
            <a:solidFill>
              <a:schemeClr val="bg1"/>
            </a:solidFill>
            <a:ln w="39496" cap="flat">
              <a:noFill/>
              <a:prstDash val="solid"/>
              <a:round/>
            </a:ln>
          </p:spPr>
          <p:txBody>
            <a:bodyPr rtlCol="0" anchor="ctr"/>
            <a:lstStyle/>
            <a:p>
              <a:endParaRPr lang="en-LT"/>
            </a:p>
          </p:txBody>
        </p:sp>
        <p:sp>
          <p:nvSpPr>
            <p:cNvPr id="106" name="Freeform 105">
              <a:extLst>
                <a:ext uri="{FF2B5EF4-FFF2-40B4-BE49-F238E27FC236}">
                  <a16:creationId xmlns:a16="http://schemas.microsoft.com/office/drawing/2014/main" id="{71809F9A-D8F6-8447-9AF7-5BCA973D76C4}"/>
                </a:ext>
              </a:extLst>
            </p:cNvPr>
            <p:cNvSpPr/>
            <p:nvPr/>
          </p:nvSpPr>
          <p:spPr>
            <a:xfrm>
              <a:off x="9242770" y="2038606"/>
              <a:ext cx="51991" cy="96802"/>
            </a:xfrm>
            <a:custGeom>
              <a:avLst/>
              <a:gdLst>
                <a:gd name="connsiteX0" fmla="*/ 2950 w 96344"/>
                <a:gd name="connsiteY0" fmla="*/ 20790 h 179381"/>
                <a:gd name="connsiteX1" fmla="*/ 72900 w 96344"/>
                <a:gd name="connsiteY1" fmla="*/ 170642 h 179381"/>
                <a:gd name="connsiteX2" fmla="*/ 95967 w 96344"/>
                <a:gd name="connsiteY2" fmla="*/ 164302 h 179381"/>
                <a:gd name="connsiteX3" fmla="*/ 19894 w 96344"/>
                <a:gd name="connsiteY3" fmla="*/ 3832 h 179381"/>
                <a:gd name="connsiteX4" fmla="*/ 2950 w 96344"/>
                <a:gd name="connsiteY4" fmla="*/ 20790 h 179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4" h="179381">
                  <a:moveTo>
                    <a:pt x="2950" y="20790"/>
                  </a:moveTo>
                  <a:cubicBezTo>
                    <a:pt x="40828" y="63701"/>
                    <a:pt x="63934" y="114180"/>
                    <a:pt x="72900" y="170642"/>
                  </a:cubicBezTo>
                  <a:cubicBezTo>
                    <a:pt x="75309" y="185857"/>
                    <a:pt x="98376" y="179398"/>
                    <a:pt x="95967" y="164302"/>
                  </a:cubicBezTo>
                  <a:cubicBezTo>
                    <a:pt x="86408" y="103799"/>
                    <a:pt x="60301" y="49675"/>
                    <a:pt x="19894" y="3832"/>
                  </a:cubicBezTo>
                  <a:cubicBezTo>
                    <a:pt x="9665" y="-7778"/>
                    <a:pt x="-7241" y="9260"/>
                    <a:pt x="2950" y="20790"/>
                  </a:cubicBezTo>
                  <a:close/>
                </a:path>
              </a:pathLst>
            </a:custGeom>
            <a:solidFill>
              <a:schemeClr val="bg1"/>
            </a:solidFill>
            <a:ln w="39496" cap="flat">
              <a:noFill/>
              <a:prstDash val="solid"/>
              <a:round/>
            </a:ln>
          </p:spPr>
          <p:txBody>
            <a:bodyPr rtlCol="0" anchor="ctr"/>
            <a:lstStyle/>
            <a:p>
              <a:endParaRPr lang="en-LT"/>
            </a:p>
          </p:txBody>
        </p:sp>
        <p:sp>
          <p:nvSpPr>
            <p:cNvPr id="107" name="Freeform 106">
              <a:extLst>
                <a:ext uri="{FF2B5EF4-FFF2-40B4-BE49-F238E27FC236}">
                  <a16:creationId xmlns:a16="http://schemas.microsoft.com/office/drawing/2014/main" id="{A68018F1-797D-184F-87A7-FDC6182DE51D}"/>
                </a:ext>
              </a:extLst>
            </p:cNvPr>
            <p:cNvSpPr/>
            <p:nvPr/>
          </p:nvSpPr>
          <p:spPr>
            <a:xfrm>
              <a:off x="9542120" y="2283541"/>
              <a:ext cx="88549" cy="25305"/>
            </a:xfrm>
            <a:custGeom>
              <a:avLst/>
              <a:gdLst>
                <a:gd name="connsiteX0" fmla="*/ 148888 w 164088"/>
                <a:gd name="connsiteY0" fmla="*/ 169 h 46892"/>
                <a:gd name="connsiteX1" fmla="*/ 8474 w 164088"/>
                <a:gd name="connsiteY1" fmla="*/ 23546 h 46892"/>
                <a:gd name="connsiteX2" fmla="*/ 14872 w 164088"/>
                <a:gd name="connsiteY2" fmla="*/ 46685 h 46892"/>
                <a:gd name="connsiteX3" fmla="*/ 155247 w 164088"/>
                <a:gd name="connsiteY3" fmla="*/ 23308 h 46892"/>
                <a:gd name="connsiteX4" fmla="*/ 148888 w 164088"/>
                <a:gd name="connsiteY4" fmla="*/ 169 h 46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88" h="46892">
                  <a:moveTo>
                    <a:pt x="148888" y="169"/>
                  </a:moveTo>
                  <a:cubicBezTo>
                    <a:pt x="102123" y="7974"/>
                    <a:pt x="55318" y="15740"/>
                    <a:pt x="8474" y="23546"/>
                  </a:cubicBezTo>
                  <a:cubicBezTo>
                    <a:pt x="-6654" y="26042"/>
                    <a:pt x="-216" y="49182"/>
                    <a:pt x="14872" y="46685"/>
                  </a:cubicBezTo>
                  <a:cubicBezTo>
                    <a:pt x="61677" y="38880"/>
                    <a:pt x="108481" y="31074"/>
                    <a:pt x="155247" y="23308"/>
                  </a:cubicBezTo>
                  <a:cubicBezTo>
                    <a:pt x="170453" y="20812"/>
                    <a:pt x="164015" y="-2327"/>
                    <a:pt x="148888" y="169"/>
                  </a:cubicBezTo>
                  <a:close/>
                </a:path>
              </a:pathLst>
            </a:custGeom>
            <a:solidFill>
              <a:schemeClr val="bg1"/>
            </a:solidFill>
            <a:ln w="39496" cap="flat">
              <a:noFill/>
              <a:prstDash val="solid"/>
              <a:round/>
            </a:ln>
          </p:spPr>
          <p:txBody>
            <a:bodyPr rtlCol="0" anchor="ctr"/>
            <a:lstStyle/>
            <a:p>
              <a:endParaRPr lang="en-LT"/>
            </a:p>
          </p:txBody>
        </p:sp>
        <p:sp>
          <p:nvSpPr>
            <p:cNvPr id="108" name="Freeform 107">
              <a:extLst>
                <a:ext uri="{FF2B5EF4-FFF2-40B4-BE49-F238E27FC236}">
                  <a16:creationId xmlns:a16="http://schemas.microsoft.com/office/drawing/2014/main" id="{6EEC75A2-4B65-6643-8277-47B07D28F761}"/>
                </a:ext>
              </a:extLst>
            </p:cNvPr>
            <p:cNvSpPr/>
            <p:nvPr/>
          </p:nvSpPr>
          <p:spPr>
            <a:xfrm>
              <a:off x="9744209" y="2161035"/>
              <a:ext cx="62665" cy="69717"/>
            </a:xfrm>
            <a:custGeom>
              <a:avLst/>
              <a:gdLst>
                <a:gd name="connsiteX0" fmla="*/ 98033 w 116123"/>
                <a:gd name="connsiteY0" fmla="*/ 1557 h 129191"/>
                <a:gd name="connsiteX1" fmla="*/ 711 w 116123"/>
                <a:gd name="connsiteY1" fmla="*/ 114678 h 129191"/>
                <a:gd name="connsiteX2" fmla="*/ 23817 w 116123"/>
                <a:gd name="connsiteY2" fmla="*/ 121057 h 129191"/>
                <a:gd name="connsiteX3" fmla="*/ 110119 w 116123"/>
                <a:gd name="connsiteY3" fmla="*/ 22279 h 129191"/>
                <a:gd name="connsiteX4" fmla="*/ 98033 w 116123"/>
                <a:gd name="connsiteY4" fmla="*/ 1557 h 12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23" h="129191">
                  <a:moveTo>
                    <a:pt x="98033" y="1557"/>
                  </a:moveTo>
                  <a:cubicBezTo>
                    <a:pt x="52571" y="26717"/>
                    <a:pt x="19117" y="66181"/>
                    <a:pt x="711" y="114678"/>
                  </a:cubicBezTo>
                  <a:cubicBezTo>
                    <a:pt x="-4780" y="129140"/>
                    <a:pt x="18326" y="135361"/>
                    <a:pt x="23817" y="121057"/>
                  </a:cubicBezTo>
                  <a:cubicBezTo>
                    <a:pt x="40011" y="78423"/>
                    <a:pt x="70345" y="44269"/>
                    <a:pt x="110119" y="22279"/>
                  </a:cubicBezTo>
                  <a:cubicBezTo>
                    <a:pt x="123588" y="14830"/>
                    <a:pt x="111501" y="-5893"/>
                    <a:pt x="98033" y="1557"/>
                  </a:cubicBezTo>
                  <a:close/>
                </a:path>
              </a:pathLst>
            </a:custGeom>
            <a:solidFill>
              <a:schemeClr val="bg1"/>
            </a:solidFill>
            <a:ln w="39496" cap="flat">
              <a:noFill/>
              <a:prstDash val="solid"/>
              <a:round/>
            </a:ln>
          </p:spPr>
          <p:txBody>
            <a:bodyPr rtlCol="0" anchor="ctr"/>
            <a:lstStyle/>
            <a:p>
              <a:endParaRPr lang="en-LT"/>
            </a:p>
          </p:txBody>
        </p:sp>
        <p:sp>
          <p:nvSpPr>
            <p:cNvPr id="109" name="Freeform 108">
              <a:extLst>
                <a:ext uri="{FF2B5EF4-FFF2-40B4-BE49-F238E27FC236}">
                  <a16:creationId xmlns:a16="http://schemas.microsoft.com/office/drawing/2014/main" id="{896F8FEE-D3AC-ED47-ADF7-F4D0FE3658B3}"/>
                </a:ext>
              </a:extLst>
            </p:cNvPr>
            <p:cNvSpPr/>
            <p:nvPr/>
          </p:nvSpPr>
          <p:spPr>
            <a:xfrm>
              <a:off x="9839681" y="1932786"/>
              <a:ext cx="23533" cy="92140"/>
            </a:xfrm>
            <a:custGeom>
              <a:avLst/>
              <a:gdLst>
                <a:gd name="connsiteX0" fmla="*/ 23940 w 43608"/>
                <a:gd name="connsiteY0" fmla="*/ 159295 h 170742"/>
                <a:gd name="connsiteX1" fmla="*/ 43373 w 43608"/>
                <a:gd name="connsiteY1" fmla="*/ 11345 h 170742"/>
                <a:gd name="connsiteX2" fmla="*/ 19438 w 43608"/>
                <a:gd name="connsiteY2" fmla="*/ 11345 h 170742"/>
                <a:gd name="connsiteX3" fmla="*/ 5 w 43608"/>
                <a:gd name="connsiteY3" fmla="*/ 159295 h 170742"/>
                <a:gd name="connsiteX4" fmla="*/ 23940 w 43608"/>
                <a:gd name="connsiteY4" fmla="*/ 159295 h 17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08" h="170742">
                  <a:moveTo>
                    <a:pt x="23940" y="159295"/>
                  </a:moveTo>
                  <a:cubicBezTo>
                    <a:pt x="30418" y="109965"/>
                    <a:pt x="36896" y="60635"/>
                    <a:pt x="43373" y="11345"/>
                  </a:cubicBezTo>
                  <a:cubicBezTo>
                    <a:pt x="45387" y="-3949"/>
                    <a:pt x="21452" y="-3791"/>
                    <a:pt x="19438" y="11345"/>
                  </a:cubicBezTo>
                  <a:cubicBezTo>
                    <a:pt x="12960" y="60635"/>
                    <a:pt x="6483" y="109965"/>
                    <a:pt x="5" y="159295"/>
                  </a:cubicBezTo>
                  <a:cubicBezTo>
                    <a:pt x="-2009" y="174549"/>
                    <a:pt x="21926" y="174391"/>
                    <a:pt x="23940" y="159295"/>
                  </a:cubicBezTo>
                  <a:close/>
                </a:path>
              </a:pathLst>
            </a:custGeom>
            <a:solidFill>
              <a:schemeClr val="bg1"/>
            </a:solidFill>
            <a:ln w="39496" cap="flat">
              <a:noFill/>
              <a:prstDash val="solid"/>
              <a:round/>
            </a:ln>
          </p:spPr>
          <p:txBody>
            <a:bodyPr rtlCol="0" anchor="ctr"/>
            <a:lstStyle/>
            <a:p>
              <a:endParaRPr lang="en-LT"/>
            </a:p>
          </p:txBody>
        </p:sp>
        <p:sp>
          <p:nvSpPr>
            <p:cNvPr id="110" name="Freeform 109">
              <a:extLst>
                <a:ext uri="{FF2B5EF4-FFF2-40B4-BE49-F238E27FC236}">
                  <a16:creationId xmlns:a16="http://schemas.microsoft.com/office/drawing/2014/main" id="{9BBE3346-3180-A742-B3C5-6D8115B377FA}"/>
                </a:ext>
              </a:extLst>
            </p:cNvPr>
            <p:cNvSpPr/>
            <p:nvPr/>
          </p:nvSpPr>
          <p:spPr>
            <a:xfrm>
              <a:off x="9758899" y="1736640"/>
              <a:ext cx="61333" cy="107454"/>
            </a:xfrm>
            <a:custGeom>
              <a:avLst/>
              <a:gdLst>
                <a:gd name="connsiteX0" fmla="*/ 110036 w 113655"/>
                <a:gd name="connsiteY0" fmla="*/ 178502 h 199120"/>
                <a:gd name="connsiteX1" fmla="*/ 23141 w 113655"/>
                <a:gd name="connsiteY1" fmla="*/ 8561 h 199120"/>
                <a:gd name="connsiteX2" fmla="*/ 75 w 113655"/>
                <a:gd name="connsiteY2" fmla="*/ 14980 h 199120"/>
                <a:gd name="connsiteX3" fmla="*/ 93091 w 113655"/>
                <a:gd name="connsiteY3" fmla="*/ 195500 h 199120"/>
                <a:gd name="connsiteX4" fmla="*/ 110036 w 113655"/>
                <a:gd name="connsiteY4" fmla="*/ 178502 h 199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55" h="199120">
                  <a:moveTo>
                    <a:pt x="110036" y="178502"/>
                  </a:moveTo>
                  <a:cubicBezTo>
                    <a:pt x="63231" y="131510"/>
                    <a:pt x="34082" y="73978"/>
                    <a:pt x="23141" y="8561"/>
                  </a:cubicBezTo>
                  <a:cubicBezTo>
                    <a:pt x="20573" y="-6614"/>
                    <a:pt x="-2493" y="-155"/>
                    <a:pt x="75" y="14980"/>
                  </a:cubicBezTo>
                  <a:cubicBezTo>
                    <a:pt x="11648" y="84161"/>
                    <a:pt x="43641" y="145853"/>
                    <a:pt x="93091" y="195500"/>
                  </a:cubicBezTo>
                  <a:cubicBezTo>
                    <a:pt x="103954" y="206436"/>
                    <a:pt x="120898" y="189438"/>
                    <a:pt x="110036" y="178502"/>
                  </a:cubicBezTo>
                  <a:close/>
                </a:path>
              </a:pathLst>
            </a:custGeom>
            <a:solidFill>
              <a:schemeClr val="bg1"/>
            </a:solidFill>
            <a:ln w="39496" cap="flat">
              <a:noFill/>
              <a:prstDash val="solid"/>
              <a:round/>
            </a:ln>
          </p:spPr>
          <p:txBody>
            <a:bodyPr rtlCol="0" anchor="ctr"/>
            <a:lstStyle/>
            <a:p>
              <a:endParaRPr lang="en-LT"/>
            </a:p>
          </p:txBody>
        </p:sp>
        <p:sp>
          <p:nvSpPr>
            <p:cNvPr id="111" name="Freeform 110">
              <a:extLst>
                <a:ext uri="{FF2B5EF4-FFF2-40B4-BE49-F238E27FC236}">
                  <a16:creationId xmlns:a16="http://schemas.microsoft.com/office/drawing/2014/main" id="{BE7C289F-6A22-8A48-B680-647725319758}"/>
                </a:ext>
              </a:extLst>
            </p:cNvPr>
            <p:cNvSpPr/>
            <p:nvPr/>
          </p:nvSpPr>
          <p:spPr>
            <a:xfrm>
              <a:off x="9547041" y="1681313"/>
              <a:ext cx="147660" cy="34753"/>
            </a:xfrm>
            <a:custGeom>
              <a:avLst/>
              <a:gdLst>
                <a:gd name="connsiteX0" fmla="*/ 5916 w 273626"/>
                <a:gd name="connsiteY0" fmla="*/ 22002 h 64400"/>
                <a:gd name="connsiteX1" fmla="*/ 264863 w 273626"/>
                <a:gd name="connsiteY1" fmla="*/ 55087 h 64400"/>
                <a:gd name="connsiteX2" fmla="*/ 258504 w 273626"/>
                <a:gd name="connsiteY2" fmla="*/ 31948 h 64400"/>
                <a:gd name="connsiteX3" fmla="*/ 18002 w 273626"/>
                <a:gd name="connsiteY3" fmla="*/ 1280 h 64400"/>
                <a:gd name="connsiteX4" fmla="*/ 5916 w 273626"/>
                <a:gd name="connsiteY4" fmla="*/ 22002 h 6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626" h="64400">
                  <a:moveTo>
                    <a:pt x="5916" y="22002"/>
                  </a:moveTo>
                  <a:cubicBezTo>
                    <a:pt x="87637" y="63170"/>
                    <a:pt x="175440" y="74462"/>
                    <a:pt x="264863" y="55087"/>
                  </a:cubicBezTo>
                  <a:cubicBezTo>
                    <a:pt x="279952" y="51838"/>
                    <a:pt x="273552" y="28699"/>
                    <a:pt x="258504" y="31948"/>
                  </a:cubicBezTo>
                  <a:cubicBezTo>
                    <a:pt x="175599" y="49897"/>
                    <a:pt x="93799" y="39515"/>
                    <a:pt x="18002" y="1280"/>
                  </a:cubicBezTo>
                  <a:cubicBezTo>
                    <a:pt x="4297" y="-5614"/>
                    <a:pt x="-7869" y="15069"/>
                    <a:pt x="5916" y="22002"/>
                  </a:cubicBezTo>
                  <a:close/>
                </a:path>
              </a:pathLst>
            </a:custGeom>
            <a:solidFill>
              <a:schemeClr val="bg1"/>
            </a:solidFill>
            <a:ln w="39496" cap="flat">
              <a:noFill/>
              <a:prstDash val="solid"/>
              <a:round/>
            </a:ln>
          </p:spPr>
          <p:txBody>
            <a:bodyPr rtlCol="0" anchor="ctr"/>
            <a:lstStyle/>
            <a:p>
              <a:endParaRPr lang="en-LT"/>
            </a:p>
          </p:txBody>
        </p:sp>
        <p:sp>
          <p:nvSpPr>
            <p:cNvPr id="112" name="Freeform 111">
              <a:extLst>
                <a:ext uri="{FF2B5EF4-FFF2-40B4-BE49-F238E27FC236}">
                  <a16:creationId xmlns:a16="http://schemas.microsoft.com/office/drawing/2014/main" id="{EDBA4046-E3DD-9148-9E84-95209AB31AB8}"/>
                </a:ext>
              </a:extLst>
            </p:cNvPr>
            <p:cNvSpPr/>
            <p:nvPr/>
          </p:nvSpPr>
          <p:spPr>
            <a:xfrm>
              <a:off x="9314972" y="1813558"/>
              <a:ext cx="89631" cy="371043"/>
            </a:xfrm>
            <a:custGeom>
              <a:avLst/>
              <a:gdLst>
                <a:gd name="connsiteX0" fmla="*/ 157342 w 166093"/>
                <a:gd name="connsiteY0" fmla="*/ 27241 h 687570"/>
                <a:gd name="connsiteX1" fmla="*/ 164649 w 166093"/>
                <a:gd name="connsiteY1" fmla="*/ 17969 h 687570"/>
                <a:gd name="connsiteX2" fmla="*/ 159357 w 166093"/>
                <a:gd name="connsiteY2" fmla="*/ 1248 h 687570"/>
                <a:gd name="connsiteX3" fmla="*/ 143952 w 166093"/>
                <a:gd name="connsiteY3" fmla="*/ 6241 h 687570"/>
                <a:gd name="connsiteX4" fmla="*/ 139607 w 166093"/>
                <a:gd name="connsiteY4" fmla="*/ 11154 h 687570"/>
                <a:gd name="connsiteX5" fmla="*/ 128824 w 166093"/>
                <a:gd name="connsiteY5" fmla="*/ 682912 h 687570"/>
                <a:gd name="connsiteX6" fmla="*/ 138225 w 166093"/>
                <a:gd name="connsiteY6" fmla="*/ 687508 h 687570"/>
                <a:gd name="connsiteX7" fmla="*/ 145572 w 166093"/>
                <a:gd name="connsiteY7" fmla="*/ 684932 h 687570"/>
                <a:gd name="connsiteX8" fmla="*/ 147626 w 166093"/>
                <a:gd name="connsiteY8" fmla="*/ 668093 h 687570"/>
                <a:gd name="connsiteX9" fmla="*/ 157342 w 166093"/>
                <a:gd name="connsiteY9" fmla="*/ 27241 h 687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093" h="687570">
                  <a:moveTo>
                    <a:pt x="157342" y="27241"/>
                  </a:moveTo>
                  <a:cubicBezTo>
                    <a:pt x="162280" y="21773"/>
                    <a:pt x="163622" y="20267"/>
                    <a:pt x="164649" y="17969"/>
                  </a:cubicBezTo>
                  <a:cubicBezTo>
                    <a:pt x="167533" y="11986"/>
                    <a:pt x="165321" y="4022"/>
                    <a:pt x="159357" y="1248"/>
                  </a:cubicBezTo>
                  <a:cubicBezTo>
                    <a:pt x="153313" y="-1604"/>
                    <a:pt x="146677" y="258"/>
                    <a:pt x="143952" y="6241"/>
                  </a:cubicBezTo>
                  <a:cubicBezTo>
                    <a:pt x="143202" y="7113"/>
                    <a:pt x="141740" y="8737"/>
                    <a:pt x="139607" y="11154"/>
                  </a:cubicBezTo>
                  <a:cubicBezTo>
                    <a:pt x="53266" y="106881"/>
                    <a:pt x="-120603" y="363991"/>
                    <a:pt x="128824" y="682912"/>
                  </a:cubicBezTo>
                  <a:cubicBezTo>
                    <a:pt x="131194" y="685923"/>
                    <a:pt x="134710" y="687508"/>
                    <a:pt x="138225" y="687508"/>
                  </a:cubicBezTo>
                  <a:cubicBezTo>
                    <a:pt x="140832" y="687508"/>
                    <a:pt x="143438" y="686675"/>
                    <a:pt x="145572" y="684932"/>
                  </a:cubicBezTo>
                  <a:cubicBezTo>
                    <a:pt x="150825" y="680851"/>
                    <a:pt x="151694" y="673323"/>
                    <a:pt x="147626" y="668093"/>
                  </a:cubicBezTo>
                  <a:cubicBezTo>
                    <a:pt x="-90545" y="363516"/>
                    <a:pt x="75108" y="118491"/>
                    <a:pt x="157342" y="27241"/>
                  </a:cubicBezTo>
                  <a:close/>
                </a:path>
              </a:pathLst>
            </a:custGeom>
            <a:solidFill>
              <a:schemeClr val="bg1"/>
            </a:solidFill>
            <a:ln w="39496" cap="flat">
              <a:noFill/>
              <a:prstDash val="solid"/>
              <a:round/>
            </a:ln>
          </p:spPr>
          <p:txBody>
            <a:bodyPr rtlCol="0" anchor="ctr"/>
            <a:lstStyle/>
            <a:p>
              <a:endParaRPr lang="en-LT"/>
            </a:p>
          </p:txBody>
        </p:sp>
        <p:sp>
          <p:nvSpPr>
            <p:cNvPr id="113" name="Freeform 112">
              <a:extLst>
                <a:ext uri="{FF2B5EF4-FFF2-40B4-BE49-F238E27FC236}">
                  <a16:creationId xmlns:a16="http://schemas.microsoft.com/office/drawing/2014/main" id="{ED27836B-B83B-A540-9B0B-0E0023A03978}"/>
                </a:ext>
              </a:extLst>
            </p:cNvPr>
            <p:cNvSpPr/>
            <p:nvPr/>
          </p:nvSpPr>
          <p:spPr>
            <a:xfrm>
              <a:off x="9570472" y="1972385"/>
              <a:ext cx="230750" cy="278542"/>
            </a:xfrm>
            <a:custGeom>
              <a:avLst/>
              <a:gdLst>
                <a:gd name="connsiteX0" fmla="*/ 301119 w 427598"/>
                <a:gd name="connsiteY0" fmla="*/ 356000 h 516160"/>
                <a:gd name="connsiteX1" fmla="*/ 15274 w 427598"/>
                <a:gd name="connsiteY1" fmla="*/ 491985 h 516160"/>
                <a:gd name="connsiteX2" fmla="*/ 11324 w 427598"/>
                <a:gd name="connsiteY2" fmla="*/ 492143 h 516160"/>
                <a:gd name="connsiteX3" fmla="*/ -129 w 427598"/>
                <a:gd name="connsiteY3" fmla="*/ 504624 h 516160"/>
                <a:gd name="connsiteX4" fmla="*/ 11838 w 427598"/>
                <a:gd name="connsiteY4" fmla="*/ 516114 h 516160"/>
                <a:gd name="connsiteX5" fmla="*/ 12351 w 427598"/>
                <a:gd name="connsiteY5" fmla="*/ 516114 h 516160"/>
                <a:gd name="connsiteX6" fmla="*/ 16104 w 427598"/>
                <a:gd name="connsiteY6" fmla="*/ 515956 h 516160"/>
                <a:gd name="connsiteX7" fmla="*/ 320236 w 427598"/>
                <a:gd name="connsiteY7" fmla="*/ 370463 h 516160"/>
                <a:gd name="connsiteX8" fmla="*/ 423680 w 427598"/>
                <a:gd name="connsiteY8" fmla="*/ 10058 h 516160"/>
                <a:gd name="connsiteX9" fmla="*/ 410015 w 427598"/>
                <a:gd name="connsiteY9" fmla="*/ 113 h 516160"/>
                <a:gd name="connsiteX10" fmla="*/ 400061 w 427598"/>
                <a:gd name="connsiteY10" fmla="*/ 13862 h 516160"/>
                <a:gd name="connsiteX11" fmla="*/ 301119 w 427598"/>
                <a:gd name="connsiteY11" fmla="*/ 356000 h 516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7598" h="516160">
                  <a:moveTo>
                    <a:pt x="301119" y="356000"/>
                  </a:moveTo>
                  <a:cubicBezTo>
                    <a:pt x="256684" y="414959"/>
                    <a:pt x="170975" y="486438"/>
                    <a:pt x="15274" y="491985"/>
                  </a:cubicBezTo>
                  <a:lnTo>
                    <a:pt x="11324" y="492143"/>
                  </a:lnTo>
                  <a:cubicBezTo>
                    <a:pt x="4729" y="492421"/>
                    <a:pt x="-406" y="498007"/>
                    <a:pt x="-129" y="504624"/>
                  </a:cubicBezTo>
                  <a:cubicBezTo>
                    <a:pt x="147" y="511082"/>
                    <a:pt x="5440" y="516114"/>
                    <a:pt x="11838" y="516114"/>
                  </a:cubicBezTo>
                  <a:lnTo>
                    <a:pt x="12351" y="516114"/>
                  </a:lnTo>
                  <a:lnTo>
                    <a:pt x="16104" y="515956"/>
                  </a:lnTo>
                  <a:cubicBezTo>
                    <a:pt x="181243" y="510092"/>
                    <a:pt x="272642" y="433581"/>
                    <a:pt x="320236" y="370463"/>
                  </a:cubicBezTo>
                  <a:cubicBezTo>
                    <a:pt x="446707" y="202623"/>
                    <a:pt x="428617" y="40765"/>
                    <a:pt x="423680" y="10058"/>
                  </a:cubicBezTo>
                  <a:cubicBezTo>
                    <a:pt x="422614" y="3481"/>
                    <a:pt x="416334" y="-957"/>
                    <a:pt x="410015" y="113"/>
                  </a:cubicBezTo>
                  <a:cubicBezTo>
                    <a:pt x="403497" y="1143"/>
                    <a:pt x="398994" y="7324"/>
                    <a:pt x="400061" y="13862"/>
                  </a:cubicBezTo>
                  <a:cubicBezTo>
                    <a:pt x="404722" y="42905"/>
                    <a:pt x="421745" y="195926"/>
                    <a:pt x="301119" y="356000"/>
                  </a:cubicBezTo>
                  <a:close/>
                </a:path>
              </a:pathLst>
            </a:custGeom>
            <a:solidFill>
              <a:schemeClr val="bg1"/>
            </a:solidFill>
            <a:ln w="39496" cap="flat">
              <a:noFill/>
              <a:prstDash val="solid"/>
              <a:round/>
            </a:ln>
          </p:spPr>
          <p:txBody>
            <a:bodyPr rtlCol="0" anchor="ctr"/>
            <a:lstStyle/>
            <a:p>
              <a:endParaRPr lang="en-LT"/>
            </a:p>
          </p:txBody>
        </p:sp>
      </p:grpSp>
      <p:grpSp>
        <p:nvGrpSpPr>
          <p:cNvPr id="114" name="Group 113">
            <a:extLst>
              <a:ext uri="{FF2B5EF4-FFF2-40B4-BE49-F238E27FC236}">
                <a16:creationId xmlns:a16="http://schemas.microsoft.com/office/drawing/2014/main" id="{65A34050-CC29-7445-898F-5C07DFCD3743}"/>
              </a:ext>
            </a:extLst>
          </p:cNvPr>
          <p:cNvGrpSpPr/>
          <p:nvPr/>
        </p:nvGrpSpPr>
        <p:grpSpPr>
          <a:xfrm>
            <a:off x="2808912" y="1550321"/>
            <a:ext cx="901492" cy="901844"/>
            <a:chOff x="9097952" y="1550321"/>
            <a:chExt cx="901492" cy="901844"/>
          </a:xfrm>
        </p:grpSpPr>
        <p:sp>
          <p:nvSpPr>
            <p:cNvPr id="115" name="Freeform 114">
              <a:extLst>
                <a:ext uri="{FF2B5EF4-FFF2-40B4-BE49-F238E27FC236}">
                  <a16:creationId xmlns:a16="http://schemas.microsoft.com/office/drawing/2014/main" id="{A62197EE-9081-9B41-A0D8-ADF48F3BF49E}"/>
                </a:ext>
              </a:extLst>
            </p:cNvPr>
            <p:cNvSpPr/>
            <p:nvPr/>
          </p:nvSpPr>
          <p:spPr>
            <a:xfrm>
              <a:off x="9097952" y="1550321"/>
              <a:ext cx="901492" cy="901844"/>
            </a:xfrm>
            <a:custGeom>
              <a:avLst/>
              <a:gdLst>
                <a:gd name="connsiteX0" fmla="*/ 598272 w 1670533"/>
                <a:gd name="connsiteY0" fmla="*/ 1371675 h 1671185"/>
                <a:gd name="connsiteX1" fmla="*/ 533022 w 1670533"/>
                <a:gd name="connsiteY1" fmla="*/ 1330507 h 1671185"/>
                <a:gd name="connsiteX2" fmla="*/ 527611 w 1670533"/>
                <a:gd name="connsiteY2" fmla="*/ 1323375 h 1671185"/>
                <a:gd name="connsiteX3" fmla="*/ 598786 w 1670533"/>
                <a:gd name="connsiteY3" fmla="*/ 1364661 h 1671185"/>
                <a:gd name="connsiteX4" fmla="*/ 610872 w 1670533"/>
                <a:gd name="connsiteY4" fmla="*/ 1343939 h 1671185"/>
                <a:gd name="connsiteX5" fmla="*/ 488824 w 1670533"/>
                <a:gd name="connsiteY5" fmla="*/ 1273134 h 1671185"/>
                <a:gd name="connsiteX6" fmla="*/ 476738 w 1670533"/>
                <a:gd name="connsiteY6" fmla="*/ 1293856 h 1671185"/>
                <a:gd name="connsiteX7" fmla="*/ 527097 w 1670533"/>
                <a:gd name="connsiteY7" fmla="*/ 1323019 h 1671185"/>
                <a:gd name="connsiteX8" fmla="*/ 522279 w 1670533"/>
                <a:gd name="connsiteY8" fmla="*/ 1321711 h 1671185"/>
                <a:gd name="connsiteX9" fmla="*/ 514655 w 1670533"/>
                <a:gd name="connsiteY9" fmla="*/ 1321473 h 1671185"/>
                <a:gd name="connsiteX10" fmla="*/ 493683 w 1670533"/>
                <a:gd name="connsiteY10" fmla="*/ 1311568 h 1671185"/>
                <a:gd name="connsiteX11" fmla="*/ 463743 w 1670533"/>
                <a:gd name="connsiteY11" fmla="*/ 1305466 h 1671185"/>
                <a:gd name="connsiteX12" fmla="*/ 445495 w 1670533"/>
                <a:gd name="connsiteY12" fmla="*/ 1308002 h 1671185"/>
                <a:gd name="connsiteX13" fmla="*/ 420217 w 1670533"/>
                <a:gd name="connsiteY13" fmla="*/ 1267627 h 1671185"/>
                <a:gd name="connsiteX14" fmla="*/ 399559 w 1670533"/>
                <a:gd name="connsiteY14" fmla="*/ 1279751 h 1671185"/>
                <a:gd name="connsiteX15" fmla="*/ 423258 w 1670533"/>
                <a:gd name="connsiteY15" fmla="*/ 1317591 h 1671185"/>
                <a:gd name="connsiteX16" fmla="*/ 414766 w 1670533"/>
                <a:gd name="connsiteY16" fmla="*/ 1323692 h 1671185"/>
                <a:gd name="connsiteX17" fmla="*/ 397347 w 1670533"/>
                <a:gd name="connsiteY17" fmla="*/ 1338749 h 1671185"/>
                <a:gd name="connsiteX18" fmla="*/ 366421 w 1670533"/>
                <a:gd name="connsiteY18" fmla="*/ 1298374 h 1671185"/>
                <a:gd name="connsiteX19" fmla="*/ 345764 w 1670533"/>
                <a:gd name="connsiteY19" fmla="*/ 1310458 h 1671185"/>
                <a:gd name="connsiteX20" fmla="*/ 379337 w 1670533"/>
                <a:gd name="connsiteY20" fmla="*/ 1354360 h 1671185"/>
                <a:gd name="connsiteX21" fmla="*/ 354058 w 1670533"/>
                <a:gd name="connsiteY21" fmla="*/ 1376271 h 1671185"/>
                <a:gd name="connsiteX22" fmla="*/ 320920 w 1670533"/>
                <a:gd name="connsiteY22" fmla="*/ 1335737 h 1671185"/>
                <a:gd name="connsiteX23" fmla="*/ 303975 w 1670533"/>
                <a:gd name="connsiteY23" fmla="*/ 1352656 h 1671185"/>
                <a:gd name="connsiteX24" fmla="*/ 336047 w 1670533"/>
                <a:gd name="connsiteY24" fmla="*/ 1391922 h 1671185"/>
                <a:gd name="connsiteX25" fmla="*/ 331071 w 1670533"/>
                <a:gd name="connsiteY25" fmla="*/ 1396201 h 1671185"/>
                <a:gd name="connsiteX26" fmla="*/ 321907 w 1670533"/>
                <a:gd name="connsiteY26" fmla="*/ 1401788 h 1671185"/>
                <a:gd name="connsiteX27" fmla="*/ 317523 w 1670533"/>
                <a:gd name="connsiteY27" fmla="*/ 1400480 h 1671185"/>
                <a:gd name="connsiteX28" fmla="*/ 316930 w 1670533"/>
                <a:gd name="connsiteY28" fmla="*/ 1399648 h 1671185"/>
                <a:gd name="connsiteX29" fmla="*/ 269059 w 1670533"/>
                <a:gd name="connsiteY29" fmla="*/ 1355707 h 1671185"/>
                <a:gd name="connsiteX30" fmla="*/ 252154 w 1670533"/>
                <a:gd name="connsiteY30" fmla="*/ 1372666 h 1671185"/>
                <a:gd name="connsiteX31" fmla="*/ 290190 w 1670533"/>
                <a:gd name="connsiteY31" fmla="*/ 1407612 h 1671185"/>
                <a:gd name="connsiteX32" fmla="*/ 270521 w 1670533"/>
                <a:gd name="connsiteY32" fmla="*/ 1401471 h 1671185"/>
                <a:gd name="connsiteX33" fmla="*/ 223953 w 1670533"/>
                <a:gd name="connsiteY33" fmla="*/ 1365296 h 1671185"/>
                <a:gd name="connsiteX34" fmla="*/ 181019 w 1670533"/>
                <a:gd name="connsiteY34" fmla="*/ 1303643 h 1671185"/>
                <a:gd name="connsiteX35" fmla="*/ 195554 w 1670533"/>
                <a:gd name="connsiteY35" fmla="*/ 1242427 h 1671185"/>
                <a:gd name="connsiteX36" fmla="*/ 300894 w 1670533"/>
                <a:gd name="connsiteY36" fmla="*/ 1156050 h 1671185"/>
                <a:gd name="connsiteX37" fmla="*/ 326094 w 1670533"/>
                <a:gd name="connsiteY37" fmla="*/ 1079341 h 1671185"/>
                <a:gd name="connsiteX38" fmla="*/ 303501 w 1670533"/>
                <a:gd name="connsiteY38" fmla="*/ 1010041 h 1671185"/>
                <a:gd name="connsiteX39" fmla="*/ 301211 w 1670533"/>
                <a:gd name="connsiteY39" fmla="*/ 1004811 h 1671185"/>
                <a:gd name="connsiteX40" fmla="*/ 300065 w 1670533"/>
                <a:gd name="connsiteY40" fmla="*/ 995223 h 1671185"/>
                <a:gd name="connsiteX41" fmla="*/ 292363 w 1670533"/>
                <a:gd name="connsiteY41" fmla="*/ 984644 h 1671185"/>
                <a:gd name="connsiteX42" fmla="*/ 271863 w 1670533"/>
                <a:gd name="connsiteY42" fmla="*/ 943714 h 1671185"/>
                <a:gd name="connsiteX43" fmla="*/ 238133 w 1670533"/>
                <a:gd name="connsiteY43" fmla="*/ 913600 h 1671185"/>
                <a:gd name="connsiteX44" fmla="*/ 242438 w 1670533"/>
                <a:gd name="connsiteY44" fmla="*/ 904408 h 1671185"/>
                <a:gd name="connsiteX45" fmla="*/ 240858 w 1670533"/>
                <a:gd name="connsiteY45" fmla="*/ 856465 h 1671185"/>
                <a:gd name="connsiteX46" fmla="*/ 216962 w 1670533"/>
                <a:gd name="connsiteY46" fmla="*/ 856465 h 1671185"/>
                <a:gd name="connsiteX47" fmla="*/ 218502 w 1670533"/>
                <a:gd name="connsiteY47" fmla="*/ 904408 h 1671185"/>
                <a:gd name="connsiteX48" fmla="*/ 219331 w 1670533"/>
                <a:gd name="connsiteY48" fmla="*/ 907895 h 1671185"/>
                <a:gd name="connsiteX49" fmla="*/ 207008 w 1670533"/>
                <a:gd name="connsiteY49" fmla="*/ 906270 h 1671185"/>
                <a:gd name="connsiteX50" fmla="*/ 182401 w 1670533"/>
                <a:gd name="connsiteY50" fmla="*/ 906270 h 1671185"/>
                <a:gd name="connsiteX51" fmla="*/ 184376 w 1670533"/>
                <a:gd name="connsiteY51" fmla="*/ 897276 h 1671185"/>
                <a:gd name="connsiteX52" fmla="*/ 176398 w 1670533"/>
                <a:gd name="connsiteY52" fmla="*/ 849294 h 1671185"/>
                <a:gd name="connsiteX53" fmla="*/ 153291 w 1670533"/>
                <a:gd name="connsiteY53" fmla="*/ 855673 h 1671185"/>
                <a:gd name="connsiteX54" fmla="*/ 161270 w 1670533"/>
                <a:gd name="connsiteY54" fmla="*/ 903655 h 1671185"/>
                <a:gd name="connsiteX55" fmla="*/ 162258 w 1670533"/>
                <a:gd name="connsiteY55" fmla="*/ 906270 h 1671185"/>
                <a:gd name="connsiteX56" fmla="*/ 121062 w 1670533"/>
                <a:gd name="connsiteY56" fmla="*/ 906270 h 1671185"/>
                <a:gd name="connsiteX57" fmla="*/ 117388 w 1670533"/>
                <a:gd name="connsiteY57" fmla="*/ 856465 h 1671185"/>
                <a:gd name="connsiteX58" fmla="*/ 93492 w 1670533"/>
                <a:gd name="connsiteY58" fmla="*/ 856465 h 1671185"/>
                <a:gd name="connsiteX59" fmla="*/ 97166 w 1670533"/>
                <a:gd name="connsiteY59" fmla="*/ 906270 h 1671185"/>
                <a:gd name="connsiteX60" fmla="*/ 80814 w 1670533"/>
                <a:gd name="connsiteY60" fmla="*/ 906270 h 1671185"/>
                <a:gd name="connsiteX61" fmla="*/ 76666 w 1670533"/>
                <a:gd name="connsiteY61" fmla="*/ 905914 h 1671185"/>
                <a:gd name="connsiteX62" fmla="*/ 76666 w 1670533"/>
                <a:gd name="connsiteY62" fmla="*/ 905240 h 1671185"/>
                <a:gd name="connsiteX63" fmla="*/ 68688 w 1670533"/>
                <a:gd name="connsiteY63" fmla="*/ 857297 h 1671185"/>
                <a:gd name="connsiteX64" fmla="*/ 45621 w 1670533"/>
                <a:gd name="connsiteY64" fmla="*/ 863676 h 1671185"/>
                <a:gd name="connsiteX65" fmla="*/ 51151 w 1670533"/>
                <a:gd name="connsiteY65" fmla="*/ 896801 h 1671185"/>
                <a:gd name="connsiteX66" fmla="*/ 30178 w 1670533"/>
                <a:gd name="connsiteY66" fmla="*/ 865697 h 1671185"/>
                <a:gd name="connsiteX67" fmla="*/ 23029 w 1670533"/>
                <a:gd name="connsiteY67" fmla="*/ 794575 h 1671185"/>
                <a:gd name="connsiteX68" fmla="*/ 25991 w 1670533"/>
                <a:gd name="connsiteY68" fmla="*/ 759272 h 1671185"/>
                <a:gd name="connsiteX69" fmla="*/ 76113 w 1670533"/>
                <a:gd name="connsiteY69" fmla="*/ 716163 h 1671185"/>
                <a:gd name="connsiteX70" fmla="*/ 201242 w 1670533"/>
                <a:gd name="connsiteY70" fmla="*/ 713745 h 1671185"/>
                <a:gd name="connsiteX71" fmla="*/ 256301 w 1670533"/>
                <a:gd name="connsiteY71" fmla="*/ 688030 h 1671185"/>
                <a:gd name="connsiteX72" fmla="*/ 291691 w 1670533"/>
                <a:gd name="connsiteY72" fmla="*/ 633272 h 1671185"/>
                <a:gd name="connsiteX73" fmla="*/ 312072 w 1670533"/>
                <a:gd name="connsiteY73" fmla="*/ 569362 h 1671185"/>
                <a:gd name="connsiteX74" fmla="*/ 303777 w 1670533"/>
                <a:gd name="connsiteY74" fmla="*/ 522449 h 1671185"/>
                <a:gd name="connsiteX75" fmla="*/ 303383 w 1670533"/>
                <a:gd name="connsiteY75" fmla="*/ 516624 h 1671185"/>
                <a:gd name="connsiteX76" fmla="*/ 310808 w 1670533"/>
                <a:gd name="connsiteY76" fmla="*/ 510760 h 1671185"/>
                <a:gd name="connsiteX77" fmla="*/ 318787 w 1670533"/>
                <a:gd name="connsiteY77" fmla="*/ 494752 h 1671185"/>
                <a:gd name="connsiteX78" fmla="*/ 298169 w 1670533"/>
                <a:gd name="connsiteY78" fmla="*/ 482668 h 1671185"/>
                <a:gd name="connsiteX79" fmla="*/ 290151 w 1670533"/>
                <a:gd name="connsiteY79" fmla="*/ 498636 h 1671185"/>
                <a:gd name="connsiteX80" fmla="*/ 289045 w 1670533"/>
                <a:gd name="connsiteY80" fmla="*/ 502717 h 1671185"/>
                <a:gd name="connsiteX81" fmla="*/ 288176 w 1670533"/>
                <a:gd name="connsiteY81" fmla="*/ 501686 h 1671185"/>
                <a:gd name="connsiteX82" fmla="*/ 275181 w 1670533"/>
                <a:gd name="connsiteY82" fmla="*/ 491662 h 1671185"/>
                <a:gd name="connsiteX83" fmla="*/ 275221 w 1670533"/>
                <a:gd name="connsiteY83" fmla="*/ 491622 h 1671185"/>
                <a:gd name="connsiteX84" fmla="*/ 287109 w 1670533"/>
                <a:gd name="connsiteY84" fmla="*/ 451643 h 1671185"/>
                <a:gd name="connsiteX85" fmla="*/ 264043 w 1670533"/>
                <a:gd name="connsiteY85" fmla="*/ 445264 h 1671185"/>
                <a:gd name="connsiteX86" fmla="*/ 254761 w 1670533"/>
                <a:gd name="connsiteY86" fmla="*/ 476328 h 1671185"/>
                <a:gd name="connsiteX87" fmla="*/ 229522 w 1670533"/>
                <a:gd name="connsiteY87" fmla="*/ 457389 h 1671185"/>
                <a:gd name="connsiteX88" fmla="*/ 227271 w 1670533"/>
                <a:gd name="connsiteY88" fmla="*/ 455685 h 1671185"/>
                <a:gd name="connsiteX89" fmla="*/ 239397 w 1670533"/>
                <a:gd name="connsiteY89" fmla="*/ 407742 h 1671185"/>
                <a:gd name="connsiteX90" fmla="*/ 216330 w 1670533"/>
                <a:gd name="connsiteY90" fmla="*/ 401363 h 1671185"/>
                <a:gd name="connsiteX91" fmla="*/ 206495 w 1670533"/>
                <a:gd name="connsiteY91" fmla="*/ 440113 h 1671185"/>
                <a:gd name="connsiteX92" fmla="*/ 189037 w 1670533"/>
                <a:gd name="connsiteY92" fmla="*/ 426998 h 1671185"/>
                <a:gd name="connsiteX93" fmla="*/ 190735 w 1670533"/>
                <a:gd name="connsiteY93" fmla="*/ 423512 h 1671185"/>
                <a:gd name="connsiteX94" fmla="*/ 203454 w 1670533"/>
                <a:gd name="connsiteY94" fmla="*/ 375767 h 1671185"/>
                <a:gd name="connsiteX95" fmla="*/ 183547 w 1670533"/>
                <a:gd name="connsiteY95" fmla="*/ 364038 h 1671185"/>
                <a:gd name="connsiteX96" fmla="*/ 252193 w 1670533"/>
                <a:gd name="connsiteY96" fmla="*/ 278652 h 1671185"/>
                <a:gd name="connsiteX97" fmla="*/ 273088 w 1670533"/>
                <a:gd name="connsiteY97" fmla="*/ 261179 h 1671185"/>
                <a:gd name="connsiteX98" fmla="*/ 340392 w 1670533"/>
                <a:gd name="connsiteY98" fmla="*/ 257494 h 1671185"/>
                <a:gd name="connsiteX99" fmla="*/ 446996 w 1670533"/>
                <a:gd name="connsiteY99" fmla="*/ 339512 h 1671185"/>
                <a:gd name="connsiteX100" fmla="*/ 492497 w 1670533"/>
                <a:gd name="connsiteY100" fmla="*/ 355084 h 1671185"/>
                <a:gd name="connsiteX101" fmla="*/ 496724 w 1670533"/>
                <a:gd name="connsiteY101" fmla="*/ 354965 h 1671185"/>
                <a:gd name="connsiteX102" fmla="*/ 580419 w 1670533"/>
                <a:gd name="connsiteY102" fmla="*/ 325248 h 1671185"/>
                <a:gd name="connsiteX103" fmla="*/ 588951 w 1670533"/>
                <a:gd name="connsiteY103" fmla="*/ 319503 h 1671185"/>
                <a:gd name="connsiteX104" fmla="*/ 590334 w 1670533"/>
                <a:gd name="connsiteY104" fmla="*/ 316611 h 1671185"/>
                <a:gd name="connsiteX105" fmla="*/ 632872 w 1670533"/>
                <a:gd name="connsiteY105" fmla="*/ 256900 h 1671185"/>
                <a:gd name="connsiteX106" fmla="*/ 634768 w 1670533"/>
                <a:gd name="connsiteY106" fmla="*/ 250917 h 1671185"/>
                <a:gd name="connsiteX107" fmla="*/ 683547 w 1670533"/>
                <a:gd name="connsiteY107" fmla="*/ 232968 h 1671185"/>
                <a:gd name="connsiteX108" fmla="*/ 666603 w 1670533"/>
                <a:gd name="connsiteY108" fmla="*/ 216009 h 1671185"/>
                <a:gd name="connsiteX109" fmla="*/ 637888 w 1670533"/>
                <a:gd name="connsiteY109" fmla="*/ 227381 h 1671185"/>
                <a:gd name="connsiteX110" fmla="*/ 636901 w 1670533"/>
                <a:gd name="connsiteY110" fmla="*/ 217436 h 1671185"/>
                <a:gd name="connsiteX111" fmla="*/ 634413 w 1670533"/>
                <a:gd name="connsiteY111" fmla="*/ 202458 h 1671185"/>
                <a:gd name="connsiteX112" fmla="*/ 675569 w 1670533"/>
                <a:gd name="connsiteY112" fmla="*/ 201864 h 1671185"/>
                <a:gd name="connsiteX113" fmla="*/ 675569 w 1670533"/>
                <a:gd name="connsiteY113" fmla="*/ 177893 h 1671185"/>
                <a:gd name="connsiteX114" fmla="*/ 630463 w 1670533"/>
                <a:gd name="connsiteY114" fmla="*/ 178566 h 1671185"/>
                <a:gd name="connsiteX115" fmla="*/ 625802 w 1670533"/>
                <a:gd name="connsiteY115" fmla="*/ 150553 h 1671185"/>
                <a:gd name="connsiteX116" fmla="*/ 675687 w 1670533"/>
                <a:gd name="connsiteY116" fmla="*/ 147026 h 1671185"/>
                <a:gd name="connsiteX117" fmla="*/ 675687 w 1670533"/>
                <a:gd name="connsiteY117" fmla="*/ 123055 h 1671185"/>
                <a:gd name="connsiteX118" fmla="*/ 621813 w 1670533"/>
                <a:gd name="connsiteY118" fmla="*/ 126819 h 1671185"/>
                <a:gd name="connsiteX119" fmla="*/ 617389 w 1670533"/>
                <a:gd name="connsiteY119" fmla="*/ 100153 h 1671185"/>
                <a:gd name="connsiteX120" fmla="*/ 666880 w 1670533"/>
                <a:gd name="connsiteY120" fmla="*/ 93259 h 1671185"/>
                <a:gd name="connsiteX121" fmla="*/ 660481 w 1670533"/>
                <a:gd name="connsiteY121" fmla="*/ 70160 h 1671185"/>
                <a:gd name="connsiteX122" fmla="*/ 617231 w 1670533"/>
                <a:gd name="connsiteY122" fmla="*/ 76143 h 1671185"/>
                <a:gd name="connsiteX123" fmla="*/ 651120 w 1670533"/>
                <a:gd name="connsiteY123" fmla="*/ 38145 h 1671185"/>
                <a:gd name="connsiteX124" fmla="*/ 702862 w 1670533"/>
                <a:gd name="connsiteY124" fmla="*/ 25901 h 1671185"/>
                <a:gd name="connsiteX125" fmla="*/ 798012 w 1670533"/>
                <a:gd name="connsiteY125" fmla="*/ 28278 h 1671185"/>
                <a:gd name="connsiteX126" fmla="*/ 840591 w 1670533"/>
                <a:gd name="connsiteY126" fmla="*/ 74121 h 1671185"/>
                <a:gd name="connsiteX127" fmla="*/ 849516 w 1670533"/>
                <a:gd name="connsiteY127" fmla="*/ 161132 h 1671185"/>
                <a:gd name="connsiteX128" fmla="*/ 870924 w 1670533"/>
                <a:gd name="connsiteY128" fmla="*/ 206421 h 1671185"/>
                <a:gd name="connsiteX129" fmla="*/ 924206 w 1670533"/>
                <a:gd name="connsiteY129" fmla="*/ 241368 h 1671185"/>
                <a:gd name="connsiteX130" fmla="*/ 1046807 w 1670533"/>
                <a:gd name="connsiteY130" fmla="*/ 243784 h 1671185"/>
                <a:gd name="connsiteX131" fmla="*/ 1078010 w 1670533"/>
                <a:gd name="connsiteY131" fmla="*/ 223617 h 1671185"/>
                <a:gd name="connsiteX132" fmla="*/ 1107989 w 1670533"/>
                <a:gd name="connsiteY132" fmla="*/ 240060 h 1671185"/>
                <a:gd name="connsiteX133" fmla="*/ 1120036 w 1670533"/>
                <a:gd name="connsiteY133" fmla="*/ 219338 h 1671185"/>
                <a:gd name="connsiteX134" fmla="*/ 1091913 w 1670533"/>
                <a:gd name="connsiteY134" fmla="*/ 203924 h 1671185"/>
                <a:gd name="connsiteX135" fmla="*/ 1099971 w 1670533"/>
                <a:gd name="connsiteY135" fmla="*/ 190215 h 1671185"/>
                <a:gd name="connsiteX136" fmla="*/ 1147724 w 1670533"/>
                <a:gd name="connsiteY136" fmla="*/ 212483 h 1671185"/>
                <a:gd name="connsiteX137" fmla="*/ 1159811 w 1670533"/>
                <a:gd name="connsiteY137" fmla="*/ 191761 h 1671185"/>
                <a:gd name="connsiteX138" fmla="*/ 1112137 w 1670533"/>
                <a:gd name="connsiteY138" fmla="*/ 169572 h 1671185"/>
                <a:gd name="connsiteX139" fmla="*/ 1128449 w 1670533"/>
                <a:gd name="connsiteY139" fmla="*/ 141836 h 1671185"/>
                <a:gd name="connsiteX140" fmla="*/ 1188051 w 1670533"/>
                <a:gd name="connsiteY140" fmla="*/ 175515 h 1671185"/>
                <a:gd name="connsiteX141" fmla="*/ 1200137 w 1670533"/>
                <a:gd name="connsiteY141" fmla="*/ 154832 h 1671185"/>
                <a:gd name="connsiteX142" fmla="*/ 1140614 w 1670533"/>
                <a:gd name="connsiteY142" fmla="*/ 121193 h 1671185"/>
                <a:gd name="connsiteX143" fmla="*/ 1146380 w 1670533"/>
                <a:gd name="connsiteY143" fmla="*/ 111367 h 1671185"/>
                <a:gd name="connsiteX144" fmla="*/ 1158309 w 1670533"/>
                <a:gd name="connsiteY144" fmla="*/ 97855 h 1671185"/>
                <a:gd name="connsiteX145" fmla="*/ 1164313 w 1670533"/>
                <a:gd name="connsiteY145" fmla="*/ 107166 h 1671185"/>
                <a:gd name="connsiteX146" fmla="*/ 1236199 w 1670533"/>
                <a:gd name="connsiteY146" fmla="*/ 139063 h 1671185"/>
                <a:gd name="connsiteX147" fmla="*/ 1248245 w 1670533"/>
                <a:gd name="connsiteY147" fmla="*/ 118380 h 1671185"/>
                <a:gd name="connsiteX148" fmla="*/ 1178848 w 1670533"/>
                <a:gd name="connsiteY148" fmla="*/ 87554 h 1671185"/>
                <a:gd name="connsiteX149" fmla="*/ 1197768 w 1670533"/>
                <a:gd name="connsiteY149" fmla="*/ 86286 h 1671185"/>
                <a:gd name="connsiteX150" fmla="*/ 1258633 w 1670533"/>
                <a:gd name="connsiteY150" fmla="*/ 105859 h 1671185"/>
                <a:gd name="connsiteX151" fmla="*/ 1332099 w 1670533"/>
                <a:gd name="connsiteY151" fmla="*/ 168621 h 1671185"/>
                <a:gd name="connsiteX152" fmla="*/ 1333284 w 1670533"/>
                <a:gd name="connsiteY152" fmla="*/ 226351 h 1671185"/>
                <a:gd name="connsiteX153" fmla="*/ 1273169 w 1670533"/>
                <a:gd name="connsiteY153" fmla="*/ 320335 h 1671185"/>
                <a:gd name="connsiteX154" fmla="*/ 1265308 w 1670533"/>
                <a:gd name="connsiteY154" fmla="*/ 385078 h 1671185"/>
                <a:gd name="connsiteX155" fmla="*/ 1300461 w 1670533"/>
                <a:gd name="connsiteY155" fmla="*/ 457111 h 1671185"/>
                <a:gd name="connsiteX156" fmla="*/ 1338695 w 1670533"/>
                <a:gd name="connsiteY156" fmla="*/ 503984 h 1671185"/>
                <a:gd name="connsiteX157" fmla="*/ 1405209 w 1670533"/>
                <a:gd name="connsiteY157" fmla="*/ 524548 h 1671185"/>
                <a:gd name="connsiteX158" fmla="*/ 1429026 w 1670533"/>
                <a:gd name="connsiteY158" fmla="*/ 588222 h 1671185"/>
                <a:gd name="connsiteX159" fmla="*/ 1452133 w 1670533"/>
                <a:gd name="connsiteY159" fmla="*/ 581843 h 1671185"/>
                <a:gd name="connsiteX160" fmla="*/ 1428196 w 1670533"/>
                <a:gd name="connsiteY160" fmla="*/ 517892 h 1671185"/>
                <a:gd name="connsiteX161" fmla="*/ 1427841 w 1670533"/>
                <a:gd name="connsiteY161" fmla="*/ 517297 h 1671185"/>
                <a:gd name="connsiteX162" fmla="*/ 1466825 w 1670533"/>
                <a:gd name="connsiteY162" fmla="*/ 501845 h 1671185"/>
                <a:gd name="connsiteX163" fmla="*/ 1467141 w 1670533"/>
                <a:gd name="connsiteY163" fmla="*/ 510760 h 1671185"/>
                <a:gd name="connsiteX164" fmla="*/ 1491117 w 1670533"/>
                <a:gd name="connsiteY164" fmla="*/ 566746 h 1671185"/>
                <a:gd name="connsiteX165" fmla="*/ 1511773 w 1670533"/>
                <a:gd name="connsiteY165" fmla="*/ 554622 h 1671185"/>
                <a:gd name="connsiteX166" fmla="*/ 1487838 w 1670533"/>
                <a:gd name="connsiteY166" fmla="*/ 498675 h 1671185"/>
                <a:gd name="connsiteX167" fmla="*/ 1484995 w 1670533"/>
                <a:gd name="connsiteY167" fmla="*/ 494634 h 1671185"/>
                <a:gd name="connsiteX168" fmla="*/ 1519357 w 1670533"/>
                <a:gd name="connsiteY168" fmla="*/ 481043 h 1671185"/>
                <a:gd name="connsiteX169" fmla="*/ 1533813 w 1670533"/>
                <a:gd name="connsiteY169" fmla="*/ 531879 h 1671185"/>
                <a:gd name="connsiteX170" fmla="*/ 1556919 w 1670533"/>
                <a:gd name="connsiteY170" fmla="*/ 525499 h 1671185"/>
                <a:gd name="connsiteX171" fmla="*/ 1541989 w 1670533"/>
                <a:gd name="connsiteY171" fmla="*/ 473158 h 1671185"/>
                <a:gd name="connsiteX172" fmla="*/ 1565253 w 1670533"/>
                <a:gd name="connsiteY172" fmla="*/ 472326 h 1671185"/>
                <a:gd name="connsiteX173" fmla="*/ 1565727 w 1670533"/>
                <a:gd name="connsiteY173" fmla="*/ 475892 h 1671185"/>
                <a:gd name="connsiteX174" fmla="*/ 1589703 w 1670533"/>
                <a:gd name="connsiteY174" fmla="*/ 543884 h 1671185"/>
                <a:gd name="connsiteX175" fmla="*/ 1612769 w 1670533"/>
                <a:gd name="connsiteY175" fmla="*/ 537505 h 1671185"/>
                <a:gd name="connsiteX176" fmla="*/ 1597326 w 1670533"/>
                <a:gd name="connsiteY176" fmla="*/ 493722 h 1671185"/>
                <a:gd name="connsiteX177" fmla="*/ 1623236 w 1670533"/>
                <a:gd name="connsiteY177" fmla="*/ 532711 h 1671185"/>
                <a:gd name="connsiteX178" fmla="*/ 1635441 w 1670533"/>
                <a:gd name="connsiteY178" fmla="*/ 624952 h 1671185"/>
                <a:gd name="connsiteX179" fmla="*/ 1603922 w 1670533"/>
                <a:gd name="connsiteY179" fmla="*/ 664336 h 1671185"/>
                <a:gd name="connsiteX180" fmla="*/ 1466351 w 1670533"/>
                <a:gd name="connsiteY180" fmla="*/ 720560 h 1671185"/>
                <a:gd name="connsiteX181" fmla="*/ 1425431 w 1670533"/>
                <a:gd name="connsiteY181" fmla="*/ 761292 h 1671185"/>
                <a:gd name="connsiteX182" fmla="*/ 1410264 w 1670533"/>
                <a:gd name="connsiteY182" fmla="*/ 832573 h 1671185"/>
                <a:gd name="connsiteX183" fmla="*/ 1423101 w 1670533"/>
                <a:gd name="connsiteY183" fmla="*/ 909282 h 1671185"/>
                <a:gd name="connsiteX184" fmla="*/ 1444984 w 1670533"/>
                <a:gd name="connsiteY184" fmla="*/ 939672 h 1671185"/>
                <a:gd name="connsiteX185" fmla="*/ 1422588 w 1670533"/>
                <a:gd name="connsiteY185" fmla="*/ 1017371 h 1671185"/>
                <a:gd name="connsiteX186" fmla="*/ 1445693 w 1670533"/>
                <a:gd name="connsiteY186" fmla="*/ 1023711 h 1671185"/>
                <a:gd name="connsiteX187" fmla="*/ 1466114 w 1670533"/>
                <a:gd name="connsiteY187" fmla="*/ 952747 h 1671185"/>
                <a:gd name="connsiteX188" fmla="*/ 1487047 w 1670533"/>
                <a:gd name="connsiteY188" fmla="*/ 963049 h 1671185"/>
                <a:gd name="connsiteX189" fmla="*/ 1485153 w 1670533"/>
                <a:gd name="connsiteY189" fmla="*/ 968398 h 1671185"/>
                <a:gd name="connsiteX190" fmla="*/ 1477332 w 1670533"/>
                <a:gd name="connsiteY190" fmla="*/ 1040352 h 1671185"/>
                <a:gd name="connsiteX191" fmla="*/ 1501267 w 1670533"/>
                <a:gd name="connsiteY191" fmla="*/ 1040352 h 1671185"/>
                <a:gd name="connsiteX192" fmla="*/ 1508534 w 1670533"/>
                <a:gd name="connsiteY192" fmla="*/ 973629 h 1671185"/>
                <a:gd name="connsiteX193" fmla="*/ 1535354 w 1670533"/>
                <a:gd name="connsiteY193" fmla="*/ 986783 h 1671185"/>
                <a:gd name="connsiteX194" fmla="*/ 1533813 w 1670533"/>
                <a:gd name="connsiteY194" fmla="*/ 989240 h 1671185"/>
                <a:gd name="connsiteX195" fmla="*/ 1509877 w 1670533"/>
                <a:gd name="connsiteY195" fmla="*/ 1053190 h 1671185"/>
                <a:gd name="connsiteX196" fmla="*/ 1532944 w 1670533"/>
                <a:gd name="connsiteY196" fmla="*/ 1059530 h 1671185"/>
                <a:gd name="connsiteX197" fmla="*/ 1556327 w 1670533"/>
                <a:gd name="connsiteY197" fmla="*/ 997124 h 1671185"/>
                <a:gd name="connsiteX198" fmla="*/ 1591046 w 1670533"/>
                <a:gd name="connsiteY198" fmla="*/ 1014162 h 1671185"/>
                <a:gd name="connsiteX199" fmla="*/ 1585673 w 1670533"/>
                <a:gd name="connsiteY199" fmla="*/ 1021215 h 1671185"/>
                <a:gd name="connsiteX200" fmla="*/ 1569717 w 1670533"/>
                <a:gd name="connsiteY200" fmla="*/ 1081163 h 1671185"/>
                <a:gd name="connsiteX201" fmla="*/ 1592822 w 1670533"/>
                <a:gd name="connsiteY201" fmla="*/ 1087543 h 1671185"/>
                <a:gd name="connsiteX202" fmla="*/ 1608779 w 1670533"/>
                <a:gd name="connsiteY202" fmla="*/ 1027594 h 1671185"/>
                <a:gd name="connsiteX203" fmla="*/ 1609056 w 1670533"/>
                <a:gd name="connsiteY203" fmla="*/ 1023038 h 1671185"/>
                <a:gd name="connsiteX204" fmla="*/ 1617786 w 1670533"/>
                <a:gd name="connsiteY204" fmla="*/ 1027317 h 1671185"/>
                <a:gd name="connsiteX205" fmla="*/ 1646618 w 1670533"/>
                <a:gd name="connsiteY205" fmla="*/ 1077717 h 1671185"/>
                <a:gd name="connsiteX206" fmla="*/ 1620352 w 1670533"/>
                <a:gd name="connsiteY206" fmla="*/ 1150661 h 1671185"/>
                <a:gd name="connsiteX207" fmla="*/ 1568610 w 1670533"/>
                <a:gd name="connsiteY207" fmla="*/ 1198208 h 1671185"/>
                <a:gd name="connsiteX208" fmla="*/ 1520463 w 1670533"/>
                <a:gd name="connsiteY208" fmla="*/ 1200110 h 1671185"/>
                <a:gd name="connsiteX209" fmla="*/ 1409554 w 1670533"/>
                <a:gd name="connsiteY209" fmla="*/ 1147333 h 1671185"/>
                <a:gd name="connsiteX210" fmla="*/ 1360616 w 1670533"/>
                <a:gd name="connsiteY210" fmla="*/ 1141944 h 1671185"/>
                <a:gd name="connsiteX211" fmla="*/ 1287071 w 1670533"/>
                <a:gd name="connsiteY211" fmla="*/ 1179387 h 1671185"/>
                <a:gd name="connsiteX212" fmla="*/ 1234382 w 1670533"/>
                <a:gd name="connsiteY212" fmla="*/ 1267587 h 1671185"/>
                <a:gd name="connsiteX213" fmla="*/ 1237502 w 1670533"/>
                <a:gd name="connsiteY213" fmla="*/ 1311092 h 1671185"/>
                <a:gd name="connsiteX214" fmla="*/ 1177781 w 1670533"/>
                <a:gd name="connsiteY214" fmla="*/ 1359709 h 1671185"/>
                <a:gd name="connsiteX215" fmla="*/ 1194727 w 1670533"/>
                <a:gd name="connsiteY215" fmla="*/ 1376667 h 1671185"/>
                <a:gd name="connsiteX216" fmla="*/ 1249194 w 1670533"/>
                <a:gd name="connsiteY216" fmla="*/ 1332330 h 1671185"/>
                <a:gd name="connsiteX217" fmla="*/ 1249510 w 1670533"/>
                <a:gd name="connsiteY217" fmla="*/ 1332766 h 1671185"/>
                <a:gd name="connsiteX218" fmla="*/ 1259226 w 1670533"/>
                <a:gd name="connsiteY218" fmla="*/ 1344573 h 1671185"/>
                <a:gd name="connsiteX219" fmla="*/ 1213171 w 1670533"/>
                <a:gd name="connsiteY219" fmla="*/ 1387127 h 1671185"/>
                <a:gd name="connsiteX220" fmla="*/ 1230076 w 1670533"/>
                <a:gd name="connsiteY220" fmla="*/ 1404086 h 1671185"/>
                <a:gd name="connsiteX221" fmla="*/ 1274432 w 1670533"/>
                <a:gd name="connsiteY221" fmla="*/ 1363077 h 1671185"/>
                <a:gd name="connsiteX222" fmla="*/ 1291771 w 1670533"/>
                <a:gd name="connsiteY222" fmla="*/ 1384116 h 1671185"/>
                <a:gd name="connsiteX223" fmla="*/ 1248956 w 1670533"/>
                <a:gd name="connsiteY223" fmla="*/ 1426987 h 1671185"/>
                <a:gd name="connsiteX224" fmla="*/ 1265900 w 1670533"/>
                <a:gd name="connsiteY224" fmla="*/ 1443946 h 1671185"/>
                <a:gd name="connsiteX225" fmla="*/ 1307096 w 1670533"/>
                <a:gd name="connsiteY225" fmla="*/ 1402699 h 1671185"/>
                <a:gd name="connsiteX226" fmla="*/ 1326332 w 1670533"/>
                <a:gd name="connsiteY226" fmla="*/ 1426037 h 1671185"/>
                <a:gd name="connsiteX227" fmla="*/ 1332731 w 1670533"/>
                <a:gd name="connsiteY227" fmla="*/ 1436339 h 1671185"/>
                <a:gd name="connsiteX228" fmla="*/ 1281660 w 1670533"/>
                <a:gd name="connsiteY228" fmla="*/ 1483767 h 1671185"/>
                <a:gd name="connsiteX229" fmla="*/ 1298604 w 1670533"/>
                <a:gd name="connsiteY229" fmla="*/ 1500725 h 1671185"/>
                <a:gd name="connsiteX230" fmla="*/ 1337588 w 1670533"/>
                <a:gd name="connsiteY230" fmla="*/ 1464510 h 1671185"/>
                <a:gd name="connsiteX231" fmla="*/ 1322896 w 1670533"/>
                <a:gd name="connsiteY231" fmla="*/ 1495930 h 1671185"/>
                <a:gd name="connsiteX232" fmla="*/ 1265624 w 1670533"/>
                <a:gd name="connsiteY232" fmla="*/ 1541061 h 1671185"/>
                <a:gd name="connsiteX233" fmla="*/ 1213409 w 1670533"/>
                <a:gd name="connsiteY233" fmla="*/ 1565468 h 1671185"/>
                <a:gd name="connsiteX234" fmla="*/ 1151397 w 1670533"/>
                <a:gd name="connsiteY234" fmla="*/ 1539198 h 1671185"/>
                <a:gd name="connsiteX235" fmla="*/ 1105184 w 1670533"/>
                <a:gd name="connsiteY235" fmla="*/ 1446561 h 1671185"/>
                <a:gd name="connsiteX236" fmla="*/ 1072520 w 1670533"/>
                <a:gd name="connsiteY236" fmla="*/ 1413357 h 1671185"/>
                <a:gd name="connsiteX237" fmla="*/ 958688 w 1670533"/>
                <a:gd name="connsiteY237" fmla="*/ 1388871 h 1671185"/>
                <a:gd name="connsiteX238" fmla="*/ 869463 w 1670533"/>
                <a:gd name="connsiteY238" fmla="*/ 1414903 h 1671185"/>
                <a:gd name="connsiteX239" fmla="*/ 834744 w 1670533"/>
                <a:gd name="connsiteY239" fmla="*/ 1459874 h 1671185"/>
                <a:gd name="connsiteX240" fmla="*/ 767322 w 1670533"/>
                <a:gd name="connsiteY240" fmla="*/ 1456110 h 1671185"/>
                <a:gd name="connsiteX241" fmla="*/ 767322 w 1670533"/>
                <a:gd name="connsiteY241" fmla="*/ 1480121 h 1671185"/>
                <a:gd name="connsiteX242" fmla="*/ 830203 w 1670533"/>
                <a:gd name="connsiteY242" fmla="*/ 1483608 h 1671185"/>
                <a:gd name="connsiteX243" fmla="*/ 826292 w 1670533"/>
                <a:gd name="connsiteY243" fmla="*/ 1510987 h 1671185"/>
                <a:gd name="connsiteX244" fmla="*/ 762464 w 1670533"/>
                <a:gd name="connsiteY244" fmla="*/ 1500804 h 1671185"/>
                <a:gd name="connsiteX245" fmla="*/ 756105 w 1670533"/>
                <a:gd name="connsiteY245" fmla="*/ 1523904 h 1671185"/>
                <a:gd name="connsiteX246" fmla="*/ 822934 w 1670533"/>
                <a:gd name="connsiteY246" fmla="*/ 1534602 h 1671185"/>
                <a:gd name="connsiteX247" fmla="*/ 819459 w 1670533"/>
                <a:gd name="connsiteY247" fmla="*/ 1558930 h 1671185"/>
                <a:gd name="connsiteX248" fmla="*/ 763294 w 1670533"/>
                <a:gd name="connsiteY248" fmla="*/ 1551957 h 1671185"/>
                <a:gd name="connsiteX249" fmla="*/ 763294 w 1670533"/>
                <a:gd name="connsiteY249" fmla="*/ 1575928 h 1671185"/>
                <a:gd name="connsiteX250" fmla="*/ 816101 w 1670533"/>
                <a:gd name="connsiteY250" fmla="*/ 1582505 h 1671185"/>
                <a:gd name="connsiteX251" fmla="*/ 814048 w 1670533"/>
                <a:gd name="connsiteY251" fmla="*/ 1596690 h 1671185"/>
                <a:gd name="connsiteX252" fmla="*/ 813139 w 1670533"/>
                <a:gd name="connsiteY252" fmla="*/ 1600058 h 1671185"/>
                <a:gd name="connsiteX253" fmla="*/ 751365 w 1670533"/>
                <a:gd name="connsiteY253" fmla="*/ 1600058 h 1671185"/>
                <a:gd name="connsiteX254" fmla="*/ 751365 w 1670533"/>
                <a:gd name="connsiteY254" fmla="*/ 1624030 h 1671185"/>
                <a:gd name="connsiteX255" fmla="*/ 801251 w 1670533"/>
                <a:gd name="connsiteY255" fmla="*/ 1624030 h 1671185"/>
                <a:gd name="connsiteX256" fmla="*/ 780751 w 1670533"/>
                <a:gd name="connsiteY256" fmla="*/ 1638056 h 1671185"/>
                <a:gd name="connsiteX257" fmla="*/ 717121 w 1670533"/>
                <a:gd name="connsiteY257" fmla="*/ 1647565 h 1671185"/>
                <a:gd name="connsiteX258" fmla="*/ 642589 w 1670533"/>
                <a:gd name="connsiteY258" fmla="*/ 1627318 h 1671185"/>
                <a:gd name="connsiteX259" fmla="*/ 615967 w 1670533"/>
                <a:gd name="connsiteY259" fmla="*/ 1576958 h 1671185"/>
                <a:gd name="connsiteX260" fmla="*/ 628725 w 1670533"/>
                <a:gd name="connsiteY260" fmla="*/ 1439231 h 1671185"/>
                <a:gd name="connsiteX261" fmla="*/ 598272 w 1670533"/>
                <a:gd name="connsiteY261" fmla="*/ 1371675 h 1671185"/>
                <a:gd name="connsiteX262" fmla="*/ 1360853 w 1670533"/>
                <a:gd name="connsiteY262" fmla="*/ 488175 h 1671185"/>
                <a:gd name="connsiteX263" fmla="*/ 1358246 w 1670533"/>
                <a:gd name="connsiteY263" fmla="*/ 490038 h 1671185"/>
                <a:gd name="connsiteX264" fmla="*/ 1355087 w 1670533"/>
                <a:gd name="connsiteY264" fmla="*/ 487660 h 1671185"/>
                <a:gd name="connsiteX265" fmla="*/ 1351966 w 1670533"/>
                <a:gd name="connsiteY265" fmla="*/ 484173 h 1671185"/>
                <a:gd name="connsiteX266" fmla="*/ 1360853 w 1670533"/>
                <a:gd name="connsiteY266" fmla="*/ 488175 h 1671185"/>
                <a:gd name="connsiteX267" fmla="*/ 631885 w 1670533"/>
                <a:gd name="connsiteY267" fmla="*/ 1647803 h 1671185"/>
                <a:gd name="connsiteX268" fmla="*/ 716212 w 1670533"/>
                <a:gd name="connsiteY268" fmla="*/ 1670705 h 1671185"/>
                <a:gd name="connsiteX269" fmla="*/ 851728 w 1670533"/>
                <a:gd name="connsiteY269" fmla="*/ 1575334 h 1671185"/>
                <a:gd name="connsiteX270" fmla="*/ 1061856 w 1670533"/>
                <a:gd name="connsiteY270" fmla="*/ 1433921 h 1671185"/>
                <a:gd name="connsiteX271" fmla="*/ 1084488 w 1670533"/>
                <a:gd name="connsiteY271" fmla="*/ 1456902 h 1671185"/>
                <a:gd name="connsiteX272" fmla="*/ 1130739 w 1670533"/>
                <a:gd name="connsiteY272" fmla="*/ 1549579 h 1671185"/>
                <a:gd name="connsiteX273" fmla="*/ 1221031 w 1670533"/>
                <a:gd name="connsiteY273" fmla="*/ 1587340 h 1671185"/>
                <a:gd name="connsiteX274" fmla="*/ 1277473 w 1670533"/>
                <a:gd name="connsiteY274" fmla="*/ 1560951 h 1671185"/>
                <a:gd name="connsiteX275" fmla="*/ 1349201 w 1670533"/>
                <a:gd name="connsiteY275" fmla="*/ 1395924 h 1671185"/>
                <a:gd name="connsiteX276" fmla="*/ 1367449 w 1670533"/>
                <a:gd name="connsiteY276" fmla="*/ 1160250 h 1671185"/>
                <a:gd name="connsiteX277" fmla="*/ 1510549 w 1670533"/>
                <a:gd name="connsiteY277" fmla="*/ 1221030 h 1671185"/>
                <a:gd name="connsiteX278" fmla="*/ 1580065 w 1670533"/>
                <a:gd name="connsiteY278" fmla="*/ 1218376 h 1671185"/>
                <a:gd name="connsiteX279" fmla="*/ 1639469 w 1670533"/>
                <a:gd name="connsiteY279" fmla="*/ 1163736 h 1671185"/>
                <a:gd name="connsiteX280" fmla="*/ 1634769 w 1670533"/>
                <a:gd name="connsiteY280" fmla="*/ 998234 h 1671185"/>
                <a:gd name="connsiteX281" fmla="*/ 1611505 w 1670533"/>
                <a:gd name="connsiteY281" fmla="*/ 982147 h 1671185"/>
                <a:gd name="connsiteX282" fmla="*/ 1440007 w 1670533"/>
                <a:gd name="connsiteY282" fmla="*/ 788949 h 1671185"/>
                <a:gd name="connsiteX283" fmla="*/ 1612651 w 1670533"/>
                <a:gd name="connsiteY283" fmla="*/ 685772 h 1671185"/>
                <a:gd name="connsiteX284" fmla="*/ 1658310 w 1670533"/>
                <a:gd name="connsiteY284" fmla="*/ 628399 h 1671185"/>
                <a:gd name="connsiteX285" fmla="*/ 1644328 w 1670533"/>
                <a:gd name="connsiteY285" fmla="*/ 523122 h 1671185"/>
                <a:gd name="connsiteX286" fmla="*/ 1536617 w 1670533"/>
                <a:gd name="connsiteY286" fmla="*/ 439241 h 1671185"/>
                <a:gd name="connsiteX287" fmla="*/ 1414056 w 1670533"/>
                <a:gd name="connsiteY287" fmla="*/ 476606 h 1671185"/>
                <a:gd name="connsiteX288" fmla="*/ 1352756 w 1670533"/>
                <a:gd name="connsiteY288" fmla="*/ 238871 h 1671185"/>
                <a:gd name="connsiteX289" fmla="*/ 1350741 w 1670533"/>
                <a:gd name="connsiteY289" fmla="*/ 154872 h 1671185"/>
                <a:gd name="connsiteX290" fmla="*/ 1269061 w 1670533"/>
                <a:gd name="connsiteY290" fmla="*/ 85176 h 1671185"/>
                <a:gd name="connsiteX291" fmla="*/ 1201322 w 1670533"/>
                <a:gd name="connsiteY291" fmla="*/ 63384 h 1671185"/>
                <a:gd name="connsiteX292" fmla="*/ 970774 w 1670533"/>
                <a:gd name="connsiteY292" fmla="*/ 224528 h 1671185"/>
                <a:gd name="connsiteX293" fmla="*/ 802120 w 1670533"/>
                <a:gd name="connsiteY293" fmla="*/ 5456 h 1671185"/>
                <a:gd name="connsiteX294" fmla="*/ 699623 w 1670533"/>
                <a:gd name="connsiteY294" fmla="*/ 2960 h 1671185"/>
                <a:gd name="connsiteX295" fmla="*/ 643774 w 1670533"/>
                <a:gd name="connsiteY295" fmla="*/ 16154 h 1671185"/>
                <a:gd name="connsiteX296" fmla="*/ 586502 w 1670533"/>
                <a:gd name="connsiteY296" fmla="*/ 112555 h 1671185"/>
                <a:gd name="connsiteX297" fmla="*/ 569874 w 1670533"/>
                <a:gd name="connsiteY297" fmla="*/ 303892 h 1671185"/>
                <a:gd name="connsiteX298" fmla="*/ 567188 w 1670533"/>
                <a:gd name="connsiteY298" fmla="*/ 306269 h 1671185"/>
                <a:gd name="connsiteX299" fmla="*/ 354414 w 1670533"/>
                <a:gd name="connsiteY299" fmla="*/ 239109 h 1671185"/>
                <a:gd name="connsiteX300" fmla="*/ 257605 w 1670533"/>
                <a:gd name="connsiteY300" fmla="*/ 243943 h 1671185"/>
                <a:gd name="connsiteX301" fmla="*/ 237501 w 1670533"/>
                <a:gd name="connsiteY301" fmla="*/ 260743 h 1671185"/>
                <a:gd name="connsiteX302" fmla="*/ 157360 w 1670533"/>
                <a:gd name="connsiteY302" fmla="*/ 433298 h 1671185"/>
                <a:gd name="connsiteX303" fmla="*/ 228653 w 1670533"/>
                <a:gd name="connsiteY303" fmla="*/ 499309 h 1671185"/>
                <a:gd name="connsiteX304" fmla="*/ 225888 w 1670533"/>
                <a:gd name="connsiteY304" fmla="*/ 683118 h 1671185"/>
                <a:gd name="connsiteX305" fmla="*/ 75600 w 1670533"/>
                <a:gd name="connsiteY305" fmla="*/ 692983 h 1671185"/>
                <a:gd name="connsiteX306" fmla="*/ 3121 w 1670533"/>
                <a:gd name="connsiteY306" fmla="*/ 755943 h 1671185"/>
                <a:gd name="connsiteX307" fmla="*/ -78 w 1670533"/>
                <a:gd name="connsiteY307" fmla="*/ 794060 h 1671185"/>
                <a:gd name="connsiteX308" fmla="*/ 7625 w 1670533"/>
                <a:gd name="connsiteY308" fmla="*/ 870848 h 1671185"/>
                <a:gd name="connsiteX309" fmla="*/ 168064 w 1670533"/>
                <a:gd name="connsiteY309" fmla="*/ 943119 h 1671185"/>
                <a:gd name="connsiteX310" fmla="*/ 277512 w 1670533"/>
                <a:gd name="connsiteY310" fmla="*/ 999106 h 1671185"/>
                <a:gd name="connsiteX311" fmla="*/ 180901 w 1670533"/>
                <a:gd name="connsiteY311" fmla="*/ 1224478 h 1671185"/>
                <a:gd name="connsiteX312" fmla="*/ 160085 w 1670533"/>
                <a:gd name="connsiteY312" fmla="*/ 1313549 h 1671185"/>
                <a:gd name="connsiteX313" fmla="*/ 207483 w 1670533"/>
                <a:gd name="connsiteY313" fmla="*/ 1381541 h 1671185"/>
                <a:gd name="connsiteX314" fmla="*/ 258988 w 1670533"/>
                <a:gd name="connsiteY314" fmla="*/ 1421599 h 1671185"/>
                <a:gd name="connsiteX315" fmla="*/ 371161 w 1670533"/>
                <a:gd name="connsiteY315" fmla="*/ 1394775 h 1671185"/>
                <a:gd name="connsiteX316" fmla="*/ 514103 w 1670533"/>
                <a:gd name="connsiteY316" fmla="*/ 1365732 h 1671185"/>
                <a:gd name="connsiteX317" fmla="*/ 605619 w 1670533"/>
                <a:gd name="connsiteY317" fmla="*/ 1429286 h 1671185"/>
                <a:gd name="connsiteX318" fmla="*/ 592940 w 1670533"/>
                <a:gd name="connsiteY318" fmla="*/ 1574818 h 1671185"/>
                <a:gd name="connsiteX319" fmla="*/ 631885 w 1670533"/>
                <a:gd name="connsiteY319" fmla="*/ 1647803 h 167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1670533" h="1671185">
                  <a:moveTo>
                    <a:pt x="598272" y="1371675"/>
                  </a:moveTo>
                  <a:cubicBezTo>
                    <a:pt x="577694" y="1356301"/>
                    <a:pt x="555694" y="1342592"/>
                    <a:pt x="533022" y="1330507"/>
                  </a:cubicBezTo>
                  <a:cubicBezTo>
                    <a:pt x="532113" y="1327655"/>
                    <a:pt x="530415" y="1325000"/>
                    <a:pt x="527611" y="1323375"/>
                  </a:cubicBezTo>
                  <a:cubicBezTo>
                    <a:pt x="551349" y="1337124"/>
                    <a:pt x="575008" y="1350873"/>
                    <a:pt x="598786" y="1364661"/>
                  </a:cubicBezTo>
                  <a:cubicBezTo>
                    <a:pt x="612136" y="1372388"/>
                    <a:pt x="624183" y="1351665"/>
                    <a:pt x="610872" y="1343939"/>
                  </a:cubicBezTo>
                  <a:cubicBezTo>
                    <a:pt x="570150" y="1320324"/>
                    <a:pt x="529507" y="1296749"/>
                    <a:pt x="488824" y="1273134"/>
                  </a:cubicBezTo>
                  <a:cubicBezTo>
                    <a:pt x="475474" y="1265368"/>
                    <a:pt x="463387" y="1286090"/>
                    <a:pt x="476738" y="1293856"/>
                  </a:cubicBezTo>
                  <a:cubicBezTo>
                    <a:pt x="493524" y="1303564"/>
                    <a:pt x="510311" y="1313311"/>
                    <a:pt x="527097" y="1323019"/>
                  </a:cubicBezTo>
                  <a:cubicBezTo>
                    <a:pt x="525676" y="1322345"/>
                    <a:pt x="524095" y="1321830"/>
                    <a:pt x="522279" y="1321711"/>
                  </a:cubicBezTo>
                  <a:cubicBezTo>
                    <a:pt x="519751" y="1321513"/>
                    <a:pt x="517223" y="1321592"/>
                    <a:pt x="514655" y="1321473"/>
                  </a:cubicBezTo>
                  <a:cubicBezTo>
                    <a:pt x="507664" y="1318105"/>
                    <a:pt x="500752" y="1314579"/>
                    <a:pt x="493683" y="1311568"/>
                  </a:cubicBezTo>
                  <a:cubicBezTo>
                    <a:pt x="484124" y="1307526"/>
                    <a:pt x="474052" y="1305466"/>
                    <a:pt x="463743" y="1305466"/>
                  </a:cubicBezTo>
                  <a:cubicBezTo>
                    <a:pt x="457503" y="1305466"/>
                    <a:pt x="451420" y="1306496"/>
                    <a:pt x="445495" y="1308002"/>
                  </a:cubicBezTo>
                  <a:cubicBezTo>
                    <a:pt x="437082" y="1294570"/>
                    <a:pt x="428630" y="1281098"/>
                    <a:pt x="420217" y="1267627"/>
                  </a:cubicBezTo>
                  <a:cubicBezTo>
                    <a:pt x="412041" y="1254591"/>
                    <a:pt x="391344" y="1266636"/>
                    <a:pt x="399559" y="1279751"/>
                  </a:cubicBezTo>
                  <a:lnTo>
                    <a:pt x="423258" y="1317591"/>
                  </a:lnTo>
                  <a:cubicBezTo>
                    <a:pt x="420296" y="1319453"/>
                    <a:pt x="417413" y="1321394"/>
                    <a:pt x="414766" y="1323692"/>
                  </a:cubicBezTo>
                  <a:lnTo>
                    <a:pt x="397347" y="1338749"/>
                  </a:lnTo>
                  <a:cubicBezTo>
                    <a:pt x="387038" y="1325277"/>
                    <a:pt x="376730" y="1311845"/>
                    <a:pt x="366421" y="1298374"/>
                  </a:cubicBezTo>
                  <a:cubicBezTo>
                    <a:pt x="357178" y="1286289"/>
                    <a:pt x="336363" y="1298215"/>
                    <a:pt x="345764" y="1310458"/>
                  </a:cubicBezTo>
                  <a:cubicBezTo>
                    <a:pt x="356942" y="1325118"/>
                    <a:pt x="368159" y="1339739"/>
                    <a:pt x="379337" y="1354360"/>
                  </a:cubicBezTo>
                  <a:lnTo>
                    <a:pt x="354058" y="1376271"/>
                  </a:lnTo>
                  <a:cubicBezTo>
                    <a:pt x="342999" y="1362760"/>
                    <a:pt x="331979" y="1349249"/>
                    <a:pt x="320920" y="1335737"/>
                  </a:cubicBezTo>
                  <a:cubicBezTo>
                    <a:pt x="311164" y="1323771"/>
                    <a:pt x="294298" y="1340809"/>
                    <a:pt x="303975" y="1352656"/>
                  </a:cubicBezTo>
                  <a:lnTo>
                    <a:pt x="336047" y="1391922"/>
                  </a:lnTo>
                  <a:lnTo>
                    <a:pt x="331071" y="1396201"/>
                  </a:lnTo>
                  <a:cubicBezTo>
                    <a:pt x="328305" y="1398578"/>
                    <a:pt x="325067" y="1400124"/>
                    <a:pt x="321907" y="1401788"/>
                  </a:cubicBezTo>
                  <a:cubicBezTo>
                    <a:pt x="320683" y="1401114"/>
                    <a:pt x="319221" y="1400639"/>
                    <a:pt x="317523" y="1400480"/>
                  </a:cubicBezTo>
                  <a:cubicBezTo>
                    <a:pt x="317286" y="1400243"/>
                    <a:pt x="317207" y="1399925"/>
                    <a:pt x="316930" y="1399648"/>
                  </a:cubicBezTo>
                  <a:cubicBezTo>
                    <a:pt x="300973" y="1385028"/>
                    <a:pt x="285016" y="1370367"/>
                    <a:pt x="269059" y="1355707"/>
                  </a:cubicBezTo>
                  <a:cubicBezTo>
                    <a:pt x="257723" y="1345286"/>
                    <a:pt x="240739" y="1362205"/>
                    <a:pt x="252154" y="1372666"/>
                  </a:cubicBezTo>
                  <a:cubicBezTo>
                    <a:pt x="264833" y="1384314"/>
                    <a:pt x="277512" y="1395963"/>
                    <a:pt x="290190" y="1407612"/>
                  </a:cubicBezTo>
                  <a:cubicBezTo>
                    <a:pt x="283357" y="1406741"/>
                    <a:pt x="276603" y="1405037"/>
                    <a:pt x="270521" y="1401471"/>
                  </a:cubicBezTo>
                  <a:cubicBezTo>
                    <a:pt x="253418" y="1391486"/>
                    <a:pt x="237737" y="1379322"/>
                    <a:pt x="223953" y="1365296"/>
                  </a:cubicBezTo>
                  <a:cubicBezTo>
                    <a:pt x="206298" y="1347387"/>
                    <a:pt x="191841" y="1326624"/>
                    <a:pt x="181019" y="1303643"/>
                  </a:cubicBezTo>
                  <a:cubicBezTo>
                    <a:pt x="171145" y="1282683"/>
                    <a:pt x="177109" y="1257523"/>
                    <a:pt x="195554" y="1242427"/>
                  </a:cubicBezTo>
                  <a:lnTo>
                    <a:pt x="300894" y="1156050"/>
                  </a:lnTo>
                  <a:cubicBezTo>
                    <a:pt x="323408" y="1137625"/>
                    <a:pt x="333282" y="1107473"/>
                    <a:pt x="326094" y="1079341"/>
                  </a:cubicBezTo>
                  <a:cubicBezTo>
                    <a:pt x="320051" y="1055845"/>
                    <a:pt x="312507" y="1032547"/>
                    <a:pt x="303501" y="1010041"/>
                  </a:cubicBezTo>
                  <a:cubicBezTo>
                    <a:pt x="302830" y="1008298"/>
                    <a:pt x="301921" y="1006594"/>
                    <a:pt x="301211" y="1004811"/>
                  </a:cubicBezTo>
                  <a:cubicBezTo>
                    <a:pt x="302238" y="1001959"/>
                    <a:pt x="302158" y="998630"/>
                    <a:pt x="300065" y="995223"/>
                  </a:cubicBezTo>
                  <a:cubicBezTo>
                    <a:pt x="297734" y="991340"/>
                    <a:pt x="294970" y="988170"/>
                    <a:pt x="292363" y="984644"/>
                  </a:cubicBezTo>
                  <a:cubicBezTo>
                    <a:pt x="286004" y="970736"/>
                    <a:pt x="279289" y="956987"/>
                    <a:pt x="271863" y="943714"/>
                  </a:cubicBezTo>
                  <a:cubicBezTo>
                    <a:pt x="264162" y="930044"/>
                    <a:pt x="252115" y="919980"/>
                    <a:pt x="238133" y="913600"/>
                  </a:cubicBezTo>
                  <a:cubicBezTo>
                    <a:pt x="240739" y="911699"/>
                    <a:pt x="242557" y="908727"/>
                    <a:pt x="242438" y="904408"/>
                  </a:cubicBezTo>
                  <a:cubicBezTo>
                    <a:pt x="241924" y="888440"/>
                    <a:pt x="241411" y="872473"/>
                    <a:pt x="240858" y="856465"/>
                  </a:cubicBezTo>
                  <a:cubicBezTo>
                    <a:pt x="240384" y="841092"/>
                    <a:pt x="216448" y="841013"/>
                    <a:pt x="216962" y="856465"/>
                  </a:cubicBezTo>
                  <a:cubicBezTo>
                    <a:pt x="217475" y="872473"/>
                    <a:pt x="217989" y="888440"/>
                    <a:pt x="218502" y="904408"/>
                  </a:cubicBezTo>
                  <a:cubicBezTo>
                    <a:pt x="218542" y="905755"/>
                    <a:pt x="218976" y="906785"/>
                    <a:pt x="219331" y="907895"/>
                  </a:cubicBezTo>
                  <a:cubicBezTo>
                    <a:pt x="215263" y="907221"/>
                    <a:pt x="211195" y="906270"/>
                    <a:pt x="207008" y="906270"/>
                  </a:cubicBezTo>
                  <a:lnTo>
                    <a:pt x="182401" y="906270"/>
                  </a:lnTo>
                  <a:cubicBezTo>
                    <a:pt x="184021" y="903854"/>
                    <a:pt x="184929" y="900842"/>
                    <a:pt x="184376" y="897276"/>
                  </a:cubicBezTo>
                  <a:cubicBezTo>
                    <a:pt x="181691" y="881269"/>
                    <a:pt x="179044" y="865301"/>
                    <a:pt x="176398" y="849294"/>
                  </a:cubicBezTo>
                  <a:cubicBezTo>
                    <a:pt x="173830" y="834118"/>
                    <a:pt x="150764" y="840577"/>
                    <a:pt x="153291" y="855673"/>
                  </a:cubicBezTo>
                  <a:cubicBezTo>
                    <a:pt x="155938" y="871680"/>
                    <a:pt x="158584" y="887688"/>
                    <a:pt x="161270" y="903655"/>
                  </a:cubicBezTo>
                  <a:cubicBezTo>
                    <a:pt x="161467" y="904725"/>
                    <a:pt x="161902" y="905399"/>
                    <a:pt x="162258" y="906270"/>
                  </a:cubicBezTo>
                  <a:lnTo>
                    <a:pt x="121062" y="906270"/>
                  </a:lnTo>
                  <a:lnTo>
                    <a:pt x="117388" y="856465"/>
                  </a:lnTo>
                  <a:cubicBezTo>
                    <a:pt x="116282" y="841171"/>
                    <a:pt x="92347" y="841013"/>
                    <a:pt x="93492" y="856465"/>
                  </a:cubicBezTo>
                  <a:lnTo>
                    <a:pt x="97166" y="906270"/>
                  </a:lnTo>
                  <a:lnTo>
                    <a:pt x="80814" y="906270"/>
                  </a:lnTo>
                  <a:cubicBezTo>
                    <a:pt x="79391" y="906270"/>
                    <a:pt x="78049" y="906033"/>
                    <a:pt x="76666" y="905914"/>
                  </a:cubicBezTo>
                  <a:cubicBezTo>
                    <a:pt x="76627" y="905676"/>
                    <a:pt x="76706" y="905478"/>
                    <a:pt x="76666" y="905240"/>
                  </a:cubicBezTo>
                  <a:cubicBezTo>
                    <a:pt x="74020" y="889272"/>
                    <a:pt x="71334" y="873265"/>
                    <a:pt x="68688" y="857297"/>
                  </a:cubicBezTo>
                  <a:cubicBezTo>
                    <a:pt x="66160" y="842122"/>
                    <a:pt x="43093" y="848540"/>
                    <a:pt x="45621" y="863676"/>
                  </a:cubicBezTo>
                  <a:lnTo>
                    <a:pt x="51151" y="896801"/>
                  </a:lnTo>
                  <a:cubicBezTo>
                    <a:pt x="40842" y="889590"/>
                    <a:pt x="33179" y="878812"/>
                    <a:pt x="30178" y="865697"/>
                  </a:cubicBezTo>
                  <a:cubicBezTo>
                    <a:pt x="24924" y="842320"/>
                    <a:pt x="22475" y="818388"/>
                    <a:pt x="23029" y="794575"/>
                  </a:cubicBezTo>
                  <a:cubicBezTo>
                    <a:pt x="23305" y="782807"/>
                    <a:pt x="24293" y="770960"/>
                    <a:pt x="25991" y="759272"/>
                  </a:cubicBezTo>
                  <a:cubicBezTo>
                    <a:pt x="29585" y="734785"/>
                    <a:pt x="50637" y="716638"/>
                    <a:pt x="76113" y="716163"/>
                  </a:cubicBezTo>
                  <a:lnTo>
                    <a:pt x="201242" y="713745"/>
                  </a:lnTo>
                  <a:cubicBezTo>
                    <a:pt x="222729" y="713310"/>
                    <a:pt x="242833" y="703919"/>
                    <a:pt x="256301" y="688030"/>
                  </a:cubicBezTo>
                  <a:cubicBezTo>
                    <a:pt x="270402" y="671349"/>
                    <a:pt x="282330" y="652925"/>
                    <a:pt x="291691" y="633272"/>
                  </a:cubicBezTo>
                  <a:cubicBezTo>
                    <a:pt x="301289" y="613025"/>
                    <a:pt x="308162" y="591510"/>
                    <a:pt x="312072" y="569362"/>
                  </a:cubicBezTo>
                  <a:cubicBezTo>
                    <a:pt x="314916" y="553315"/>
                    <a:pt x="311519" y="536871"/>
                    <a:pt x="303777" y="522449"/>
                  </a:cubicBezTo>
                  <a:cubicBezTo>
                    <a:pt x="304015" y="520467"/>
                    <a:pt x="303975" y="518526"/>
                    <a:pt x="303383" y="516624"/>
                  </a:cubicBezTo>
                  <a:cubicBezTo>
                    <a:pt x="306345" y="516109"/>
                    <a:pt x="309031" y="514326"/>
                    <a:pt x="310808" y="510760"/>
                  </a:cubicBezTo>
                  <a:cubicBezTo>
                    <a:pt x="313494" y="505451"/>
                    <a:pt x="316140" y="500102"/>
                    <a:pt x="318787" y="494752"/>
                  </a:cubicBezTo>
                  <a:cubicBezTo>
                    <a:pt x="325659" y="481003"/>
                    <a:pt x="305002" y="468840"/>
                    <a:pt x="298169" y="482668"/>
                  </a:cubicBezTo>
                  <a:cubicBezTo>
                    <a:pt x="295443" y="487977"/>
                    <a:pt x="292837" y="493326"/>
                    <a:pt x="290151" y="498636"/>
                  </a:cubicBezTo>
                  <a:cubicBezTo>
                    <a:pt x="289479" y="500023"/>
                    <a:pt x="289242" y="501370"/>
                    <a:pt x="289045" y="502717"/>
                  </a:cubicBezTo>
                  <a:cubicBezTo>
                    <a:pt x="288690" y="502400"/>
                    <a:pt x="288492" y="502004"/>
                    <a:pt x="288176" y="501686"/>
                  </a:cubicBezTo>
                  <a:cubicBezTo>
                    <a:pt x="287188" y="500815"/>
                    <a:pt x="283476" y="497922"/>
                    <a:pt x="275181" y="491662"/>
                  </a:cubicBezTo>
                  <a:lnTo>
                    <a:pt x="275221" y="491622"/>
                  </a:lnTo>
                  <a:cubicBezTo>
                    <a:pt x="279171" y="478309"/>
                    <a:pt x="283160" y="464956"/>
                    <a:pt x="287109" y="451643"/>
                  </a:cubicBezTo>
                  <a:cubicBezTo>
                    <a:pt x="291573" y="436825"/>
                    <a:pt x="268467" y="430485"/>
                    <a:pt x="264043" y="445264"/>
                  </a:cubicBezTo>
                  <a:cubicBezTo>
                    <a:pt x="260962" y="455606"/>
                    <a:pt x="257882" y="465947"/>
                    <a:pt x="254761" y="476328"/>
                  </a:cubicBezTo>
                  <a:cubicBezTo>
                    <a:pt x="247731" y="471019"/>
                    <a:pt x="239476" y="464877"/>
                    <a:pt x="229522" y="457389"/>
                  </a:cubicBezTo>
                  <a:cubicBezTo>
                    <a:pt x="228811" y="456834"/>
                    <a:pt x="227982" y="456239"/>
                    <a:pt x="227271" y="455685"/>
                  </a:cubicBezTo>
                  <a:cubicBezTo>
                    <a:pt x="231300" y="439677"/>
                    <a:pt x="235368" y="423749"/>
                    <a:pt x="239397" y="407742"/>
                  </a:cubicBezTo>
                  <a:cubicBezTo>
                    <a:pt x="243228" y="392765"/>
                    <a:pt x="220161" y="386425"/>
                    <a:pt x="216330" y="401363"/>
                  </a:cubicBezTo>
                  <a:cubicBezTo>
                    <a:pt x="213051" y="414280"/>
                    <a:pt x="209773" y="427197"/>
                    <a:pt x="206495" y="440113"/>
                  </a:cubicBezTo>
                  <a:cubicBezTo>
                    <a:pt x="200136" y="435359"/>
                    <a:pt x="194211" y="430881"/>
                    <a:pt x="189037" y="426998"/>
                  </a:cubicBezTo>
                  <a:cubicBezTo>
                    <a:pt x="189708" y="425968"/>
                    <a:pt x="190380" y="424898"/>
                    <a:pt x="190735" y="423512"/>
                  </a:cubicBezTo>
                  <a:cubicBezTo>
                    <a:pt x="194962" y="407583"/>
                    <a:pt x="199228" y="391655"/>
                    <a:pt x="203454" y="375767"/>
                  </a:cubicBezTo>
                  <a:cubicBezTo>
                    <a:pt x="206811" y="363127"/>
                    <a:pt x="190973" y="356827"/>
                    <a:pt x="183547" y="364038"/>
                  </a:cubicBezTo>
                  <a:cubicBezTo>
                    <a:pt x="193856" y="327388"/>
                    <a:pt x="216725" y="307933"/>
                    <a:pt x="252193" y="278652"/>
                  </a:cubicBezTo>
                  <a:cubicBezTo>
                    <a:pt x="258632" y="273343"/>
                    <a:pt x="265425" y="267716"/>
                    <a:pt x="273088" y="261179"/>
                  </a:cubicBezTo>
                  <a:cubicBezTo>
                    <a:pt x="291059" y="243943"/>
                    <a:pt x="320604" y="242319"/>
                    <a:pt x="340392" y="257494"/>
                  </a:cubicBezTo>
                  <a:lnTo>
                    <a:pt x="446996" y="339512"/>
                  </a:lnTo>
                  <a:cubicBezTo>
                    <a:pt x="460070" y="349537"/>
                    <a:pt x="476185" y="355084"/>
                    <a:pt x="492497" y="355084"/>
                  </a:cubicBezTo>
                  <a:cubicBezTo>
                    <a:pt x="492853" y="355559"/>
                    <a:pt x="495302" y="355044"/>
                    <a:pt x="496724" y="354965"/>
                  </a:cubicBezTo>
                  <a:cubicBezTo>
                    <a:pt x="518210" y="353697"/>
                    <a:pt x="550125" y="347516"/>
                    <a:pt x="580419" y="325248"/>
                  </a:cubicBezTo>
                  <a:cubicBezTo>
                    <a:pt x="583698" y="324971"/>
                    <a:pt x="586857" y="323386"/>
                    <a:pt x="588951" y="319503"/>
                  </a:cubicBezTo>
                  <a:cubicBezTo>
                    <a:pt x="589464" y="318552"/>
                    <a:pt x="589820" y="317561"/>
                    <a:pt x="590334" y="316611"/>
                  </a:cubicBezTo>
                  <a:cubicBezTo>
                    <a:pt x="613044" y="296601"/>
                    <a:pt x="626197" y="273660"/>
                    <a:pt x="632872" y="256900"/>
                  </a:cubicBezTo>
                  <a:cubicBezTo>
                    <a:pt x="633662" y="254958"/>
                    <a:pt x="634175" y="252937"/>
                    <a:pt x="634768" y="250917"/>
                  </a:cubicBezTo>
                  <a:cubicBezTo>
                    <a:pt x="652819" y="252264"/>
                    <a:pt x="670434" y="246360"/>
                    <a:pt x="683547" y="232968"/>
                  </a:cubicBezTo>
                  <a:cubicBezTo>
                    <a:pt x="694409" y="221953"/>
                    <a:pt x="677465" y="204994"/>
                    <a:pt x="666603" y="216009"/>
                  </a:cubicBezTo>
                  <a:cubicBezTo>
                    <a:pt x="658743" y="224092"/>
                    <a:pt x="648671" y="227936"/>
                    <a:pt x="637888" y="227381"/>
                  </a:cubicBezTo>
                  <a:cubicBezTo>
                    <a:pt x="637770" y="224092"/>
                    <a:pt x="637454" y="220764"/>
                    <a:pt x="636901" y="217436"/>
                  </a:cubicBezTo>
                  <a:lnTo>
                    <a:pt x="634413" y="202458"/>
                  </a:lnTo>
                  <a:cubicBezTo>
                    <a:pt x="648118" y="202300"/>
                    <a:pt x="661824" y="202102"/>
                    <a:pt x="675569" y="201864"/>
                  </a:cubicBezTo>
                  <a:cubicBezTo>
                    <a:pt x="690934" y="201705"/>
                    <a:pt x="691012" y="177694"/>
                    <a:pt x="675569" y="177893"/>
                  </a:cubicBezTo>
                  <a:cubicBezTo>
                    <a:pt x="660481" y="178130"/>
                    <a:pt x="645472" y="178328"/>
                    <a:pt x="630463" y="178566"/>
                  </a:cubicBezTo>
                  <a:lnTo>
                    <a:pt x="625802" y="150553"/>
                  </a:lnTo>
                  <a:cubicBezTo>
                    <a:pt x="642391" y="149364"/>
                    <a:pt x="659019" y="148176"/>
                    <a:pt x="675687" y="147026"/>
                  </a:cubicBezTo>
                  <a:cubicBezTo>
                    <a:pt x="690934" y="145957"/>
                    <a:pt x="691092" y="121986"/>
                    <a:pt x="675687" y="123055"/>
                  </a:cubicBezTo>
                  <a:cubicBezTo>
                    <a:pt x="657716" y="124284"/>
                    <a:pt x="639784" y="125551"/>
                    <a:pt x="621813" y="126819"/>
                  </a:cubicBezTo>
                  <a:lnTo>
                    <a:pt x="617389" y="100153"/>
                  </a:lnTo>
                  <a:cubicBezTo>
                    <a:pt x="633899" y="97816"/>
                    <a:pt x="650409" y="95557"/>
                    <a:pt x="666880" y="93259"/>
                  </a:cubicBezTo>
                  <a:cubicBezTo>
                    <a:pt x="682047" y="91199"/>
                    <a:pt x="675569" y="68059"/>
                    <a:pt x="660481" y="70160"/>
                  </a:cubicBezTo>
                  <a:cubicBezTo>
                    <a:pt x="646064" y="72140"/>
                    <a:pt x="631648" y="74121"/>
                    <a:pt x="617231" y="76143"/>
                  </a:cubicBezTo>
                  <a:cubicBezTo>
                    <a:pt x="620944" y="58748"/>
                    <a:pt x="633386" y="44088"/>
                    <a:pt x="651120" y="38145"/>
                  </a:cubicBezTo>
                  <a:cubicBezTo>
                    <a:pt x="667946" y="32479"/>
                    <a:pt x="685325" y="28358"/>
                    <a:pt x="702862" y="25901"/>
                  </a:cubicBezTo>
                  <a:cubicBezTo>
                    <a:pt x="734184" y="21464"/>
                    <a:pt x="766532" y="22295"/>
                    <a:pt x="798012" y="28278"/>
                  </a:cubicBezTo>
                  <a:cubicBezTo>
                    <a:pt x="821118" y="32637"/>
                    <a:pt x="838181" y="51101"/>
                    <a:pt x="840591" y="74121"/>
                  </a:cubicBezTo>
                  <a:lnTo>
                    <a:pt x="849516" y="161132"/>
                  </a:lnTo>
                  <a:cubicBezTo>
                    <a:pt x="851294" y="178724"/>
                    <a:pt x="858917" y="194811"/>
                    <a:pt x="870924" y="206421"/>
                  </a:cubicBezTo>
                  <a:cubicBezTo>
                    <a:pt x="886604" y="221596"/>
                    <a:pt x="904537" y="233324"/>
                    <a:pt x="924206" y="241368"/>
                  </a:cubicBezTo>
                  <a:cubicBezTo>
                    <a:pt x="961927" y="256781"/>
                    <a:pt x="1005019" y="257454"/>
                    <a:pt x="1046807" y="243784"/>
                  </a:cubicBezTo>
                  <a:cubicBezTo>
                    <a:pt x="1058815" y="239822"/>
                    <a:pt x="1069439" y="232769"/>
                    <a:pt x="1078010" y="223617"/>
                  </a:cubicBezTo>
                  <a:cubicBezTo>
                    <a:pt x="1088003" y="229085"/>
                    <a:pt x="1097997" y="234592"/>
                    <a:pt x="1107989" y="240060"/>
                  </a:cubicBezTo>
                  <a:cubicBezTo>
                    <a:pt x="1121458" y="247469"/>
                    <a:pt x="1133584" y="226747"/>
                    <a:pt x="1120036" y="219338"/>
                  </a:cubicBezTo>
                  <a:cubicBezTo>
                    <a:pt x="1110675" y="214187"/>
                    <a:pt x="1101314" y="209075"/>
                    <a:pt x="1091913" y="203924"/>
                  </a:cubicBezTo>
                  <a:lnTo>
                    <a:pt x="1099971" y="190215"/>
                  </a:lnTo>
                  <a:lnTo>
                    <a:pt x="1147724" y="212483"/>
                  </a:lnTo>
                  <a:cubicBezTo>
                    <a:pt x="1161627" y="218941"/>
                    <a:pt x="1173792" y="198298"/>
                    <a:pt x="1159811" y="191761"/>
                  </a:cubicBezTo>
                  <a:cubicBezTo>
                    <a:pt x="1143932" y="184351"/>
                    <a:pt x="1128014" y="176942"/>
                    <a:pt x="1112137" y="169572"/>
                  </a:cubicBezTo>
                  <a:lnTo>
                    <a:pt x="1128449" y="141836"/>
                  </a:lnTo>
                  <a:cubicBezTo>
                    <a:pt x="1148316" y="153089"/>
                    <a:pt x="1168183" y="164302"/>
                    <a:pt x="1188051" y="175515"/>
                  </a:cubicBezTo>
                  <a:cubicBezTo>
                    <a:pt x="1201520" y="183123"/>
                    <a:pt x="1213567" y="162400"/>
                    <a:pt x="1200137" y="154832"/>
                  </a:cubicBezTo>
                  <a:cubicBezTo>
                    <a:pt x="1180309" y="143619"/>
                    <a:pt x="1160482" y="132406"/>
                    <a:pt x="1140614" y="121193"/>
                  </a:cubicBezTo>
                  <a:lnTo>
                    <a:pt x="1146380" y="111367"/>
                  </a:lnTo>
                  <a:cubicBezTo>
                    <a:pt x="1149541" y="106057"/>
                    <a:pt x="1153727" y="101699"/>
                    <a:pt x="1158309" y="97855"/>
                  </a:cubicBezTo>
                  <a:cubicBezTo>
                    <a:pt x="1158151" y="101540"/>
                    <a:pt x="1159731" y="105146"/>
                    <a:pt x="1164313" y="107166"/>
                  </a:cubicBezTo>
                  <a:cubicBezTo>
                    <a:pt x="1188287" y="117785"/>
                    <a:pt x="1212224" y="128444"/>
                    <a:pt x="1236199" y="139063"/>
                  </a:cubicBezTo>
                  <a:cubicBezTo>
                    <a:pt x="1250141" y="145283"/>
                    <a:pt x="1262346" y="124640"/>
                    <a:pt x="1248245" y="118380"/>
                  </a:cubicBezTo>
                  <a:cubicBezTo>
                    <a:pt x="1225100" y="108117"/>
                    <a:pt x="1201994" y="97816"/>
                    <a:pt x="1178848" y="87554"/>
                  </a:cubicBezTo>
                  <a:cubicBezTo>
                    <a:pt x="1185010" y="86048"/>
                    <a:pt x="1191329" y="85295"/>
                    <a:pt x="1197768" y="86286"/>
                  </a:cubicBezTo>
                  <a:cubicBezTo>
                    <a:pt x="1219096" y="89614"/>
                    <a:pt x="1239635" y="96191"/>
                    <a:pt x="1258633" y="105859"/>
                  </a:cubicBezTo>
                  <a:cubicBezTo>
                    <a:pt x="1287585" y="120519"/>
                    <a:pt x="1312271" y="141598"/>
                    <a:pt x="1332099" y="168621"/>
                  </a:cubicBezTo>
                  <a:cubicBezTo>
                    <a:pt x="1344304" y="185223"/>
                    <a:pt x="1344777" y="208402"/>
                    <a:pt x="1333284" y="226351"/>
                  </a:cubicBezTo>
                  <a:lnTo>
                    <a:pt x="1273169" y="320335"/>
                  </a:lnTo>
                  <a:cubicBezTo>
                    <a:pt x="1260845" y="339591"/>
                    <a:pt x="1257962" y="363206"/>
                    <a:pt x="1265308" y="385078"/>
                  </a:cubicBezTo>
                  <a:cubicBezTo>
                    <a:pt x="1273840" y="410555"/>
                    <a:pt x="1285689" y="434764"/>
                    <a:pt x="1300461" y="457111"/>
                  </a:cubicBezTo>
                  <a:cubicBezTo>
                    <a:pt x="1311639" y="473951"/>
                    <a:pt x="1324475" y="489720"/>
                    <a:pt x="1338695" y="503984"/>
                  </a:cubicBezTo>
                  <a:cubicBezTo>
                    <a:pt x="1356074" y="521418"/>
                    <a:pt x="1381313" y="528828"/>
                    <a:pt x="1405209" y="524548"/>
                  </a:cubicBezTo>
                  <a:cubicBezTo>
                    <a:pt x="1413148" y="545786"/>
                    <a:pt x="1421087" y="566984"/>
                    <a:pt x="1429026" y="588222"/>
                  </a:cubicBezTo>
                  <a:cubicBezTo>
                    <a:pt x="1434398" y="602565"/>
                    <a:pt x="1457583" y="596345"/>
                    <a:pt x="1452133" y="581843"/>
                  </a:cubicBezTo>
                  <a:cubicBezTo>
                    <a:pt x="1444153" y="560526"/>
                    <a:pt x="1436175" y="539209"/>
                    <a:pt x="1428196" y="517892"/>
                  </a:cubicBezTo>
                  <a:cubicBezTo>
                    <a:pt x="1428118" y="517654"/>
                    <a:pt x="1427920" y="517536"/>
                    <a:pt x="1427841" y="517297"/>
                  </a:cubicBezTo>
                  <a:lnTo>
                    <a:pt x="1466825" y="501845"/>
                  </a:lnTo>
                  <a:cubicBezTo>
                    <a:pt x="1465917" y="504579"/>
                    <a:pt x="1465798" y="507590"/>
                    <a:pt x="1467141" y="510760"/>
                  </a:cubicBezTo>
                  <a:cubicBezTo>
                    <a:pt x="1475120" y="529422"/>
                    <a:pt x="1483137" y="548084"/>
                    <a:pt x="1491117" y="566746"/>
                  </a:cubicBezTo>
                  <a:cubicBezTo>
                    <a:pt x="1497159" y="580892"/>
                    <a:pt x="1517817" y="568688"/>
                    <a:pt x="1511773" y="554622"/>
                  </a:cubicBezTo>
                  <a:cubicBezTo>
                    <a:pt x="1503795" y="535999"/>
                    <a:pt x="1495816" y="517337"/>
                    <a:pt x="1487838" y="498675"/>
                  </a:cubicBezTo>
                  <a:cubicBezTo>
                    <a:pt x="1487087" y="496932"/>
                    <a:pt x="1486140" y="495624"/>
                    <a:pt x="1484995" y="494634"/>
                  </a:cubicBezTo>
                  <a:lnTo>
                    <a:pt x="1519357" y="481043"/>
                  </a:lnTo>
                  <a:lnTo>
                    <a:pt x="1533813" y="531879"/>
                  </a:lnTo>
                  <a:cubicBezTo>
                    <a:pt x="1538039" y="546697"/>
                    <a:pt x="1561145" y="540398"/>
                    <a:pt x="1556919" y="525499"/>
                  </a:cubicBezTo>
                  <a:cubicBezTo>
                    <a:pt x="1551942" y="508066"/>
                    <a:pt x="1546966" y="490632"/>
                    <a:pt x="1541989" y="473158"/>
                  </a:cubicBezTo>
                  <a:cubicBezTo>
                    <a:pt x="1549692" y="471296"/>
                    <a:pt x="1557591" y="470702"/>
                    <a:pt x="1565253" y="472326"/>
                  </a:cubicBezTo>
                  <a:cubicBezTo>
                    <a:pt x="1565293" y="473476"/>
                    <a:pt x="1565293" y="474624"/>
                    <a:pt x="1565727" y="475892"/>
                  </a:cubicBezTo>
                  <a:cubicBezTo>
                    <a:pt x="1573745" y="498556"/>
                    <a:pt x="1581723" y="521220"/>
                    <a:pt x="1589703" y="543884"/>
                  </a:cubicBezTo>
                  <a:cubicBezTo>
                    <a:pt x="1594798" y="558347"/>
                    <a:pt x="1617944" y="552086"/>
                    <a:pt x="1612769" y="537505"/>
                  </a:cubicBezTo>
                  <a:cubicBezTo>
                    <a:pt x="1607634" y="522924"/>
                    <a:pt x="1602499" y="508304"/>
                    <a:pt x="1597326" y="493722"/>
                  </a:cubicBezTo>
                  <a:cubicBezTo>
                    <a:pt x="1607792" y="505609"/>
                    <a:pt x="1616759" y="518486"/>
                    <a:pt x="1623236" y="532711"/>
                  </a:cubicBezTo>
                  <a:cubicBezTo>
                    <a:pt x="1639429" y="568292"/>
                    <a:pt x="1638798" y="602486"/>
                    <a:pt x="1635441" y="624952"/>
                  </a:cubicBezTo>
                  <a:cubicBezTo>
                    <a:pt x="1632834" y="642346"/>
                    <a:pt x="1620747" y="657442"/>
                    <a:pt x="1603922" y="664336"/>
                  </a:cubicBezTo>
                  <a:lnTo>
                    <a:pt x="1466351" y="720560"/>
                  </a:lnTo>
                  <a:cubicBezTo>
                    <a:pt x="1447550" y="728247"/>
                    <a:pt x="1433015" y="742710"/>
                    <a:pt x="1425431" y="761292"/>
                  </a:cubicBezTo>
                  <a:cubicBezTo>
                    <a:pt x="1416032" y="784115"/>
                    <a:pt x="1410937" y="808086"/>
                    <a:pt x="1410264" y="832573"/>
                  </a:cubicBezTo>
                  <a:cubicBezTo>
                    <a:pt x="1409554" y="858803"/>
                    <a:pt x="1413898" y="884597"/>
                    <a:pt x="1423101" y="909282"/>
                  </a:cubicBezTo>
                  <a:cubicBezTo>
                    <a:pt x="1427565" y="921248"/>
                    <a:pt x="1435267" y="931510"/>
                    <a:pt x="1444984" y="939672"/>
                  </a:cubicBezTo>
                  <a:cubicBezTo>
                    <a:pt x="1437517" y="965545"/>
                    <a:pt x="1430092" y="991459"/>
                    <a:pt x="1422588" y="1017371"/>
                  </a:cubicBezTo>
                  <a:cubicBezTo>
                    <a:pt x="1418362" y="1032230"/>
                    <a:pt x="1441428" y="1038570"/>
                    <a:pt x="1445693" y="1023711"/>
                  </a:cubicBezTo>
                  <a:cubicBezTo>
                    <a:pt x="1452487" y="1000057"/>
                    <a:pt x="1459320" y="976402"/>
                    <a:pt x="1466114" y="952747"/>
                  </a:cubicBezTo>
                  <a:lnTo>
                    <a:pt x="1487047" y="963049"/>
                  </a:lnTo>
                  <a:cubicBezTo>
                    <a:pt x="1486100" y="964555"/>
                    <a:pt x="1485389" y="966298"/>
                    <a:pt x="1485153" y="968398"/>
                  </a:cubicBezTo>
                  <a:lnTo>
                    <a:pt x="1477332" y="1040352"/>
                  </a:lnTo>
                  <a:cubicBezTo>
                    <a:pt x="1475634" y="1055687"/>
                    <a:pt x="1499609" y="1055568"/>
                    <a:pt x="1501267" y="1040352"/>
                  </a:cubicBezTo>
                  <a:lnTo>
                    <a:pt x="1508534" y="973629"/>
                  </a:lnTo>
                  <a:lnTo>
                    <a:pt x="1535354" y="986783"/>
                  </a:lnTo>
                  <a:cubicBezTo>
                    <a:pt x="1534801" y="987575"/>
                    <a:pt x="1534208" y="988249"/>
                    <a:pt x="1533813" y="989240"/>
                  </a:cubicBezTo>
                  <a:cubicBezTo>
                    <a:pt x="1525835" y="1010556"/>
                    <a:pt x="1517857" y="1031873"/>
                    <a:pt x="1509877" y="1053190"/>
                  </a:cubicBezTo>
                  <a:cubicBezTo>
                    <a:pt x="1504466" y="1067652"/>
                    <a:pt x="1527612" y="1073913"/>
                    <a:pt x="1532944" y="1059530"/>
                  </a:cubicBezTo>
                  <a:cubicBezTo>
                    <a:pt x="1540765" y="1038768"/>
                    <a:pt x="1548545" y="1017926"/>
                    <a:pt x="1556327" y="997124"/>
                  </a:cubicBezTo>
                  <a:lnTo>
                    <a:pt x="1591046" y="1014162"/>
                  </a:lnTo>
                  <a:cubicBezTo>
                    <a:pt x="1588596" y="1015509"/>
                    <a:pt x="1586622" y="1017728"/>
                    <a:pt x="1585673" y="1021215"/>
                  </a:cubicBezTo>
                  <a:cubicBezTo>
                    <a:pt x="1580381" y="1041184"/>
                    <a:pt x="1575049" y="1061155"/>
                    <a:pt x="1569717" y="1081163"/>
                  </a:cubicBezTo>
                  <a:cubicBezTo>
                    <a:pt x="1565727" y="1096101"/>
                    <a:pt x="1588834" y="1102441"/>
                    <a:pt x="1592822" y="1087543"/>
                  </a:cubicBezTo>
                  <a:cubicBezTo>
                    <a:pt x="1598155" y="1067573"/>
                    <a:pt x="1603448" y="1047564"/>
                    <a:pt x="1608779" y="1027594"/>
                  </a:cubicBezTo>
                  <a:cubicBezTo>
                    <a:pt x="1609214" y="1025930"/>
                    <a:pt x="1609214" y="1024464"/>
                    <a:pt x="1609056" y="1023038"/>
                  </a:cubicBezTo>
                  <a:lnTo>
                    <a:pt x="1617786" y="1027317"/>
                  </a:lnTo>
                  <a:cubicBezTo>
                    <a:pt x="1637099" y="1036826"/>
                    <a:pt x="1648672" y="1057073"/>
                    <a:pt x="1646618" y="1077717"/>
                  </a:cubicBezTo>
                  <a:cubicBezTo>
                    <a:pt x="1643933" y="1104580"/>
                    <a:pt x="1635085" y="1129107"/>
                    <a:pt x="1620352" y="1150661"/>
                  </a:cubicBezTo>
                  <a:cubicBezTo>
                    <a:pt x="1607002" y="1170235"/>
                    <a:pt x="1589623" y="1186242"/>
                    <a:pt x="1568610" y="1198208"/>
                  </a:cubicBezTo>
                  <a:cubicBezTo>
                    <a:pt x="1553918" y="1206608"/>
                    <a:pt x="1535670" y="1207321"/>
                    <a:pt x="1520463" y="1200110"/>
                  </a:cubicBezTo>
                  <a:lnTo>
                    <a:pt x="1409554" y="1147333"/>
                  </a:lnTo>
                  <a:cubicBezTo>
                    <a:pt x="1394229" y="1140043"/>
                    <a:pt x="1377008" y="1138101"/>
                    <a:pt x="1360616" y="1141944"/>
                  </a:cubicBezTo>
                  <a:cubicBezTo>
                    <a:pt x="1332731" y="1148442"/>
                    <a:pt x="1307965" y="1161042"/>
                    <a:pt x="1287071" y="1179387"/>
                  </a:cubicBezTo>
                  <a:cubicBezTo>
                    <a:pt x="1254485" y="1208034"/>
                    <a:pt x="1240425" y="1243140"/>
                    <a:pt x="1234382" y="1267587"/>
                  </a:cubicBezTo>
                  <a:cubicBezTo>
                    <a:pt x="1230788" y="1282088"/>
                    <a:pt x="1232288" y="1297184"/>
                    <a:pt x="1237502" y="1311092"/>
                  </a:cubicBezTo>
                  <a:cubicBezTo>
                    <a:pt x="1217595" y="1327298"/>
                    <a:pt x="1197688" y="1343503"/>
                    <a:pt x="1177781" y="1359709"/>
                  </a:cubicBezTo>
                  <a:cubicBezTo>
                    <a:pt x="1165813" y="1369456"/>
                    <a:pt x="1182877" y="1386335"/>
                    <a:pt x="1194727" y="1376667"/>
                  </a:cubicBezTo>
                  <a:cubicBezTo>
                    <a:pt x="1212895" y="1361888"/>
                    <a:pt x="1231024" y="1347109"/>
                    <a:pt x="1249194" y="1332330"/>
                  </a:cubicBezTo>
                  <a:cubicBezTo>
                    <a:pt x="1249312" y="1332449"/>
                    <a:pt x="1249390" y="1332647"/>
                    <a:pt x="1249510" y="1332766"/>
                  </a:cubicBezTo>
                  <a:lnTo>
                    <a:pt x="1259226" y="1344573"/>
                  </a:lnTo>
                  <a:cubicBezTo>
                    <a:pt x="1243861" y="1358758"/>
                    <a:pt x="1228496" y="1372943"/>
                    <a:pt x="1213171" y="1387127"/>
                  </a:cubicBezTo>
                  <a:cubicBezTo>
                    <a:pt x="1201836" y="1397588"/>
                    <a:pt x="1218780" y="1414507"/>
                    <a:pt x="1230076" y="1404086"/>
                  </a:cubicBezTo>
                  <a:cubicBezTo>
                    <a:pt x="1244888" y="1390416"/>
                    <a:pt x="1259660" y="1376747"/>
                    <a:pt x="1274432" y="1363077"/>
                  </a:cubicBezTo>
                  <a:lnTo>
                    <a:pt x="1291771" y="1384116"/>
                  </a:lnTo>
                  <a:cubicBezTo>
                    <a:pt x="1277513" y="1398420"/>
                    <a:pt x="1263215" y="1412684"/>
                    <a:pt x="1248956" y="1426987"/>
                  </a:cubicBezTo>
                  <a:cubicBezTo>
                    <a:pt x="1238055" y="1437884"/>
                    <a:pt x="1254960" y="1454882"/>
                    <a:pt x="1265900" y="1443946"/>
                  </a:cubicBezTo>
                  <a:cubicBezTo>
                    <a:pt x="1279606" y="1430197"/>
                    <a:pt x="1293351" y="1416448"/>
                    <a:pt x="1307096" y="1402699"/>
                  </a:cubicBezTo>
                  <a:lnTo>
                    <a:pt x="1326332" y="1426037"/>
                  </a:lnTo>
                  <a:cubicBezTo>
                    <a:pt x="1328939" y="1429286"/>
                    <a:pt x="1330993" y="1432773"/>
                    <a:pt x="1332731" y="1436339"/>
                  </a:cubicBezTo>
                  <a:cubicBezTo>
                    <a:pt x="1315707" y="1452148"/>
                    <a:pt x="1298684" y="1467957"/>
                    <a:pt x="1281660" y="1483767"/>
                  </a:cubicBezTo>
                  <a:cubicBezTo>
                    <a:pt x="1270324" y="1494267"/>
                    <a:pt x="1287309" y="1511185"/>
                    <a:pt x="1298604" y="1500725"/>
                  </a:cubicBezTo>
                  <a:cubicBezTo>
                    <a:pt x="1311599" y="1488640"/>
                    <a:pt x="1324595" y="1476555"/>
                    <a:pt x="1337588" y="1464510"/>
                  </a:cubicBezTo>
                  <a:cubicBezTo>
                    <a:pt x="1336404" y="1475921"/>
                    <a:pt x="1331586" y="1487055"/>
                    <a:pt x="1322896" y="1495930"/>
                  </a:cubicBezTo>
                  <a:cubicBezTo>
                    <a:pt x="1305753" y="1513444"/>
                    <a:pt x="1286479" y="1528619"/>
                    <a:pt x="1265624" y="1541061"/>
                  </a:cubicBezTo>
                  <a:cubicBezTo>
                    <a:pt x="1249154" y="1550926"/>
                    <a:pt x="1231577" y="1559128"/>
                    <a:pt x="1213409" y="1565468"/>
                  </a:cubicBezTo>
                  <a:cubicBezTo>
                    <a:pt x="1190105" y="1573551"/>
                    <a:pt x="1162654" y="1561783"/>
                    <a:pt x="1151397" y="1539198"/>
                  </a:cubicBezTo>
                  <a:lnTo>
                    <a:pt x="1105184" y="1446561"/>
                  </a:lnTo>
                  <a:cubicBezTo>
                    <a:pt x="1098075" y="1432258"/>
                    <a:pt x="1086740" y="1420807"/>
                    <a:pt x="1072520" y="1413357"/>
                  </a:cubicBezTo>
                  <a:cubicBezTo>
                    <a:pt x="1048585" y="1400837"/>
                    <a:pt x="1008534" y="1385780"/>
                    <a:pt x="958688" y="1388871"/>
                  </a:cubicBezTo>
                  <a:cubicBezTo>
                    <a:pt x="927406" y="1390892"/>
                    <a:pt x="897388" y="1399648"/>
                    <a:pt x="869463" y="1414903"/>
                  </a:cubicBezTo>
                  <a:cubicBezTo>
                    <a:pt x="852360" y="1424253"/>
                    <a:pt x="840116" y="1440736"/>
                    <a:pt x="834744" y="1459874"/>
                  </a:cubicBezTo>
                  <a:cubicBezTo>
                    <a:pt x="812270" y="1458646"/>
                    <a:pt x="789796" y="1457378"/>
                    <a:pt x="767322" y="1456110"/>
                  </a:cubicBezTo>
                  <a:cubicBezTo>
                    <a:pt x="751879" y="1455278"/>
                    <a:pt x="751997" y="1479249"/>
                    <a:pt x="767322" y="1480121"/>
                  </a:cubicBezTo>
                  <a:cubicBezTo>
                    <a:pt x="788295" y="1481270"/>
                    <a:pt x="809229" y="1482459"/>
                    <a:pt x="830203" y="1483608"/>
                  </a:cubicBezTo>
                  <a:lnTo>
                    <a:pt x="826292" y="1510987"/>
                  </a:lnTo>
                  <a:cubicBezTo>
                    <a:pt x="805042" y="1507619"/>
                    <a:pt x="783714" y="1504212"/>
                    <a:pt x="762464" y="1500804"/>
                  </a:cubicBezTo>
                  <a:cubicBezTo>
                    <a:pt x="747415" y="1498387"/>
                    <a:pt x="740938" y="1521487"/>
                    <a:pt x="756105" y="1523904"/>
                  </a:cubicBezTo>
                  <a:cubicBezTo>
                    <a:pt x="778381" y="1527470"/>
                    <a:pt x="800658" y="1531036"/>
                    <a:pt x="822934" y="1534602"/>
                  </a:cubicBezTo>
                  <a:lnTo>
                    <a:pt x="819459" y="1558930"/>
                  </a:lnTo>
                  <a:cubicBezTo>
                    <a:pt x="800737" y="1556593"/>
                    <a:pt x="782015" y="1554294"/>
                    <a:pt x="763294" y="1551957"/>
                  </a:cubicBezTo>
                  <a:cubicBezTo>
                    <a:pt x="748087" y="1550015"/>
                    <a:pt x="748245" y="1574026"/>
                    <a:pt x="763294" y="1575928"/>
                  </a:cubicBezTo>
                  <a:cubicBezTo>
                    <a:pt x="780909" y="1578107"/>
                    <a:pt x="798525" y="1580326"/>
                    <a:pt x="816101" y="1582505"/>
                  </a:cubicBezTo>
                  <a:lnTo>
                    <a:pt x="814048" y="1596690"/>
                  </a:lnTo>
                  <a:cubicBezTo>
                    <a:pt x="813889" y="1597879"/>
                    <a:pt x="813376" y="1598909"/>
                    <a:pt x="813139" y="1600058"/>
                  </a:cubicBezTo>
                  <a:lnTo>
                    <a:pt x="751365" y="1600058"/>
                  </a:lnTo>
                  <a:cubicBezTo>
                    <a:pt x="735961" y="1600058"/>
                    <a:pt x="735961" y="1624030"/>
                    <a:pt x="751365" y="1624030"/>
                  </a:cubicBezTo>
                  <a:lnTo>
                    <a:pt x="801251" y="1624030"/>
                  </a:lnTo>
                  <a:cubicBezTo>
                    <a:pt x="795721" y="1630250"/>
                    <a:pt x="788849" y="1635282"/>
                    <a:pt x="780751" y="1638056"/>
                  </a:cubicBezTo>
                  <a:cubicBezTo>
                    <a:pt x="760133" y="1645188"/>
                    <a:pt x="739121" y="1648437"/>
                    <a:pt x="717121" y="1647565"/>
                  </a:cubicBezTo>
                  <a:cubicBezTo>
                    <a:pt x="691210" y="1646496"/>
                    <a:pt x="666090" y="1639720"/>
                    <a:pt x="642589" y="1627318"/>
                  </a:cubicBezTo>
                  <a:cubicBezTo>
                    <a:pt x="624499" y="1617730"/>
                    <a:pt x="613993" y="1597958"/>
                    <a:pt x="615967" y="1576958"/>
                  </a:cubicBezTo>
                  <a:lnTo>
                    <a:pt x="628725" y="1439231"/>
                  </a:lnTo>
                  <a:cubicBezTo>
                    <a:pt x="631134" y="1412961"/>
                    <a:pt x="619759" y="1387722"/>
                    <a:pt x="598272" y="1371675"/>
                  </a:cubicBezTo>
                  <a:close/>
                  <a:moveTo>
                    <a:pt x="1360853" y="488175"/>
                  </a:moveTo>
                  <a:cubicBezTo>
                    <a:pt x="1359866" y="488690"/>
                    <a:pt x="1359036" y="489284"/>
                    <a:pt x="1358246" y="490038"/>
                  </a:cubicBezTo>
                  <a:cubicBezTo>
                    <a:pt x="1357259" y="489166"/>
                    <a:pt x="1356034" y="488611"/>
                    <a:pt x="1355087" y="487660"/>
                  </a:cubicBezTo>
                  <a:cubicBezTo>
                    <a:pt x="1353980" y="486550"/>
                    <a:pt x="1353071" y="485283"/>
                    <a:pt x="1351966" y="484173"/>
                  </a:cubicBezTo>
                  <a:cubicBezTo>
                    <a:pt x="1354889" y="485679"/>
                    <a:pt x="1357891" y="486868"/>
                    <a:pt x="1360853" y="488175"/>
                  </a:cubicBezTo>
                  <a:close/>
                  <a:moveTo>
                    <a:pt x="631885" y="1647803"/>
                  </a:moveTo>
                  <a:cubicBezTo>
                    <a:pt x="658427" y="1661829"/>
                    <a:pt x="686786" y="1669516"/>
                    <a:pt x="716212" y="1670705"/>
                  </a:cubicBezTo>
                  <a:cubicBezTo>
                    <a:pt x="802633" y="1674112"/>
                    <a:pt x="838101" y="1657946"/>
                    <a:pt x="851728" y="1575334"/>
                  </a:cubicBezTo>
                  <a:cubicBezTo>
                    <a:pt x="869739" y="1466570"/>
                    <a:pt x="935305" y="1367792"/>
                    <a:pt x="1061856" y="1433921"/>
                  </a:cubicBezTo>
                  <a:cubicBezTo>
                    <a:pt x="1071730" y="1439072"/>
                    <a:pt x="1079551" y="1447037"/>
                    <a:pt x="1084488" y="1456902"/>
                  </a:cubicBezTo>
                  <a:lnTo>
                    <a:pt x="1130739" y="1549579"/>
                  </a:lnTo>
                  <a:cubicBezTo>
                    <a:pt x="1147053" y="1582228"/>
                    <a:pt x="1187024" y="1599147"/>
                    <a:pt x="1221031" y="1587340"/>
                  </a:cubicBezTo>
                  <a:cubicBezTo>
                    <a:pt x="1240662" y="1580485"/>
                    <a:pt x="1259660" y="1571609"/>
                    <a:pt x="1277473" y="1560951"/>
                  </a:cubicBezTo>
                  <a:cubicBezTo>
                    <a:pt x="1345922" y="1520060"/>
                    <a:pt x="1390634" y="1471682"/>
                    <a:pt x="1349201" y="1395924"/>
                  </a:cubicBezTo>
                  <a:cubicBezTo>
                    <a:pt x="1320881" y="1344137"/>
                    <a:pt x="1246151" y="1166154"/>
                    <a:pt x="1367449" y="1160250"/>
                  </a:cubicBezTo>
                  <a:cubicBezTo>
                    <a:pt x="1412160" y="1158071"/>
                    <a:pt x="1471762" y="1202567"/>
                    <a:pt x="1510549" y="1221030"/>
                  </a:cubicBezTo>
                  <a:cubicBezTo>
                    <a:pt x="1532471" y="1231451"/>
                    <a:pt x="1558894" y="1230461"/>
                    <a:pt x="1580065" y="1218376"/>
                  </a:cubicBezTo>
                  <a:cubicBezTo>
                    <a:pt x="1604159" y="1204587"/>
                    <a:pt x="1624144" y="1186242"/>
                    <a:pt x="1639469" y="1163736"/>
                  </a:cubicBezTo>
                  <a:cubicBezTo>
                    <a:pt x="1679836" y="1104541"/>
                    <a:pt x="1683075" y="1039917"/>
                    <a:pt x="1634769" y="998234"/>
                  </a:cubicBezTo>
                  <a:cubicBezTo>
                    <a:pt x="1628054" y="992410"/>
                    <a:pt x="1620274" y="987021"/>
                    <a:pt x="1611505" y="982147"/>
                  </a:cubicBezTo>
                  <a:cubicBezTo>
                    <a:pt x="1535630" y="940306"/>
                    <a:pt x="1406236" y="901317"/>
                    <a:pt x="1440007" y="788949"/>
                  </a:cubicBezTo>
                  <a:cubicBezTo>
                    <a:pt x="1458886" y="725989"/>
                    <a:pt x="1555892" y="708951"/>
                    <a:pt x="1612651" y="685772"/>
                  </a:cubicBezTo>
                  <a:cubicBezTo>
                    <a:pt x="1637021" y="675787"/>
                    <a:pt x="1654478" y="653797"/>
                    <a:pt x="1658310" y="628399"/>
                  </a:cubicBezTo>
                  <a:cubicBezTo>
                    <a:pt x="1662141" y="602843"/>
                    <a:pt x="1662773" y="563854"/>
                    <a:pt x="1644328" y="523122"/>
                  </a:cubicBezTo>
                  <a:cubicBezTo>
                    <a:pt x="1625448" y="481638"/>
                    <a:pt x="1585753" y="440153"/>
                    <a:pt x="1536617" y="439241"/>
                  </a:cubicBezTo>
                  <a:cubicBezTo>
                    <a:pt x="1492854" y="438449"/>
                    <a:pt x="1459162" y="478428"/>
                    <a:pt x="1414056" y="476606"/>
                  </a:cubicBezTo>
                  <a:cubicBezTo>
                    <a:pt x="1276999" y="471098"/>
                    <a:pt x="1300461" y="320652"/>
                    <a:pt x="1352756" y="238871"/>
                  </a:cubicBezTo>
                  <a:cubicBezTo>
                    <a:pt x="1369385" y="212879"/>
                    <a:pt x="1368554" y="179160"/>
                    <a:pt x="1350741" y="154872"/>
                  </a:cubicBezTo>
                  <a:cubicBezTo>
                    <a:pt x="1328741" y="124957"/>
                    <a:pt x="1301291" y="101501"/>
                    <a:pt x="1269061" y="85176"/>
                  </a:cubicBezTo>
                  <a:cubicBezTo>
                    <a:pt x="1247889" y="74439"/>
                    <a:pt x="1225060" y="67148"/>
                    <a:pt x="1201322" y="63384"/>
                  </a:cubicBezTo>
                  <a:cubicBezTo>
                    <a:pt x="1081881" y="44603"/>
                    <a:pt x="1093217" y="253967"/>
                    <a:pt x="970774" y="224528"/>
                  </a:cubicBezTo>
                  <a:cubicBezTo>
                    <a:pt x="868238" y="199883"/>
                    <a:pt x="894189" y="22930"/>
                    <a:pt x="802120" y="5456"/>
                  </a:cubicBezTo>
                  <a:cubicBezTo>
                    <a:pt x="768231" y="-923"/>
                    <a:pt x="733433" y="-1795"/>
                    <a:pt x="699623" y="2960"/>
                  </a:cubicBezTo>
                  <a:cubicBezTo>
                    <a:pt x="680744" y="5614"/>
                    <a:pt x="661982" y="10052"/>
                    <a:pt x="643774" y="16154"/>
                  </a:cubicBezTo>
                  <a:cubicBezTo>
                    <a:pt x="596298" y="32083"/>
                    <a:pt x="580537" y="66990"/>
                    <a:pt x="586502" y="112555"/>
                  </a:cubicBezTo>
                  <a:cubicBezTo>
                    <a:pt x="595705" y="182370"/>
                    <a:pt x="604039" y="237643"/>
                    <a:pt x="569874" y="303892"/>
                  </a:cubicBezTo>
                  <a:cubicBezTo>
                    <a:pt x="568886" y="304645"/>
                    <a:pt x="568254" y="305516"/>
                    <a:pt x="567188" y="306269"/>
                  </a:cubicBezTo>
                  <a:cubicBezTo>
                    <a:pt x="495381" y="359521"/>
                    <a:pt x="408920" y="280990"/>
                    <a:pt x="354414" y="239109"/>
                  </a:cubicBezTo>
                  <a:cubicBezTo>
                    <a:pt x="325857" y="217158"/>
                    <a:pt x="282686" y="219932"/>
                    <a:pt x="257605" y="243943"/>
                  </a:cubicBezTo>
                  <a:cubicBezTo>
                    <a:pt x="250614" y="249966"/>
                    <a:pt x="243899" y="255473"/>
                    <a:pt x="237501" y="260743"/>
                  </a:cubicBezTo>
                  <a:cubicBezTo>
                    <a:pt x="191328" y="298899"/>
                    <a:pt x="132437" y="367842"/>
                    <a:pt x="157360" y="433298"/>
                  </a:cubicBezTo>
                  <a:cubicBezTo>
                    <a:pt x="171855" y="471494"/>
                    <a:pt x="200096" y="478508"/>
                    <a:pt x="228653" y="499309"/>
                  </a:cubicBezTo>
                  <a:cubicBezTo>
                    <a:pt x="287505" y="542181"/>
                    <a:pt x="291771" y="643336"/>
                    <a:pt x="225888" y="683118"/>
                  </a:cubicBezTo>
                  <a:cubicBezTo>
                    <a:pt x="188998" y="705425"/>
                    <a:pt x="117467" y="692151"/>
                    <a:pt x="75600" y="692983"/>
                  </a:cubicBezTo>
                  <a:cubicBezTo>
                    <a:pt x="38827" y="693697"/>
                    <a:pt x="8335" y="720164"/>
                    <a:pt x="3121" y="755943"/>
                  </a:cubicBezTo>
                  <a:cubicBezTo>
                    <a:pt x="1305" y="768543"/>
                    <a:pt x="238" y="781341"/>
                    <a:pt x="-78" y="794060"/>
                  </a:cubicBezTo>
                  <a:cubicBezTo>
                    <a:pt x="-670" y="819735"/>
                    <a:pt x="1936" y="845569"/>
                    <a:pt x="7625" y="870848"/>
                  </a:cubicBezTo>
                  <a:cubicBezTo>
                    <a:pt x="25201" y="948746"/>
                    <a:pt x="106448" y="937731"/>
                    <a:pt x="168064" y="943119"/>
                  </a:cubicBezTo>
                  <a:cubicBezTo>
                    <a:pt x="212815" y="947042"/>
                    <a:pt x="251799" y="960672"/>
                    <a:pt x="277512" y="999106"/>
                  </a:cubicBezTo>
                  <a:cubicBezTo>
                    <a:pt x="352557" y="1111118"/>
                    <a:pt x="258632" y="1160765"/>
                    <a:pt x="180901" y="1224478"/>
                  </a:cubicBezTo>
                  <a:cubicBezTo>
                    <a:pt x="154239" y="1246349"/>
                    <a:pt x="145669" y="1282960"/>
                    <a:pt x="160085" y="1313549"/>
                  </a:cubicBezTo>
                  <a:cubicBezTo>
                    <a:pt x="172053" y="1338867"/>
                    <a:pt x="188050" y="1361769"/>
                    <a:pt x="207483" y="1381541"/>
                  </a:cubicBezTo>
                  <a:cubicBezTo>
                    <a:pt x="222689" y="1397033"/>
                    <a:pt x="239989" y="1410465"/>
                    <a:pt x="258988" y="1421599"/>
                  </a:cubicBezTo>
                  <a:cubicBezTo>
                    <a:pt x="313376" y="1453337"/>
                    <a:pt x="332571" y="1428374"/>
                    <a:pt x="371161" y="1394775"/>
                  </a:cubicBezTo>
                  <a:cubicBezTo>
                    <a:pt x="415753" y="1355984"/>
                    <a:pt x="459319" y="1349565"/>
                    <a:pt x="514103" y="1365732"/>
                  </a:cubicBezTo>
                  <a:cubicBezTo>
                    <a:pt x="554746" y="1377737"/>
                    <a:pt x="597641" y="1381818"/>
                    <a:pt x="605619" y="1429286"/>
                  </a:cubicBezTo>
                  <a:cubicBezTo>
                    <a:pt x="612966" y="1473504"/>
                    <a:pt x="597087" y="1530164"/>
                    <a:pt x="592940" y="1574818"/>
                  </a:cubicBezTo>
                  <a:cubicBezTo>
                    <a:pt x="590136" y="1605169"/>
                    <a:pt x="605421" y="1633816"/>
                    <a:pt x="631885" y="1647803"/>
                  </a:cubicBezTo>
                  <a:close/>
                </a:path>
              </a:pathLst>
            </a:custGeom>
            <a:solidFill>
              <a:schemeClr val="bg1"/>
            </a:solidFill>
            <a:ln w="39496" cap="flat">
              <a:noFill/>
              <a:prstDash val="solid"/>
              <a:round/>
            </a:ln>
          </p:spPr>
          <p:txBody>
            <a:bodyPr rtlCol="0" anchor="ctr"/>
            <a:lstStyle/>
            <a:p>
              <a:endParaRPr lang="en-LT"/>
            </a:p>
          </p:txBody>
        </p:sp>
        <p:sp>
          <p:nvSpPr>
            <p:cNvPr id="116" name="Freeform 115">
              <a:extLst>
                <a:ext uri="{FF2B5EF4-FFF2-40B4-BE49-F238E27FC236}">
                  <a16:creationId xmlns:a16="http://schemas.microsoft.com/office/drawing/2014/main" id="{850DC553-8042-8842-937A-8059BAF5FF06}"/>
                </a:ext>
              </a:extLst>
            </p:cNvPr>
            <p:cNvSpPr/>
            <p:nvPr/>
          </p:nvSpPr>
          <p:spPr>
            <a:xfrm>
              <a:off x="9295685" y="1747020"/>
              <a:ext cx="526284" cy="523195"/>
            </a:xfrm>
            <a:custGeom>
              <a:avLst/>
              <a:gdLst>
                <a:gd name="connsiteX0" fmla="*/ 186398 w 975245"/>
                <a:gd name="connsiteY0" fmla="*/ 834306 h 969519"/>
                <a:gd name="connsiteX1" fmla="*/ 26195 w 975245"/>
                <a:gd name="connsiteY1" fmla="*/ 563170 h 969519"/>
                <a:gd name="connsiteX2" fmla="*/ 86390 w 975245"/>
                <a:gd name="connsiteY2" fmla="*/ 234027 h 969519"/>
                <a:gd name="connsiteX3" fmla="*/ 472440 w 975245"/>
                <a:gd name="connsiteY3" fmla="*/ 23117 h 969519"/>
                <a:gd name="connsiteX4" fmla="*/ 604520 w 975245"/>
                <a:gd name="connsiteY4" fmla="*/ 35955 h 969519"/>
                <a:gd name="connsiteX5" fmla="*/ 951625 w 975245"/>
                <a:gd name="connsiteY5" fmla="*/ 467838 h 969519"/>
                <a:gd name="connsiteX6" fmla="*/ 913431 w 975245"/>
                <a:gd name="connsiteY6" fmla="*/ 652083 h 969519"/>
                <a:gd name="connsiteX7" fmla="*/ 610800 w 975245"/>
                <a:gd name="connsiteY7" fmla="*/ 936849 h 969519"/>
                <a:gd name="connsiteX8" fmla="*/ 525367 w 975245"/>
                <a:gd name="connsiteY8" fmla="*/ 944337 h 969519"/>
                <a:gd name="connsiteX9" fmla="*/ 495664 w 975245"/>
                <a:gd name="connsiteY9" fmla="*/ 944059 h 969519"/>
                <a:gd name="connsiteX10" fmla="*/ 465646 w 975245"/>
                <a:gd name="connsiteY10" fmla="*/ 943743 h 969519"/>
                <a:gd name="connsiteX11" fmla="*/ 416985 w 975245"/>
                <a:gd name="connsiteY11" fmla="*/ 945566 h 969519"/>
                <a:gd name="connsiteX12" fmla="*/ 186398 w 975245"/>
                <a:gd name="connsiteY12" fmla="*/ 834306 h 969519"/>
                <a:gd name="connsiteX13" fmla="*/ 419038 w 975245"/>
                <a:gd name="connsiteY13" fmla="*/ 968626 h 969519"/>
                <a:gd name="connsiteX14" fmla="*/ 465646 w 975245"/>
                <a:gd name="connsiteY14" fmla="*/ 966922 h 969519"/>
                <a:gd name="connsiteX15" fmla="*/ 495308 w 975245"/>
                <a:gd name="connsiteY15" fmla="*/ 967239 h 969519"/>
                <a:gd name="connsiteX16" fmla="*/ 525367 w 975245"/>
                <a:gd name="connsiteY16" fmla="*/ 967516 h 969519"/>
                <a:gd name="connsiteX17" fmla="*/ 615855 w 975245"/>
                <a:gd name="connsiteY17" fmla="*/ 959433 h 969519"/>
                <a:gd name="connsiteX18" fmla="*/ 934601 w 975245"/>
                <a:gd name="connsiteY18" fmla="*/ 661354 h 969519"/>
                <a:gd name="connsiteX19" fmla="*/ 974731 w 975245"/>
                <a:gd name="connsiteY19" fmla="*/ 468829 h 969519"/>
                <a:gd name="connsiteX20" fmla="*/ 608746 w 975245"/>
                <a:gd name="connsiteY20" fmla="*/ 13172 h 969519"/>
                <a:gd name="connsiteX21" fmla="*/ 472440 w 975245"/>
                <a:gd name="connsiteY21" fmla="*/ -62 h 969519"/>
                <a:gd name="connsiteX22" fmla="*/ 66285 w 975245"/>
                <a:gd name="connsiteY22" fmla="*/ 222497 h 969519"/>
                <a:gd name="connsiteX23" fmla="*/ 3168 w 975245"/>
                <a:gd name="connsiteY23" fmla="*/ 565468 h 969519"/>
                <a:gd name="connsiteX24" fmla="*/ 169809 w 975245"/>
                <a:gd name="connsiteY24" fmla="*/ 850432 h 969519"/>
                <a:gd name="connsiteX25" fmla="*/ 400356 w 975245"/>
                <a:gd name="connsiteY25" fmla="*/ 969458 h 969519"/>
                <a:gd name="connsiteX26" fmla="*/ 419038 w 975245"/>
                <a:gd name="connsiteY26" fmla="*/ 968626 h 969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75245" h="969519">
                  <a:moveTo>
                    <a:pt x="186398" y="834306"/>
                  </a:moveTo>
                  <a:cubicBezTo>
                    <a:pt x="114591" y="760370"/>
                    <a:pt x="37018" y="672369"/>
                    <a:pt x="26195" y="563170"/>
                  </a:cubicBezTo>
                  <a:cubicBezTo>
                    <a:pt x="14188" y="441926"/>
                    <a:pt x="36070" y="321949"/>
                    <a:pt x="86390" y="234027"/>
                  </a:cubicBezTo>
                  <a:cubicBezTo>
                    <a:pt x="185964" y="59728"/>
                    <a:pt x="351340" y="23117"/>
                    <a:pt x="472440" y="23117"/>
                  </a:cubicBezTo>
                  <a:cubicBezTo>
                    <a:pt x="514583" y="23117"/>
                    <a:pt x="559018" y="27436"/>
                    <a:pt x="604520" y="35955"/>
                  </a:cubicBezTo>
                  <a:cubicBezTo>
                    <a:pt x="804496" y="73438"/>
                    <a:pt x="960236" y="267191"/>
                    <a:pt x="951625" y="467838"/>
                  </a:cubicBezTo>
                  <a:cubicBezTo>
                    <a:pt x="948544" y="539991"/>
                    <a:pt x="936024" y="600296"/>
                    <a:pt x="913431" y="652083"/>
                  </a:cubicBezTo>
                  <a:cubicBezTo>
                    <a:pt x="841940" y="815960"/>
                    <a:pt x="745763" y="906458"/>
                    <a:pt x="610800" y="936849"/>
                  </a:cubicBezTo>
                  <a:cubicBezTo>
                    <a:pt x="581374" y="943465"/>
                    <a:pt x="551080" y="944337"/>
                    <a:pt x="525367" y="944337"/>
                  </a:cubicBezTo>
                  <a:cubicBezTo>
                    <a:pt x="515452" y="944337"/>
                    <a:pt x="505578" y="944218"/>
                    <a:pt x="495664" y="944059"/>
                  </a:cubicBezTo>
                  <a:cubicBezTo>
                    <a:pt x="485671" y="943901"/>
                    <a:pt x="475639" y="943743"/>
                    <a:pt x="465646" y="943743"/>
                  </a:cubicBezTo>
                  <a:cubicBezTo>
                    <a:pt x="446569" y="943743"/>
                    <a:pt x="431086" y="944337"/>
                    <a:pt x="416985" y="945566"/>
                  </a:cubicBezTo>
                  <a:cubicBezTo>
                    <a:pt x="340636" y="952222"/>
                    <a:pt x="264248" y="914501"/>
                    <a:pt x="186398" y="834306"/>
                  </a:cubicBezTo>
                  <a:close/>
                  <a:moveTo>
                    <a:pt x="419038" y="968626"/>
                  </a:moveTo>
                  <a:cubicBezTo>
                    <a:pt x="432429" y="967476"/>
                    <a:pt x="447240" y="966922"/>
                    <a:pt x="465646" y="966922"/>
                  </a:cubicBezTo>
                  <a:cubicBezTo>
                    <a:pt x="475521" y="966922"/>
                    <a:pt x="485395" y="967080"/>
                    <a:pt x="495308" y="967239"/>
                  </a:cubicBezTo>
                  <a:cubicBezTo>
                    <a:pt x="505342" y="967357"/>
                    <a:pt x="515334" y="967516"/>
                    <a:pt x="525367" y="967516"/>
                  </a:cubicBezTo>
                  <a:cubicBezTo>
                    <a:pt x="552383" y="967516"/>
                    <a:pt x="584218" y="966565"/>
                    <a:pt x="615855" y="959433"/>
                  </a:cubicBezTo>
                  <a:cubicBezTo>
                    <a:pt x="758600" y="927300"/>
                    <a:pt x="859912" y="832602"/>
                    <a:pt x="934601" y="661354"/>
                  </a:cubicBezTo>
                  <a:cubicBezTo>
                    <a:pt x="958418" y="606873"/>
                    <a:pt x="971532" y="543913"/>
                    <a:pt x="974731" y="468829"/>
                  </a:cubicBezTo>
                  <a:cubicBezTo>
                    <a:pt x="983776" y="257127"/>
                    <a:pt x="819585" y="52715"/>
                    <a:pt x="608746" y="13172"/>
                  </a:cubicBezTo>
                  <a:cubicBezTo>
                    <a:pt x="561901" y="4415"/>
                    <a:pt x="516045" y="-62"/>
                    <a:pt x="472440" y="-62"/>
                  </a:cubicBezTo>
                  <a:cubicBezTo>
                    <a:pt x="289961" y="-62"/>
                    <a:pt x="149507" y="76924"/>
                    <a:pt x="66285" y="222497"/>
                  </a:cubicBezTo>
                  <a:cubicBezTo>
                    <a:pt x="13675" y="314500"/>
                    <a:pt x="-9313" y="439509"/>
                    <a:pt x="3168" y="565468"/>
                  </a:cubicBezTo>
                  <a:cubicBezTo>
                    <a:pt x="14741" y="682076"/>
                    <a:pt x="95237" y="773684"/>
                    <a:pt x="169809" y="850432"/>
                  </a:cubicBezTo>
                  <a:cubicBezTo>
                    <a:pt x="246513" y="929399"/>
                    <a:pt x="324086" y="969458"/>
                    <a:pt x="400356" y="969458"/>
                  </a:cubicBezTo>
                  <a:cubicBezTo>
                    <a:pt x="406518" y="969458"/>
                    <a:pt x="412720" y="969180"/>
                    <a:pt x="419038" y="968626"/>
                  </a:cubicBezTo>
                  <a:close/>
                </a:path>
              </a:pathLst>
            </a:custGeom>
            <a:solidFill>
              <a:schemeClr val="bg1"/>
            </a:solidFill>
            <a:ln w="39496" cap="flat">
              <a:noFill/>
              <a:prstDash val="solid"/>
              <a:round/>
            </a:ln>
          </p:spPr>
          <p:txBody>
            <a:bodyPr rtlCol="0" anchor="ctr"/>
            <a:lstStyle/>
            <a:p>
              <a:endParaRPr lang="en-LT"/>
            </a:p>
          </p:txBody>
        </p:sp>
        <p:sp>
          <p:nvSpPr>
            <p:cNvPr id="117" name="Freeform 116">
              <a:extLst>
                <a:ext uri="{FF2B5EF4-FFF2-40B4-BE49-F238E27FC236}">
                  <a16:creationId xmlns:a16="http://schemas.microsoft.com/office/drawing/2014/main" id="{40C2C82B-2398-7743-8E1E-E424B0F81057}"/>
                </a:ext>
              </a:extLst>
            </p:cNvPr>
            <p:cNvSpPr/>
            <p:nvPr/>
          </p:nvSpPr>
          <p:spPr>
            <a:xfrm>
              <a:off x="9335519" y="1786619"/>
              <a:ext cx="446628" cy="443996"/>
            </a:xfrm>
            <a:custGeom>
              <a:avLst/>
              <a:gdLst>
                <a:gd name="connsiteX0" fmla="*/ 163456 w 827635"/>
                <a:gd name="connsiteY0" fmla="*/ 699868 h 822758"/>
                <a:gd name="connsiteX1" fmla="*/ 33035 w 827635"/>
                <a:gd name="connsiteY1" fmla="*/ 476199 h 822758"/>
                <a:gd name="connsiteX2" fmla="*/ 81973 w 827635"/>
                <a:gd name="connsiteY2" fmla="*/ 204429 h 822758"/>
                <a:gd name="connsiteX3" fmla="*/ 395940 w 827635"/>
                <a:gd name="connsiteY3" fmla="*/ 30527 h 822758"/>
                <a:gd name="connsiteX4" fmla="*/ 503531 w 827635"/>
                <a:gd name="connsiteY4" fmla="*/ 41146 h 822758"/>
                <a:gd name="connsiteX5" fmla="*/ 785781 w 827635"/>
                <a:gd name="connsiteY5" fmla="*/ 397271 h 822758"/>
                <a:gd name="connsiteX6" fmla="*/ 754736 w 827635"/>
                <a:gd name="connsiteY6" fmla="*/ 549382 h 822758"/>
                <a:gd name="connsiteX7" fmla="*/ 508587 w 827635"/>
                <a:gd name="connsiteY7" fmla="*/ 784342 h 822758"/>
                <a:gd name="connsiteX8" fmla="*/ 439190 w 827635"/>
                <a:gd name="connsiteY8" fmla="*/ 790563 h 822758"/>
                <a:gd name="connsiteX9" fmla="*/ 414938 w 827635"/>
                <a:gd name="connsiteY9" fmla="*/ 790325 h 822758"/>
                <a:gd name="connsiteX10" fmla="*/ 390370 w 827635"/>
                <a:gd name="connsiteY10" fmla="*/ 790048 h 822758"/>
                <a:gd name="connsiteX11" fmla="*/ 350478 w 827635"/>
                <a:gd name="connsiteY11" fmla="*/ 791554 h 822758"/>
                <a:gd name="connsiteX12" fmla="*/ 163456 w 827635"/>
                <a:gd name="connsiteY12" fmla="*/ 699868 h 822758"/>
                <a:gd name="connsiteX13" fmla="*/ 395189 w 827635"/>
                <a:gd name="connsiteY13" fmla="*/ 820597 h 822758"/>
                <a:gd name="connsiteX14" fmla="*/ 420270 w 827635"/>
                <a:gd name="connsiteY14" fmla="*/ 820835 h 822758"/>
                <a:gd name="connsiteX15" fmla="*/ 445706 w 827635"/>
                <a:gd name="connsiteY15" fmla="*/ 821112 h 822758"/>
                <a:gd name="connsiteX16" fmla="*/ 522529 w 827635"/>
                <a:gd name="connsiteY16" fmla="*/ 814218 h 822758"/>
                <a:gd name="connsiteX17" fmla="*/ 793128 w 827635"/>
                <a:gd name="connsiteY17" fmla="*/ 561348 h 822758"/>
                <a:gd name="connsiteX18" fmla="*/ 827175 w 827635"/>
                <a:gd name="connsiteY18" fmla="*/ 397985 h 822758"/>
                <a:gd name="connsiteX19" fmla="*/ 516447 w 827635"/>
                <a:gd name="connsiteY19" fmla="*/ 11152 h 822758"/>
                <a:gd name="connsiteX20" fmla="*/ 400955 w 827635"/>
                <a:gd name="connsiteY20" fmla="*/ -62 h 822758"/>
                <a:gd name="connsiteX21" fmla="*/ 56220 w 827635"/>
                <a:gd name="connsiteY21" fmla="*/ 188897 h 822758"/>
                <a:gd name="connsiteX22" fmla="*/ 2661 w 827635"/>
                <a:gd name="connsiteY22" fmla="*/ 479726 h 822758"/>
                <a:gd name="connsiteX23" fmla="*/ 143984 w 827635"/>
                <a:gd name="connsiteY23" fmla="*/ 721620 h 822758"/>
                <a:gd name="connsiteX24" fmla="*/ 340050 w 827635"/>
                <a:gd name="connsiteY24" fmla="*/ 822697 h 822758"/>
                <a:gd name="connsiteX25" fmla="*/ 355967 w 827635"/>
                <a:gd name="connsiteY25" fmla="*/ 822023 h 822758"/>
                <a:gd name="connsiteX26" fmla="*/ 395189 w 827635"/>
                <a:gd name="connsiteY26" fmla="*/ 820597 h 822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7635" h="822758">
                  <a:moveTo>
                    <a:pt x="163456" y="699868"/>
                  </a:moveTo>
                  <a:cubicBezTo>
                    <a:pt x="104961" y="638810"/>
                    <a:pt x="41803" y="566102"/>
                    <a:pt x="33035" y="476199"/>
                  </a:cubicBezTo>
                  <a:cubicBezTo>
                    <a:pt x="23240" y="376034"/>
                    <a:pt x="41053" y="276978"/>
                    <a:pt x="81973" y="204429"/>
                  </a:cubicBezTo>
                  <a:cubicBezTo>
                    <a:pt x="162982" y="60680"/>
                    <a:pt x="297432" y="30527"/>
                    <a:pt x="395940" y="30527"/>
                  </a:cubicBezTo>
                  <a:cubicBezTo>
                    <a:pt x="430303" y="30527"/>
                    <a:pt x="466522" y="33855"/>
                    <a:pt x="503531" y="41146"/>
                  </a:cubicBezTo>
                  <a:cubicBezTo>
                    <a:pt x="663930" y="72606"/>
                    <a:pt x="793562" y="236484"/>
                    <a:pt x="785781" y="397271"/>
                  </a:cubicBezTo>
                  <a:cubicBezTo>
                    <a:pt x="782898" y="456824"/>
                    <a:pt x="773102" y="506629"/>
                    <a:pt x="754736" y="549382"/>
                  </a:cubicBezTo>
                  <a:cubicBezTo>
                    <a:pt x="696516" y="684653"/>
                    <a:pt x="618311" y="759301"/>
                    <a:pt x="508587" y="784342"/>
                  </a:cubicBezTo>
                  <a:cubicBezTo>
                    <a:pt x="484730" y="789810"/>
                    <a:pt x="460162" y="790563"/>
                    <a:pt x="439190" y="790563"/>
                  </a:cubicBezTo>
                  <a:cubicBezTo>
                    <a:pt x="431132" y="790563"/>
                    <a:pt x="423034" y="790444"/>
                    <a:pt x="414938" y="790325"/>
                  </a:cubicBezTo>
                  <a:cubicBezTo>
                    <a:pt x="406722" y="790167"/>
                    <a:pt x="398546" y="790048"/>
                    <a:pt x="390370" y="790048"/>
                  </a:cubicBezTo>
                  <a:cubicBezTo>
                    <a:pt x="374729" y="790048"/>
                    <a:pt x="362051" y="790523"/>
                    <a:pt x="350478" y="791554"/>
                  </a:cubicBezTo>
                  <a:cubicBezTo>
                    <a:pt x="288506" y="797022"/>
                    <a:pt x="226692" y="765918"/>
                    <a:pt x="163456" y="699868"/>
                  </a:cubicBezTo>
                  <a:close/>
                  <a:moveTo>
                    <a:pt x="395189" y="820597"/>
                  </a:moveTo>
                  <a:cubicBezTo>
                    <a:pt x="403523" y="820597"/>
                    <a:pt x="411897" y="820715"/>
                    <a:pt x="420270" y="820835"/>
                  </a:cubicBezTo>
                  <a:cubicBezTo>
                    <a:pt x="428762" y="820954"/>
                    <a:pt x="437254" y="821112"/>
                    <a:pt x="445706" y="821112"/>
                  </a:cubicBezTo>
                  <a:cubicBezTo>
                    <a:pt x="468615" y="821112"/>
                    <a:pt x="495631" y="820280"/>
                    <a:pt x="522529" y="814218"/>
                  </a:cubicBezTo>
                  <a:cubicBezTo>
                    <a:pt x="643747" y="786918"/>
                    <a:pt x="729734" y="706564"/>
                    <a:pt x="793128" y="561348"/>
                  </a:cubicBezTo>
                  <a:cubicBezTo>
                    <a:pt x="813311" y="515069"/>
                    <a:pt x="824450" y="461658"/>
                    <a:pt x="827175" y="397985"/>
                  </a:cubicBezTo>
                  <a:cubicBezTo>
                    <a:pt x="834838" y="218218"/>
                    <a:pt x="695489" y="44672"/>
                    <a:pt x="516447" y="11152"/>
                  </a:cubicBezTo>
                  <a:cubicBezTo>
                    <a:pt x="476791" y="3702"/>
                    <a:pt x="437886" y="-62"/>
                    <a:pt x="400955" y="-62"/>
                  </a:cubicBezTo>
                  <a:cubicBezTo>
                    <a:pt x="246125" y="-62"/>
                    <a:pt x="126881" y="65276"/>
                    <a:pt x="56220" y="188897"/>
                  </a:cubicBezTo>
                  <a:cubicBezTo>
                    <a:pt x="11588" y="266914"/>
                    <a:pt x="-7924" y="372943"/>
                    <a:pt x="2661" y="479726"/>
                  </a:cubicBezTo>
                  <a:cubicBezTo>
                    <a:pt x="12496" y="578821"/>
                    <a:pt x="80748" y="656560"/>
                    <a:pt x="143984" y="721620"/>
                  </a:cubicBezTo>
                  <a:cubicBezTo>
                    <a:pt x="209116" y="788701"/>
                    <a:pt x="275077" y="822737"/>
                    <a:pt x="340050" y="822697"/>
                  </a:cubicBezTo>
                  <a:cubicBezTo>
                    <a:pt x="345303" y="822697"/>
                    <a:pt x="350636" y="822459"/>
                    <a:pt x="355967" y="822023"/>
                  </a:cubicBezTo>
                  <a:cubicBezTo>
                    <a:pt x="367224" y="821033"/>
                    <a:pt x="379706" y="820597"/>
                    <a:pt x="395189" y="820597"/>
                  </a:cubicBezTo>
                  <a:close/>
                </a:path>
              </a:pathLst>
            </a:custGeom>
            <a:solidFill>
              <a:schemeClr val="bg1"/>
            </a:solidFill>
            <a:ln w="39496" cap="flat">
              <a:noFill/>
              <a:prstDash val="solid"/>
              <a:round/>
            </a:ln>
          </p:spPr>
          <p:txBody>
            <a:bodyPr rtlCol="0" anchor="ctr"/>
            <a:lstStyle/>
            <a:p>
              <a:endParaRPr lang="en-LT"/>
            </a:p>
          </p:txBody>
        </p:sp>
        <p:sp>
          <p:nvSpPr>
            <p:cNvPr id="118" name="Freeform 117">
              <a:extLst>
                <a:ext uri="{FF2B5EF4-FFF2-40B4-BE49-F238E27FC236}">
                  <a16:creationId xmlns:a16="http://schemas.microsoft.com/office/drawing/2014/main" id="{CD90B0E5-5FAC-5241-AD29-EB79EC729563}"/>
                </a:ext>
              </a:extLst>
            </p:cNvPr>
            <p:cNvSpPr/>
            <p:nvPr/>
          </p:nvSpPr>
          <p:spPr>
            <a:xfrm>
              <a:off x="9344316" y="1728144"/>
              <a:ext cx="90678" cy="38406"/>
            </a:xfrm>
            <a:custGeom>
              <a:avLst/>
              <a:gdLst>
                <a:gd name="connsiteX0" fmla="*/ 8373 w 168034"/>
                <a:gd name="connsiteY0" fmla="*/ 66575 h 71169"/>
                <a:gd name="connsiteX1" fmla="*/ 164429 w 168034"/>
                <a:gd name="connsiteY1" fmla="*/ 20533 h 71169"/>
                <a:gd name="connsiteX2" fmla="*/ 147563 w 168034"/>
                <a:gd name="connsiteY2" fmla="*/ 3536 h 71169"/>
                <a:gd name="connsiteX3" fmla="*/ 14733 w 168034"/>
                <a:gd name="connsiteY3" fmla="*/ 43435 h 71169"/>
                <a:gd name="connsiteX4" fmla="*/ 8373 w 168034"/>
                <a:gd name="connsiteY4" fmla="*/ 66575 h 71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34" h="71169">
                  <a:moveTo>
                    <a:pt x="8373" y="66575"/>
                  </a:moveTo>
                  <a:cubicBezTo>
                    <a:pt x="65605" y="79967"/>
                    <a:pt x="123825" y="63088"/>
                    <a:pt x="164429" y="20533"/>
                  </a:cubicBezTo>
                  <a:cubicBezTo>
                    <a:pt x="175133" y="9360"/>
                    <a:pt x="158267" y="-7598"/>
                    <a:pt x="147563" y="3536"/>
                  </a:cubicBezTo>
                  <a:cubicBezTo>
                    <a:pt x="112766" y="39989"/>
                    <a:pt x="63867" y="54965"/>
                    <a:pt x="14733" y="43435"/>
                  </a:cubicBezTo>
                  <a:cubicBezTo>
                    <a:pt x="-238" y="39909"/>
                    <a:pt x="-6636" y="63049"/>
                    <a:pt x="8373" y="66575"/>
                  </a:cubicBezTo>
                  <a:close/>
                </a:path>
              </a:pathLst>
            </a:custGeom>
            <a:solidFill>
              <a:schemeClr val="bg1"/>
            </a:solidFill>
            <a:ln w="39496" cap="flat">
              <a:noFill/>
              <a:prstDash val="solid"/>
              <a:round/>
            </a:ln>
          </p:spPr>
          <p:txBody>
            <a:bodyPr rtlCol="0" anchor="ctr"/>
            <a:lstStyle/>
            <a:p>
              <a:endParaRPr lang="en-LT"/>
            </a:p>
          </p:txBody>
        </p:sp>
        <p:sp>
          <p:nvSpPr>
            <p:cNvPr id="119" name="Freeform 118">
              <a:extLst>
                <a:ext uri="{FF2B5EF4-FFF2-40B4-BE49-F238E27FC236}">
                  <a16:creationId xmlns:a16="http://schemas.microsoft.com/office/drawing/2014/main" id="{86E6F4DF-F988-8B43-A7C9-16716274E4C6}"/>
                </a:ext>
              </a:extLst>
            </p:cNvPr>
            <p:cNvSpPr/>
            <p:nvPr/>
          </p:nvSpPr>
          <p:spPr>
            <a:xfrm>
              <a:off x="9244603" y="1855632"/>
              <a:ext cx="46789" cy="100609"/>
            </a:xfrm>
            <a:custGeom>
              <a:avLst/>
              <a:gdLst>
                <a:gd name="connsiteX0" fmla="*/ 20527 w 86704"/>
                <a:gd name="connsiteY0" fmla="*/ 183112 h 186436"/>
                <a:gd name="connsiteX1" fmla="*/ 85184 w 86704"/>
                <a:gd name="connsiteY1" fmla="*/ 11349 h 186436"/>
                <a:gd name="connsiteX2" fmla="*/ 61209 w 86704"/>
                <a:gd name="connsiteY2" fmla="*/ 11349 h 186436"/>
                <a:gd name="connsiteX3" fmla="*/ 3582 w 86704"/>
                <a:gd name="connsiteY3" fmla="*/ 166154 h 186436"/>
                <a:gd name="connsiteX4" fmla="*/ 20527 w 86704"/>
                <a:gd name="connsiteY4" fmla="*/ 183112 h 186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04" h="186436">
                  <a:moveTo>
                    <a:pt x="20527" y="183112"/>
                  </a:moveTo>
                  <a:cubicBezTo>
                    <a:pt x="68635" y="139171"/>
                    <a:pt x="92571" y="76251"/>
                    <a:pt x="85184" y="11349"/>
                  </a:cubicBezTo>
                  <a:cubicBezTo>
                    <a:pt x="83446" y="-3786"/>
                    <a:pt x="59472" y="-3985"/>
                    <a:pt x="61209" y="11349"/>
                  </a:cubicBezTo>
                  <a:cubicBezTo>
                    <a:pt x="67963" y="70545"/>
                    <a:pt x="47582" y="125977"/>
                    <a:pt x="3582" y="166154"/>
                  </a:cubicBezTo>
                  <a:cubicBezTo>
                    <a:pt x="-7833" y="176575"/>
                    <a:pt x="9152" y="193493"/>
                    <a:pt x="20527" y="183112"/>
                  </a:cubicBezTo>
                  <a:close/>
                </a:path>
              </a:pathLst>
            </a:custGeom>
            <a:solidFill>
              <a:schemeClr val="bg1"/>
            </a:solidFill>
            <a:ln w="39496" cap="flat">
              <a:noFill/>
              <a:prstDash val="solid"/>
              <a:round/>
            </a:ln>
          </p:spPr>
          <p:txBody>
            <a:bodyPr rtlCol="0" anchor="ctr"/>
            <a:lstStyle/>
            <a:p>
              <a:endParaRPr lang="en-LT"/>
            </a:p>
          </p:txBody>
        </p:sp>
        <p:sp>
          <p:nvSpPr>
            <p:cNvPr id="120" name="Freeform 119">
              <a:extLst>
                <a:ext uri="{FF2B5EF4-FFF2-40B4-BE49-F238E27FC236}">
                  <a16:creationId xmlns:a16="http://schemas.microsoft.com/office/drawing/2014/main" id="{CFF84E0F-00E9-7541-B3F0-974E7C691794}"/>
                </a:ext>
              </a:extLst>
            </p:cNvPr>
            <p:cNvSpPr/>
            <p:nvPr/>
          </p:nvSpPr>
          <p:spPr>
            <a:xfrm>
              <a:off x="9242770" y="2038606"/>
              <a:ext cx="51991" cy="96802"/>
            </a:xfrm>
            <a:custGeom>
              <a:avLst/>
              <a:gdLst>
                <a:gd name="connsiteX0" fmla="*/ 2950 w 96344"/>
                <a:gd name="connsiteY0" fmla="*/ 20790 h 179381"/>
                <a:gd name="connsiteX1" fmla="*/ 72900 w 96344"/>
                <a:gd name="connsiteY1" fmla="*/ 170642 h 179381"/>
                <a:gd name="connsiteX2" fmla="*/ 95967 w 96344"/>
                <a:gd name="connsiteY2" fmla="*/ 164302 h 179381"/>
                <a:gd name="connsiteX3" fmla="*/ 19894 w 96344"/>
                <a:gd name="connsiteY3" fmla="*/ 3832 h 179381"/>
                <a:gd name="connsiteX4" fmla="*/ 2950 w 96344"/>
                <a:gd name="connsiteY4" fmla="*/ 20790 h 179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4" h="179381">
                  <a:moveTo>
                    <a:pt x="2950" y="20790"/>
                  </a:moveTo>
                  <a:cubicBezTo>
                    <a:pt x="40828" y="63701"/>
                    <a:pt x="63934" y="114180"/>
                    <a:pt x="72900" y="170642"/>
                  </a:cubicBezTo>
                  <a:cubicBezTo>
                    <a:pt x="75309" y="185857"/>
                    <a:pt x="98376" y="179398"/>
                    <a:pt x="95967" y="164302"/>
                  </a:cubicBezTo>
                  <a:cubicBezTo>
                    <a:pt x="86408" y="103799"/>
                    <a:pt x="60301" y="49675"/>
                    <a:pt x="19894" y="3832"/>
                  </a:cubicBezTo>
                  <a:cubicBezTo>
                    <a:pt x="9665" y="-7778"/>
                    <a:pt x="-7241" y="9260"/>
                    <a:pt x="2950" y="20790"/>
                  </a:cubicBezTo>
                  <a:close/>
                </a:path>
              </a:pathLst>
            </a:custGeom>
            <a:solidFill>
              <a:schemeClr val="bg1"/>
            </a:solidFill>
            <a:ln w="39496" cap="flat">
              <a:noFill/>
              <a:prstDash val="solid"/>
              <a:round/>
            </a:ln>
          </p:spPr>
          <p:txBody>
            <a:bodyPr rtlCol="0" anchor="ctr"/>
            <a:lstStyle/>
            <a:p>
              <a:endParaRPr lang="en-LT"/>
            </a:p>
          </p:txBody>
        </p:sp>
        <p:sp>
          <p:nvSpPr>
            <p:cNvPr id="121" name="Freeform 120">
              <a:extLst>
                <a:ext uri="{FF2B5EF4-FFF2-40B4-BE49-F238E27FC236}">
                  <a16:creationId xmlns:a16="http://schemas.microsoft.com/office/drawing/2014/main" id="{835D0FDD-26F2-1249-8CE9-FAF46C8753D4}"/>
                </a:ext>
              </a:extLst>
            </p:cNvPr>
            <p:cNvSpPr/>
            <p:nvPr/>
          </p:nvSpPr>
          <p:spPr>
            <a:xfrm>
              <a:off x="9542120" y="2283541"/>
              <a:ext cx="88549" cy="25305"/>
            </a:xfrm>
            <a:custGeom>
              <a:avLst/>
              <a:gdLst>
                <a:gd name="connsiteX0" fmla="*/ 148888 w 164088"/>
                <a:gd name="connsiteY0" fmla="*/ 169 h 46892"/>
                <a:gd name="connsiteX1" fmla="*/ 8474 w 164088"/>
                <a:gd name="connsiteY1" fmla="*/ 23546 h 46892"/>
                <a:gd name="connsiteX2" fmla="*/ 14872 w 164088"/>
                <a:gd name="connsiteY2" fmla="*/ 46685 h 46892"/>
                <a:gd name="connsiteX3" fmla="*/ 155247 w 164088"/>
                <a:gd name="connsiteY3" fmla="*/ 23308 h 46892"/>
                <a:gd name="connsiteX4" fmla="*/ 148888 w 164088"/>
                <a:gd name="connsiteY4" fmla="*/ 169 h 46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88" h="46892">
                  <a:moveTo>
                    <a:pt x="148888" y="169"/>
                  </a:moveTo>
                  <a:cubicBezTo>
                    <a:pt x="102123" y="7974"/>
                    <a:pt x="55318" y="15740"/>
                    <a:pt x="8474" y="23546"/>
                  </a:cubicBezTo>
                  <a:cubicBezTo>
                    <a:pt x="-6654" y="26042"/>
                    <a:pt x="-216" y="49182"/>
                    <a:pt x="14872" y="46685"/>
                  </a:cubicBezTo>
                  <a:cubicBezTo>
                    <a:pt x="61677" y="38880"/>
                    <a:pt x="108481" y="31074"/>
                    <a:pt x="155247" y="23308"/>
                  </a:cubicBezTo>
                  <a:cubicBezTo>
                    <a:pt x="170453" y="20812"/>
                    <a:pt x="164015" y="-2327"/>
                    <a:pt x="148888" y="169"/>
                  </a:cubicBezTo>
                  <a:close/>
                </a:path>
              </a:pathLst>
            </a:custGeom>
            <a:solidFill>
              <a:schemeClr val="bg1"/>
            </a:solidFill>
            <a:ln w="39496" cap="flat">
              <a:noFill/>
              <a:prstDash val="solid"/>
              <a:round/>
            </a:ln>
          </p:spPr>
          <p:txBody>
            <a:bodyPr rtlCol="0" anchor="ctr"/>
            <a:lstStyle/>
            <a:p>
              <a:endParaRPr lang="en-LT"/>
            </a:p>
          </p:txBody>
        </p:sp>
        <p:sp>
          <p:nvSpPr>
            <p:cNvPr id="122" name="Freeform 121">
              <a:extLst>
                <a:ext uri="{FF2B5EF4-FFF2-40B4-BE49-F238E27FC236}">
                  <a16:creationId xmlns:a16="http://schemas.microsoft.com/office/drawing/2014/main" id="{2E01EBD3-6A97-A44A-B4AC-2631A8760A35}"/>
                </a:ext>
              </a:extLst>
            </p:cNvPr>
            <p:cNvSpPr/>
            <p:nvPr/>
          </p:nvSpPr>
          <p:spPr>
            <a:xfrm>
              <a:off x="9744209" y="2161035"/>
              <a:ext cx="62665" cy="69717"/>
            </a:xfrm>
            <a:custGeom>
              <a:avLst/>
              <a:gdLst>
                <a:gd name="connsiteX0" fmla="*/ 98033 w 116123"/>
                <a:gd name="connsiteY0" fmla="*/ 1557 h 129191"/>
                <a:gd name="connsiteX1" fmla="*/ 711 w 116123"/>
                <a:gd name="connsiteY1" fmla="*/ 114678 h 129191"/>
                <a:gd name="connsiteX2" fmla="*/ 23817 w 116123"/>
                <a:gd name="connsiteY2" fmla="*/ 121057 h 129191"/>
                <a:gd name="connsiteX3" fmla="*/ 110119 w 116123"/>
                <a:gd name="connsiteY3" fmla="*/ 22279 h 129191"/>
                <a:gd name="connsiteX4" fmla="*/ 98033 w 116123"/>
                <a:gd name="connsiteY4" fmla="*/ 1557 h 12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23" h="129191">
                  <a:moveTo>
                    <a:pt x="98033" y="1557"/>
                  </a:moveTo>
                  <a:cubicBezTo>
                    <a:pt x="52571" y="26717"/>
                    <a:pt x="19117" y="66181"/>
                    <a:pt x="711" y="114678"/>
                  </a:cubicBezTo>
                  <a:cubicBezTo>
                    <a:pt x="-4780" y="129140"/>
                    <a:pt x="18326" y="135361"/>
                    <a:pt x="23817" y="121057"/>
                  </a:cubicBezTo>
                  <a:cubicBezTo>
                    <a:pt x="40011" y="78423"/>
                    <a:pt x="70345" y="44269"/>
                    <a:pt x="110119" y="22279"/>
                  </a:cubicBezTo>
                  <a:cubicBezTo>
                    <a:pt x="123588" y="14830"/>
                    <a:pt x="111501" y="-5893"/>
                    <a:pt x="98033" y="1557"/>
                  </a:cubicBezTo>
                  <a:close/>
                </a:path>
              </a:pathLst>
            </a:custGeom>
            <a:solidFill>
              <a:schemeClr val="bg1"/>
            </a:solidFill>
            <a:ln w="39496" cap="flat">
              <a:noFill/>
              <a:prstDash val="solid"/>
              <a:round/>
            </a:ln>
          </p:spPr>
          <p:txBody>
            <a:bodyPr rtlCol="0" anchor="ctr"/>
            <a:lstStyle/>
            <a:p>
              <a:endParaRPr lang="en-LT"/>
            </a:p>
          </p:txBody>
        </p:sp>
        <p:sp>
          <p:nvSpPr>
            <p:cNvPr id="123" name="Freeform 122">
              <a:extLst>
                <a:ext uri="{FF2B5EF4-FFF2-40B4-BE49-F238E27FC236}">
                  <a16:creationId xmlns:a16="http://schemas.microsoft.com/office/drawing/2014/main" id="{B12641DD-B680-C44C-AC5F-F7DF88C505E9}"/>
                </a:ext>
              </a:extLst>
            </p:cNvPr>
            <p:cNvSpPr/>
            <p:nvPr/>
          </p:nvSpPr>
          <p:spPr>
            <a:xfrm>
              <a:off x="9839681" y="1932786"/>
              <a:ext cx="23533" cy="92140"/>
            </a:xfrm>
            <a:custGeom>
              <a:avLst/>
              <a:gdLst>
                <a:gd name="connsiteX0" fmla="*/ 23940 w 43608"/>
                <a:gd name="connsiteY0" fmla="*/ 159295 h 170742"/>
                <a:gd name="connsiteX1" fmla="*/ 43373 w 43608"/>
                <a:gd name="connsiteY1" fmla="*/ 11345 h 170742"/>
                <a:gd name="connsiteX2" fmla="*/ 19438 w 43608"/>
                <a:gd name="connsiteY2" fmla="*/ 11345 h 170742"/>
                <a:gd name="connsiteX3" fmla="*/ 5 w 43608"/>
                <a:gd name="connsiteY3" fmla="*/ 159295 h 170742"/>
                <a:gd name="connsiteX4" fmla="*/ 23940 w 43608"/>
                <a:gd name="connsiteY4" fmla="*/ 159295 h 17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08" h="170742">
                  <a:moveTo>
                    <a:pt x="23940" y="159295"/>
                  </a:moveTo>
                  <a:cubicBezTo>
                    <a:pt x="30418" y="109965"/>
                    <a:pt x="36896" y="60635"/>
                    <a:pt x="43373" y="11345"/>
                  </a:cubicBezTo>
                  <a:cubicBezTo>
                    <a:pt x="45387" y="-3949"/>
                    <a:pt x="21452" y="-3791"/>
                    <a:pt x="19438" y="11345"/>
                  </a:cubicBezTo>
                  <a:cubicBezTo>
                    <a:pt x="12960" y="60635"/>
                    <a:pt x="6483" y="109965"/>
                    <a:pt x="5" y="159295"/>
                  </a:cubicBezTo>
                  <a:cubicBezTo>
                    <a:pt x="-2009" y="174549"/>
                    <a:pt x="21926" y="174391"/>
                    <a:pt x="23940" y="159295"/>
                  </a:cubicBezTo>
                  <a:close/>
                </a:path>
              </a:pathLst>
            </a:custGeom>
            <a:solidFill>
              <a:schemeClr val="bg1"/>
            </a:solidFill>
            <a:ln w="39496" cap="flat">
              <a:noFill/>
              <a:prstDash val="solid"/>
              <a:round/>
            </a:ln>
          </p:spPr>
          <p:txBody>
            <a:bodyPr rtlCol="0" anchor="ctr"/>
            <a:lstStyle/>
            <a:p>
              <a:endParaRPr lang="en-LT"/>
            </a:p>
          </p:txBody>
        </p:sp>
        <p:sp>
          <p:nvSpPr>
            <p:cNvPr id="124" name="Freeform 123">
              <a:extLst>
                <a:ext uri="{FF2B5EF4-FFF2-40B4-BE49-F238E27FC236}">
                  <a16:creationId xmlns:a16="http://schemas.microsoft.com/office/drawing/2014/main" id="{47917B55-E523-EE40-9155-459A1E08A8AC}"/>
                </a:ext>
              </a:extLst>
            </p:cNvPr>
            <p:cNvSpPr/>
            <p:nvPr/>
          </p:nvSpPr>
          <p:spPr>
            <a:xfrm>
              <a:off x="9758899" y="1736640"/>
              <a:ext cx="61333" cy="107454"/>
            </a:xfrm>
            <a:custGeom>
              <a:avLst/>
              <a:gdLst>
                <a:gd name="connsiteX0" fmla="*/ 110036 w 113655"/>
                <a:gd name="connsiteY0" fmla="*/ 178502 h 199120"/>
                <a:gd name="connsiteX1" fmla="*/ 23141 w 113655"/>
                <a:gd name="connsiteY1" fmla="*/ 8561 h 199120"/>
                <a:gd name="connsiteX2" fmla="*/ 75 w 113655"/>
                <a:gd name="connsiteY2" fmla="*/ 14980 h 199120"/>
                <a:gd name="connsiteX3" fmla="*/ 93091 w 113655"/>
                <a:gd name="connsiteY3" fmla="*/ 195500 h 199120"/>
                <a:gd name="connsiteX4" fmla="*/ 110036 w 113655"/>
                <a:gd name="connsiteY4" fmla="*/ 178502 h 199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55" h="199120">
                  <a:moveTo>
                    <a:pt x="110036" y="178502"/>
                  </a:moveTo>
                  <a:cubicBezTo>
                    <a:pt x="63231" y="131510"/>
                    <a:pt x="34082" y="73978"/>
                    <a:pt x="23141" y="8561"/>
                  </a:cubicBezTo>
                  <a:cubicBezTo>
                    <a:pt x="20573" y="-6614"/>
                    <a:pt x="-2493" y="-155"/>
                    <a:pt x="75" y="14980"/>
                  </a:cubicBezTo>
                  <a:cubicBezTo>
                    <a:pt x="11648" y="84161"/>
                    <a:pt x="43641" y="145853"/>
                    <a:pt x="93091" y="195500"/>
                  </a:cubicBezTo>
                  <a:cubicBezTo>
                    <a:pt x="103954" y="206436"/>
                    <a:pt x="120898" y="189438"/>
                    <a:pt x="110036" y="178502"/>
                  </a:cubicBezTo>
                  <a:close/>
                </a:path>
              </a:pathLst>
            </a:custGeom>
            <a:solidFill>
              <a:schemeClr val="bg1"/>
            </a:solidFill>
            <a:ln w="39496" cap="flat">
              <a:noFill/>
              <a:prstDash val="solid"/>
              <a:round/>
            </a:ln>
          </p:spPr>
          <p:txBody>
            <a:bodyPr rtlCol="0" anchor="ctr"/>
            <a:lstStyle/>
            <a:p>
              <a:endParaRPr lang="en-LT"/>
            </a:p>
          </p:txBody>
        </p:sp>
        <p:sp>
          <p:nvSpPr>
            <p:cNvPr id="125" name="Freeform 124">
              <a:extLst>
                <a:ext uri="{FF2B5EF4-FFF2-40B4-BE49-F238E27FC236}">
                  <a16:creationId xmlns:a16="http://schemas.microsoft.com/office/drawing/2014/main" id="{B21D5268-A380-8242-88EC-5BD44EE90C41}"/>
                </a:ext>
              </a:extLst>
            </p:cNvPr>
            <p:cNvSpPr/>
            <p:nvPr/>
          </p:nvSpPr>
          <p:spPr>
            <a:xfrm>
              <a:off x="9547041" y="1681313"/>
              <a:ext cx="147660" cy="34753"/>
            </a:xfrm>
            <a:custGeom>
              <a:avLst/>
              <a:gdLst>
                <a:gd name="connsiteX0" fmla="*/ 5916 w 273626"/>
                <a:gd name="connsiteY0" fmla="*/ 22002 h 64400"/>
                <a:gd name="connsiteX1" fmla="*/ 264863 w 273626"/>
                <a:gd name="connsiteY1" fmla="*/ 55087 h 64400"/>
                <a:gd name="connsiteX2" fmla="*/ 258504 w 273626"/>
                <a:gd name="connsiteY2" fmla="*/ 31948 h 64400"/>
                <a:gd name="connsiteX3" fmla="*/ 18002 w 273626"/>
                <a:gd name="connsiteY3" fmla="*/ 1280 h 64400"/>
                <a:gd name="connsiteX4" fmla="*/ 5916 w 273626"/>
                <a:gd name="connsiteY4" fmla="*/ 22002 h 6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626" h="64400">
                  <a:moveTo>
                    <a:pt x="5916" y="22002"/>
                  </a:moveTo>
                  <a:cubicBezTo>
                    <a:pt x="87637" y="63170"/>
                    <a:pt x="175440" y="74462"/>
                    <a:pt x="264863" y="55087"/>
                  </a:cubicBezTo>
                  <a:cubicBezTo>
                    <a:pt x="279952" y="51838"/>
                    <a:pt x="273552" y="28699"/>
                    <a:pt x="258504" y="31948"/>
                  </a:cubicBezTo>
                  <a:cubicBezTo>
                    <a:pt x="175599" y="49897"/>
                    <a:pt x="93799" y="39515"/>
                    <a:pt x="18002" y="1280"/>
                  </a:cubicBezTo>
                  <a:cubicBezTo>
                    <a:pt x="4297" y="-5614"/>
                    <a:pt x="-7869" y="15069"/>
                    <a:pt x="5916" y="22002"/>
                  </a:cubicBezTo>
                  <a:close/>
                </a:path>
              </a:pathLst>
            </a:custGeom>
            <a:solidFill>
              <a:schemeClr val="bg1"/>
            </a:solidFill>
            <a:ln w="39496" cap="flat">
              <a:noFill/>
              <a:prstDash val="solid"/>
              <a:round/>
            </a:ln>
          </p:spPr>
          <p:txBody>
            <a:bodyPr rtlCol="0" anchor="ctr"/>
            <a:lstStyle/>
            <a:p>
              <a:endParaRPr lang="en-LT"/>
            </a:p>
          </p:txBody>
        </p:sp>
        <p:sp>
          <p:nvSpPr>
            <p:cNvPr id="126" name="Freeform 125">
              <a:extLst>
                <a:ext uri="{FF2B5EF4-FFF2-40B4-BE49-F238E27FC236}">
                  <a16:creationId xmlns:a16="http://schemas.microsoft.com/office/drawing/2014/main" id="{41C2870F-8C29-7F47-8812-35D19843896B}"/>
                </a:ext>
              </a:extLst>
            </p:cNvPr>
            <p:cNvSpPr/>
            <p:nvPr/>
          </p:nvSpPr>
          <p:spPr>
            <a:xfrm>
              <a:off x="9314972" y="1813558"/>
              <a:ext cx="89631" cy="371043"/>
            </a:xfrm>
            <a:custGeom>
              <a:avLst/>
              <a:gdLst>
                <a:gd name="connsiteX0" fmla="*/ 157342 w 166093"/>
                <a:gd name="connsiteY0" fmla="*/ 27241 h 687570"/>
                <a:gd name="connsiteX1" fmla="*/ 164649 w 166093"/>
                <a:gd name="connsiteY1" fmla="*/ 17969 h 687570"/>
                <a:gd name="connsiteX2" fmla="*/ 159357 w 166093"/>
                <a:gd name="connsiteY2" fmla="*/ 1248 h 687570"/>
                <a:gd name="connsiteX3" fmla="*/ 143952 w 166093"/>
                <a:gd name="connsiteY3" fmla="*/ 6241 h 687570"/>
                <a:gd name="connsiteX4" fmla="*/ 139607 w 166093"/>
                <a:gd name="connsiteY4" fmla="*/ 11154 h 687570"/>
                <a:gd name="connsiteX5" fmla="*/ 128824 w 166093"/>
                <a:gd name="connsiteY5" fmla="*/ 682912 h 687570"/>
                <a:gd name="connsiteX6" fmla="*/ 138225 w 166093"/>
                <a:gd name="connsiteY6" fmla="*/ 687508 h 687570"/>
                <a:gd name="connsiteX7" fmla="*/ 145572 w 166093"/>
                <a:gd name="connsiteY7" fmla="*/ 684932 h 687570"/>
                <a:gd name="connsiteX8" fmla="*/ 147626 w 166093"/>
                <a:gd name="connsiteY8" fmla="*/ 668093 h 687570"/>
                <a:gd name="connsiteX9" fmla="*/ 157342 w 166093"/>
                <a:gd name="connsiteY9" fmla="*/ 27241 h 687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093" h="687570">
                  <a:moveTo>
                    <a:pt x="157342" y="27241"/>
                  </a:moveTo>
                  <a:cubicBezTo>
                    <a:pt x="162280" y="21773"/>
                    <a:pt x="163622" y="20267"/>
                    <a:pt x="164649" y="17969"/>
                  </a:cubicBezTo>
                  <a:cubicBezTo>
                    <a:pt x="167533" y="11986"/>
                    <a:pt x="165321" y="4022"/>
                    <a:pt x="159357" y="1248"/>
                  </a:cubicBezTo>
                  <a:cubicBezTo>
                    <a:pt x="153313" y="-1604"/>
                    <a:pt x="146677" y="258"/>
                    <a:pt x="143952" y="6241"/>
                  </a:cubicBezTo>
                  <a:cubicBezTo>
                    <a:pt x="143202" y="7113"/>
                    <a:pt x="141740" y="8737"/>
                    <a:pt x="139607" y="11154"/>
                  </a:cubicBezTo>
                  <a:cubicBezTo>
                    <a:pt x="53266" y="106881"/>
                    <a:pt x="-120603" y="363991"/>
                    <a:pt x="128824" y="682912"/>
                  </a:cubicBezTo>
                  <a:cubicBezTo>
                    <a:pt x="131194" y="685923"/>
                    <a:pt x="134710" y="687508"/>
                    <a:pt x="138225" y="687508"/>
                  </a:cubicBezTo>
                  <a:cubicBezTo>
                    <a:pt x="140832" y="687508"/>
                    <a:pt x="143438" y="686675"/>
                    <a:pt x="145572" y="684932"/>
                  </a:cubicBezTo>
                  <a:cubicBezTo>
                    <a:pt x="150825" y="680851"/>
                    <a:pt x="151694" y="673323"/>
                    <a:pt x="147626" y="668093"/>
                  </a:cubicBezTo>
                  <a:cubicBezTo>
                    <a:pt x="-90545" y="363516"/>
                    <a:pt x="75108" y="118491"/>
                    <a:pt x="157342" y="27241"/>
                  </a:cubicBezTo>
                  <a:close/>
                </a:path>
              </a:pathLst>
            </a:custGeom>
            <a:solidFill>
              <a:schemeClr val="bg1"/>
            </a:solidFill>
            <a:ln w="39496" cap="flat">
              <a:noFill/>
              <a:prstDash val="solid"/>
              <a:round/>
            </a:ln>
          </p:spPr>
          <p:txBody>
            <a:bodyPr rtlCol="0" anchor="ctr"/>
            <a:lstStyle/>
            <a:p>
              <a:endParaRPr lang="en-LT"/>
            </a:p>
          </p:txBody>
        </p:sp>
        <p:sp>
          <p:nvSpPr>
            <p:cNvPr id="127" name="Freeform 126">
              <a:extLst>
                <a:ext uri="{FF2B5EF4-FFF2-40B4-BE49-F238E27FC236}">
                  <a16:creationId xmlns:a16="http://schemas.microsoft.com/office/drawing/2014/main" id="{0B4181A1-B171-B248-9666-6CE423B605DF}"/>
                </a:ext>
              </a:extLst>
            </p:cNvPr>
            <p:cNvSpPr/>
            <p:nvPr/>
          </p:nvSpPr>
          <p:spPr>
            <a:xfrm>
              <a:off x="9570472" y="1972385"/>
              <a:ext cx="230750" cy="278542"/>
            </a:xfrm>
            <a:custGeom>
              <a:avLst/>
              <a:gdLst>
                <a:gd name="connsiteX0" fmla="*/ 301119 w 427598"/>
                <a:gd name="connsiteY0" fmla="*/ 356000 h 516160"/>
                <a:gd name="connsiteX1" fmla="*/ 15274 w 427598"/>
                <a:gd name="connsiteY1" fmla="*/ 491985 h 516160"/>
                <a:gd name="connsiteX2" fmla="*/ 11324 w 427598"/>
                <a:gd name="connsiteY2" fmla="*/ 492143 h 516160"/>
                <a:gd name="connsiteX3" fmla="*/ -129 w 427598"/>
                <a:gd name="connsiteY3" fmla="*/ 504624 h 516160"/>
                <a:gd name="connsiteX4" fmla="*/ 11838 w 427598"/>
                <a:gd name="connsiteY4" fmla="*/ 516114 h 516160"/>
                <a:gd name="connsiteX5" fmla="*/ 12351 w 427598"/>
                <a:gd name="connsiteY5" fmla="*/ 516114 h 516160"/>
                <a:gd name="connsiteX6" fmla="*/ 16104 w 427598"/>
                <a:gd name="connsiteY6" fmla="*/ 515956 h 516160"/>
                <a:gd name="connsiteX7" fmla="*/ 320236 w 427598"/>
                <a:gd name="connsiteY7" fmla="*/ 370463 h 516160"/>
                <a:gd name="connsiteX8" fmla="*/ 423680 w 427598"/>
                <a:gd name="connsiteY8" fmla="*/ 10058 h 516160"/>
                <a:gd name="connsiteX9" fmla="*/ 410015 w 427598"/>
                <a:gd name="connsiteY9" fmla="*/ 113 h 516160"/>
                <a:gd name="connsiteX10" fmla="*/ 400061 w 427598"/>
                <a:gd name="connsiteY10" fmla="*/ 13862 h 516160"/>
                <a:gd name="connsiteX11" fmla="*/ 301119 w 427598"/>
                <a:gd name="connsiteY11" fmla="*/ 356000 h 516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7598" h="516160">
                  <a:moveTo>
                    <a:pt x="301119" y="356000"/>
                  </a:moveTo>
                  <a:cubicBezTo>
                    <a:pt x="256684" y="414959"/>
                    <a:pt x="170975" y="486438"/>
                    <a:pt x="15274" y="491985"/>
                  </a:cubicBezTo>
                  <a:lnTo>
                    <a:pt x="11324" y="492143"/>
                  </a:lnTo>
                  <a:cubicBezTo>
                    <a:pt x="4729" y="492421"/>
                    <a:pt x="-406" y="498007"/>
                    <a:pt x="-129" y="504624"/>
                  </a:cubicBezTo>
                  <a:cubicBezTo>
                    <a:pt x="147" y="511082"/>
                    <a:pt x="5440" y="516114"/>
                    <a:pt x="11838" y="516114"/>
                  </a:cubicBezTo>
                  <a:lnTo>
                    <a:pt x="12351" y="516114"/>
                  </a:lnTo>
                  <a:lnTo>
                    <a:pt x="16104" y="515956"/>
                  </a:lnTo>
                  <a:cubicBezTo>
                    <a:pt x="181243" y="510092"/>
                    <a:pt x="272642" y="433581"/>
                    <a:pt x="320236" y="370463"/>
                  </a:cubicBezTo>
                  <a:cubicBezTo>
                    <a:pt x="446707" y="202623"/>
                    <a:pt x="428617" y="40765"/>
                    <a:pt x="423680" y="10058"/>
                  </a:cubicBezTo>
                  <a:cubicBezTo>
                    <a:pt x="422614" y="3481"/>
                    <a:pt x="416334" y="-957"/>
                    <a:pt x="410015" y="113"/>
                  </a:cubicBezTo>
                  <a:cubicBezTo>
                    <a:pt x="403497" y="1143"/>
                    <a:pt x="398994" y="7324"/>
                    <a:pt x="400061" y="13862"/>
                  </a:cubicBezTo>
                  <a:cubicBezTo>
                    <a:pt x="404722" y="42905"/>
                    <a:pt x="421745" y="195926"/>
                    <a:pt x="301119" y="356000"/>
                  </a:cubicBezTo>
                  <a:close/>
                </a:path>
              </a:pathLst>
            </a:custGeom>
            <a:solidFill>
              <a:schemeClr val="bg1"/>
            </a:solidFill>
            <a:ln w="39496" cap="flat">
              <a:noFill/>
              <a:prstDash val="solid"/>
              <a:round/>
            </a:ln>
          </p:spPr>
          <p:txBody>
            <a:bodyPr rtlCol="0" anchor="ctr"/>
            <a:lstStyle/>
            <a:p>
              <a:endParaRPr lang="en-LT"/>
            </a:p>
          </p:txBody>
        </p:sp>
      </p:grpSp>
      <p:grpSp>
        <p:nvGrpSpPr>
          <p:cNvPr id="128" name="Group 127">
            <a:extLst>
              <a:ext uri="{FF2B5EF4-FFF2-40B4-BE49-F238E27FC236}">
                <a16:creationId xmlns:a16="http://schemas.microsoft.com/office/drawing/2014/main" id="{C817762B-0C50-3846-B4BF-345EF2AF0D95}"/>
              </a:ext>
            </a:extLst>
          </p:cNvPr>
          <p:cNvGrpSpPr/>
          <p:nvPr/>
        </p:nvGrpSpPr>
        <p:grpSpPr>
          <a:xfrm>
            <a:off x="2808912" y="4120801"/>
            <a:ext cx="901492" cy="901844"/>
            <a:chOff x="9097952" y="1550321"/>
            <a:chExt cx="901492" cy="901844"/>
          </a:xfrm>
        </p:grpSpPr>
        <p:sp>
          <p:nvSpPr>
            <p:cNvPr id="129" name="Freeform 128">
              <a:extLst>
                <a:ext uri="{FF2B5EF4-FFF2-40B4-BE49-F238E27FC236}">
                  <a16:creationId xmlns:a16="http://schemas.microsoft.com/office/drawing/2014/main" id="{B7593D87-F4CC-4344-8C21-8BB4E3768854}"/>
                </a:ext>
              </a:extLst>
            </p:cNvPr>
            <p:cNvSpPr/>
            <p:nvPr/>
          </p:nvSpPr>
          <p:spPr>
            <a:xfrm>
              <a:off x="9097952" y="1550321"/>
              <a:ext cx="901492" cy="901844"/>
            </a:xfrm>
            <a:custGeom>
              <a:avLst/>
              <a:gdLst>
                <a:gd name="connsiteX0" fmla="*/ 598272 w 1670533"/>
                <a:gd name="connsiteY0" fmla="*/ 1371675 h 1671185"/>
                <a:gd name="connsiteX1" fmla="*/ 533022 w 1670533"/>
                <a:gd name="connsiteY1" fmla="*/ 1330507 h 1671185"/>
                <a:gd name="connsiteX2" fmla="*/ 527611 w 1670533"/>
                <a:gd name="connsiteY2" fmla="*/ 1323375 h 1671185"/>
                <a:gd name="connsiteX3" fmla="*/ 598786 w 1670533"/>
                <a:gd name="connsiteY3" fmla="*/ 1364661 h 1671185"/>
                <a:gd name="connsiteX4" fmla="*/ 610872 w 1670533"/>
                <a:gd name="connsiteY4" fmla="*/ 1343939 h 1671185"/>
                <a:gd name="connsiteX5" fmla="*/ 488824 w 1670533"/>
                <a:gd name="connsiteY5" fmla="*/ 1273134 h 1671185"/>
                <a:gd name="connsiteX6" fmla="*/ 476738 w 1670533"/>
                <a:gd name="connsiteY6" fmla="*/ 1293856 h 1671185"/>
                <a:gd name="connsiteX7" fmla="*/ 527097 w 1670533"/>
                <a:gd name="connsiteY7" fmla="*/ 1323019 h 1671185"/>
                <a:gd name="connsiteX8" fmla="*/ 522279 w 1670533"/>
                <a:gd name="connsiteY8" fmla="*/ 1321711 h 1671185"/>
                <a:gd name="connsiteX9" fmla="*/ 514655 w 1670533"/>
                <a:gd name="connsiteY9" fmla="*/ 1321473 h 1671185"/>
                <a:gd name="connsiteX10" fmla="*/ 493683 w 1670533"/>
                <a:gd name="connsiteY10" fmla="*/ 1311568 h 1671185"/>
                <a:gd name="connsiteX11" fmla="*/ 463743 w 1670533"/>
                <a:gd name="connsiteY11" fmla="*/ 1305466 h 1671185"/>
                <a:gd name="connsiteX12" fmla="*/ 445495 w 1670533"/>
                <a:gd name="connsiteY12" fmla="*/ 1308002 h 1671185"/>
                <a:gd name="connsiteX13" fmla="*/ 420217 w 1670533"/>
                <a:gd name="connsiteY13" fmla="*/ 1267627 h 1671185"/>
                <a:gd name="connsiteX14" fmla="*/ 399559 w 1670533"/>
                <a:gd name="connsiteY14" fmla="*/ 1279751 h 1671185"/>
                <a:gd name="connsiteX15" fmla="*/ 423258 w 1670533"/>
                <a:gd name="connsiteY15" fmla="*/ 1317591 h 1671185"/>
                <a:gd name="connsiteX16" fmla="*/ 414766 w 1670533"/>
                <a:gd name="connsiteY16" fmla="*/ 1323692 h 1671185"/>
                <a:gd name="connsiteX17" fmla="*/ 397347 w 1670533"/>
                <a:gd name="connsiteY17" fmla="*/ 1338749 h 1671185"/>
                <a:gd name="connsiteX18" fmla="*/ 366421 w 1670533"/>
                <a:gd name="connsiteY18" fmla="*/ 1298374 h 1671185"/>
                <a:gd name="connsiteX19" fmla="*/ 345764 w 1670533"/>
                <a:gd name="connsiteY19" fmla="*/ 1310458 h 1671185"/>
                <a:gd name="connsiteX20" fmla="*/ 379337 w 1670533"/>
                <a:gd name="connsiteY20" fmla="*/ 1354360 h 1671185"/>
                <a:gd name="connsiteX21" fmla="*/ 354058 w 1670533"/>
                <a:gd name="connsiteY21" fmla="*/ 1376271 h 1671185"/>
                <a:gd name="connsiteX22" fmla="*/ 320920 w 1670533"/>
                <a:gd name="connsiteY22" fmla="*/ 1335737 h 1671185"/>
                <a:gd name="connsiteX23" fmla="*/ 303975 w 1670533"/>
                <a:gd name="connsiteY23" fmla="*/ 1352656 h 1671185"/>
                <a:gd name="connsiteX24" fmla="*/ 336047 w 1670533"/>
                <a:gd name="connsiteY24" fmla="*/ 1391922 h 1671185"/>
                <a:gd name="connsiteX25" fmla="*/ 331071 w 1670533"/>
                <a:gd name="connsiteY25" fmla="*/ 1396201 h 1671185"/>
                <a:gd name="connsiteX26" fmla="*/ 321907 w 1670533"/>
                <a:gd name="connsiteY26" fmla="*/ 1401788 h 1671185"/>
                <a:gd name="connsiteX27" fmla="*/ 317523 w 1670533"/>
                <a:gd name="connsiteY27" fmla="*/ 1400480 h 1671185"/>
                <a:gd name="connsiteX28" fmla="*/ 316930 w 1670533"/>
                <a:gd name="connsiteY28" fmla="*/ 1399648 h 1671185"/>
                <a:gd name="connsiteX29" fmla="*/ 269059 w 1670533"/>
                <a:gd name="connsiteY29" fmla="*/ 1355707 h 1671185"/>
                <a:gd name="connsiteX30" fmla="*/ 252154 w 1670533"/>
                <a:gd name="connsiteY30" fmla="*/ 1372666 h 1671185"/>
                <a:gd name="connsiteX31" fmla="*/ 290190 w 1670533"/>
                <a:gd name="connsiteY31" fmla="*/ 1407612 h 1671185"/>
                <a:gd name="connsiteX32" fmla="*/ 270521 w 1670533"/>
                <a:gd name="connsiteY32" fmla="*/ 1401471 h 1671185"/>
                <a:gd name="connsiteX33" fmla="*/ 223953 w 1670533"/>
                <a:gd name="connsiteY33" fmla="*/ 1365296 h 1671185"/>
                <a:gd name="connsiteX34" fmla="*/ 181019 w 1670533"/>
                <a:gd name="connsiteY34" fmla="*/ 1303643 h 1671185"/>
                <a:gd name="connsiteX35" fmla="*/ 195554 w 1670533"/>
                <a:gd name="connsiteY35" fmla="*/ 1242427 h 1671185"/>
                <a:gd name="connsiteX36" fmla="*/ 300894 w 1670533"/>
                <a:gd name="connsiteY36" fmla="*/ 1156050 h 1671185"/>
                <a:gd name="connsiteX37" fmla="*/ 326094 w 1670533"/>
                <a:gd name="connsiteY37" fmla="*/ 1079341 h 1671185"/>
                <a:gd name="connsiteX38" fmla="*/ 303501 w 1670533"/>
                <a:gd name="connsiteY38" fmla="*/ 1010041 h 1671185"/>
                <a:gd name="connsiteX39" fmla="*/ 301211 w 1670533"/>
                <a:gd name="connsiteY39" fmla="*/ 1004811 h 1671185"/>
                <a:gd name="connsiteX40" fmla="*/ 300065 w 1670533"/>
                <a:gd name="connsiteY40" fmla="*/ 995223 h 1671185"/>
                <a:gd name="connsiteX41" fmla="*/ 292363 w 1670533"/>
                <a:gd name="connsiteY41" fmla="*/ 984644 h 1671185"/>
                <a:gd name="connsiteX42" fmla="*/ 271863 w 1670533"/>
                <a:gd name="connsiteY42" fmla="*/ 943714 h 1671185"/>
                <a:gd name="connsiteX43" fmla="*/ 238133 w 1670533"/>
                <a:gd name="connsiteY43" fmla="*/ 913600 h 1671185"/>
                <a:gd name="connsiteX44" fmla="*/ 242438 w 1670533"/>
                <a:gd name="connsiteY44" fmla="*/ 904408 h 1671185"/>
                <a:gd name="connsiteX45" fmla="*/ 240858 w 1670533"/>
                <a:gd name="connsiteY45" fmla="*/ 856465 h 1671185"/>
                <a:gd name="connsiteX46" fmla="*/ 216962 w 1670533"/>
                <a:gd name="connsiteY46" fmla="*/ 856465 h 1671185"/>
                <a:gd name="connsiteX47" fmla="*/ 218502 w 1670533"/>
                <a:gd name="connsiteY47" fmla="*/ 904408 h 1671185"/>
                <a:gd name="connsiteX48" fmla="*/ 219331 w 1670533"/>
                <a:gd name="connsiteY48" fmla="*/ 907895 h 1671185"/>
                <a:gd name="connsiteX49" fmla="*/ 207008 w 1670533"/>
                <a:gd name="connsiteY49" fmla="*/ 906270 h 1671185"/>
                <a:gd name="connsiteX50" fmla="*/ 182401 w 1670533"/>
                <a:gd name="connsiteY50" fmla="*/ 906270 h 1671185"/>
                <a:gd name="connsiteX51" fmla="*/ 184376 w 1670533"/>
                <a:gd name="connsiteY51" fmla="*/ 897276 h 1671185"/>
                <a:gd name="connsiteX52" fmla="*/ 176398 w 1670533"/>
                <a:gd name="connsiteY52" fmla="*/ 849294 h 1671185"/>
                <a:gd name="connsiteX53" fmla="*/ 153291 w 1670533"/>
                <a:gd name="connsiteY53" fmla="*/ 855673 h 1671185"/>
                <a:gd name="connsiteX54" fmla="*/ 161270 w 1670533"/>
                <a:gd name="connsiteY54" fmla="*/ 903655 h 1671185"/>
                <a:gd name="connsiteX55" fmla="*/ 162258 w 1670533"/>
                <a:gd name="connsiteY55" fmla="*/ 906270 h 1671185"/>
                <a:gd name="connsiteX56" fmla="*/ 121062 w 1670533"/>
                <a:gd name="connsiteY56" fmla="*/ 906270 h 1671185"/>
                <a:gd name="connsiteX57" fmla="*/ 117388 w 1670533"/>
                <a:gd name="connsiteY57" fmla="*/ 856465 h 1671185"/>
                <a:gd name="connsiteX58" fmla="*/ 93492 w 1670533"/>
                <a:gd name="connsiteY58" fmla="*/ 856465 h 1671185"/>
                <a:gd name="connsiteX59" fmla="*/ 97166 w 1670533"/>
                <a:gd name="connsiteY59" fmla="*/ 906270 h 1671185"/>
                <a:gd name="connsiteX60" fmla="*/ 80814 w 1670533"/>
                <a:gd name="connsiteY60" fmla="*/ 906270 h 1671185"/>
                <a:gd name="connsiteX61" fmla="*/ 76666 w 1670533"/>
                <a:gd name="connsiteY61" fmla="*/ 905914 h 1671185"/>
                <a:gd name="connsiteX62" fmla="*/ 76666 w 1670533"/>
                <a:gd name="connsiteY62" fmla="*/ 905240 h 1671185"/>
                <a:gd name="connsiteX63" fmla="*/ 68688 w 1670533"/>
                <a:gd name="connsiteY63" fmla="*/ 857297 h 1671185"/>
                <a:gd name="connsiteX64" fmla="*/ 45621 w 1670533"/>
                <a:gd name="connsiteY64" fmla="*/ 863676 h 1671185"/>
                <a:gd name="connsiteX65" fmla="*/ 51151 w 1670533"/>
                <a:gd name="connsiteY65" fmla="*/ 896801 h 1671185"/>
                <a:gd name="connsiteX66" fmla="*/ 30178 w 1670533"/>
                <a:gd name="connsiteY66" fmla="*/ 865697 h 1671185"/>
                <a:gd name="connsiteX67" fmla="*/ 23029 w 1670533"/>
                <a:gd name="connsiteY67" fmla="*/ 794575 h 1671185"/>
                <a:gd name="connsiteX68" fmla="*/ 25991 w 1670533"/>
                <a:gd name="connsiteY68" fmla="*/ 759272 h 1671185"/>
                <a:gd name="connsiteX69" fmla="*/ 76113 w 1670533"/>
                <a:gd name="connsiteY69" fmla="*/ 716163 h 1671185"/>
                <a:gd name="connsiteX70" fmla="*/ 201242 w 1670533"/>
                <a:gd name="connsiteY70" fmla="*/ 713745 h 1671185"/>
                <a:gd name="connsiteX71" fmla="*/ 256301 w 1670533"/>
                <a:gd name="connsiteY71" fmla="*/ 688030 h 1671185"/>
                <a:gd name="connsiteX72" fmla="*/ 291691 w 1670533"/>
                <a:gd name="connsiteY72" fmla="*/ 633272 h 1671185"/>
                <a:gd name="connsiteX73" fmla="*/ 312072 w 1670533"/>
                <a:gd name="connsiteY73" fmla="*/ 569362 h 1671185"/>
                <a:gd name="connsiteX74" fmla="*/ 303777 w 1670533"/>
                <a:gd name="connsiteY74" fmla="*/ 522449 h 1671185"/>
                <a:gd name="connsiteX75" fmla="*/ 303383 w 1670533"/>
                <a:gd name="connsiteY75" fmla="*/ 516624 h 1671185"/>
                <a:gd name="connsiteX76" fmla="*/ 310808 w 1670533"/>
                <a:gd name="connsiteY76" fmla="*/ 510760 h 1671185"/>
                <a:gd name="connsiteX77" fmla="*/ 318787 w 1670533"/>
                <a:gd name="connsiteY77" fmla="*/ 494752 h 1671185"/>
                <a:gd name="connsiteX78" fmla="*/ 298169 w 1670533"/>
                <a:gd name="connsiteY78" fmla="*/ 482668 h 1671185"/>
                <a:gd name="connsiteX79" fmla="*/ 290151 w 1670533"/>
                <a:gd name="connsiteY79" fmla="*/ 498636 h 1671185"/>
                <a:gd name="connsiteX80" fmla="*/ 289045 w 1670533"/>
                <a:gd name="connsiteY80" fmla="*/ 502717 h 1671185"/>
                <a:gd name="connsiteX81" fmla="*/ 288176 w 1670533"/>
                <a:gd name="connsiteY81" fmla="*/ 501686 h 1671185"/>
                <a:gd name="connsiteX82" fmla="*/ 275181 w 1670533"/>
                <a:gd name="connsiteY82" fmla="*/ 491662 h 1671185"/>
                <a:gd name="connsiteX83" fmla="*/ 275221 w 1670533"/>
                <a:gd name="connsiteY83" fmla="*/ 491622 h 1671185"/>
                <a:gd name="connsiteX84" fmla="*/ 287109 w 1670533"/>
                <a:gd name="connsiteY84" fmla="*/ 451643 h 1671185"/>
                <a:gd name="connsiteX85" fmla="*/ 264043 w 1670533"/>
                <a:gd name="connsiteY85" fmla="*/ 445264 h 1671185"/>
                <a:gd name="connsiteX86" fmla="*/ 254761 w 1670533"/>
                <a:gd name="connsiteY86" fmla="*/ 476328 h 1671185"/>
                <a:gd name="connsiteX87" fmla="*/ 229522 w 1670533"/>
                <a:gd name="connsiteY87" fmla="*/ 457389 h 1671185"/>
                <a:gd name="connsiteX88" fmla="*/ 227271 w 1670533"/>
                <a:gd name="connsiteY88" fmla="*/ 455685 h 1671185"/>
                <a:gd name="connsiteX89" fmla="*/ 239397 w 1670533"/>
                <a:gd name="connsiteY89" fmla="*/ 407742 h 1671185"/>
                <a:gd name="connsiteX90" fmla="*/ 216330 w 1670533"/>
                <a:gd name="connsiteY90" fmla="*/ 401363 h 1671185"/>
                <a:gd name="connsiteX91" fmla="*/ 206495 w 1670533"/>
                <a:gd name="connsiteY91" fmla="*/ 440113 h 1671185"/>
                <a:gd name="connsiteX92" fmla="*/ 189037 w 1670533"/>
                <a:gd name="connsiteY92" fmla="*/ 426998 h 1671185"/>
                <a:gd name="connsiteX93" fmla="*/ 190735 w 1670533"/>
                <a:gd name="connsiteY93" fmla="*/ 423512 h 1671185"/>
                <a:gd name="connsiteX94" fmla="*/ 203454 w 1670533"/>
                <a:gd name="connsiteY94" fmla="*/ 375767 h 1671185"/>
                <a:gd name="connsiteX95" fmla="*/ 183547 w 1670533"/>
                <a:gd name="connsiteY95" fmla="*/ 364038 h 1671185"/>
                <a:gd name="connsiteX96" fmla="*/ 252193 w 1670533"/>
                <a:gd name="connsiteY96" fmla="*/ 278652 h 1671185"/>
                <a:gd name="connsiteX97" fmla="*/ 273088 w 1670533"/>
                <a:gd name="connsiteY97" fmla="*/ 261179 h 1671185"/>
                <a:gd name="connsiteX98" fmla="*/ 340392 w 1670533"/>
                <a:gd name="connsiteY98" fmla="*/ 257494 h 1671185"/>
                <a:gd name="connsiteX99" fmla="*/ 446996 w 1670533"/>
                <a:gd name="connsiteY99" fmla="*/ 339512 h 1671185"/>
                <a:gd name="connsiteX100" fmla="*/ 492497 w 1670533"/>
                <a:gd name="connsiteY100" fmla="*/ 355084 h 1671185"/>
                <a:gd name="connsiteX101" fmla="*/ 496724 w 1670533"/>
                <a:gd name="connsiteY101" fmla="*/ 354965 h 1671185"/>
                <a:gd name="connsiteX102" fmla="*/ 580419 w 1670533"/>
                <a:gd name="connsiteY102" fmla="*/ 325248 h 1671185"/>
                <a:gd name="connsiteX103" fmla="*/ 588951 w 1670533"/>
                <a:gd name="connsiteY103" fmla="*/ 319503 h 1671185"/>
                <a:gd name="connsiteX104" fmla="*/ 590334 w 1670533"/>
                <a:gd name="connsiteY104" fmla="*/ 316611 h 1671185"/>
                <a:gd name="connsiteX105" fmla="*/ 632872 w 1670533"/>
                <a:gd name="connsiteY105" fmla="*/ 256900 h 1671185"/>
                <a:gd name="connsiteX106" fmla="*/ 634768 w 1670533"/>
                <a:gd name="connsiteY106" fmla="*/ 250917 h 1671185"/>
                <a:gd name="connsiteX107" fmla="*/ 683547 w 1670533"/>
                <a:gd name="connsiteY107" fmla="*/ 232968 h 1671185"/>
                <a:gd name="connsiteX108" fmla="*/ 666603 w 1670533"/>
                <a:gd name="connsiteY108" fmla="*/ 216009 h 1671185"/>
                <a:gd name="connsiteX109" fmla="*/ 637888 w 1670533"/>
                <a:gd name="connsiteY109" fmla="*/ 227381 h 1671185"/>
                <a:gd name="connsiteX110" fmla="*/ 636901 w 1670533"/>
                <a:gd name="connsiteY110" fmla="*/ 217436 h 1671185"/>
                <a:gd name="connsiteX111" fmla="*/ 634413 w 1670533"/>
                <a:gd name="connsiteY111" fmla="*/ 202458 h 1671185"/>
                <a:gd name="connsiteX112" fmla="*/ 675569 w 1670533"/>
                <a:gd name="connsiteY112" fmla="*/ 201864 h 1671185"/>
                <a:gd name="connsiteX113" fmla="*/ 675569 w 1670533"/>
                <a:gd name="connsiteY113" fmla="*/ 177893 h 1671185"/>
                <a:gd name="connsiteX114" fmla="*/ 630463 w 1670533"/>
                <a:gd name="connsiteY114" fmla="*/ 178566 h 1671185"/>
                <a:gd name="connsiteX115" fmla="*/ 625802 w 1670533"/>
                <a:gd name="connsiteY115" fmla="*/ 150553 h 1671185"/>
                <a:gd name="connsiteX116" fmla="*/ 675687 w 1670533"/>
                <a:gd name="connsiteY116" fmla="*/ 147026 h 1671185"/>
                <a:gd name="connsiteX117" fmla="*/ 675687 w 1670533"/>
                <a:gd name="connsiteY117" fmla="*/ 123055 h 1671185"/>
                <a:gd name="connsiteX118" fmla="*/ 621813 w 1670533"/>
                <a:gd name="connsiteY118" fmla="*/ 126819 h 1671185"/>
                <a:gd name="connsiteX119" fmla="*/ 617389 w 1670533"/>
                <a:gd name="connsiteY119" fmla="*/ 100153 h 1671185"/>
                <a:gd name="connsiteX120" fmla="*/ 666880 w 1670533"/>
                <a:gd name="connsiteY120" fmla="*/ 93259 h 1671185"/>
                <a:gd name="connsiteX121" fmla="*/ 660481 w 1670533"/>
                <a:gd name="connsiteY121" fmla="*/ 70160 h 1671185"/>
                <a:gd name="connsiteX122" fmla="*/ 617231 w 1670533"/>
                <a:gd name="connsiteY122" fmla="*/ 76143 h 1671185"/>
                <a:gd name="connsiteX123" fmla="*/ 651120 w 1670533"/>
                <a:gd name="connsiteY123" fmla="*/ 38145 h 1671185"/>
                <a:gd name="connsiteX124" fmla="*/ 702862 w 1670533"/>
                <a:gd name="connsiteY124" fmla="*/ 25901 h 1671185"/>
                <a:gd name="connsiteX125" fmla="*/ 798012 w 1670533"/>
                <a:gd name="connsiteY125" fmla="*/ 28278 h 1671185"/>
                <a:gd name="connsiteX126" fmla="*/ 840591 w 1670533"/>
                <a:gd name="connsiteY126" fmla="*/ 74121 h 1671185"/>
                <a:gd name="connsiteX127" fmla="*/ 849516 w 1670533"/>
                <a:gd name="connsiteY127" fmla="*/ 161132 h 1671185"/>
                <a:gd name="connsiteX128" fmla="*/ 870924 w 1670533"/>
                <a:gd name="connsiteY128" fmla="*/ 206421 h 1671185"/>
                <a:gd name="connsiteX129" fmla="*/ 924206 w 1670533"/>
                <a:gd name="connsiteY129" fmla="*/ 241368 h 1671185"/>
                <a:gd name="connsiteX130" fmla="*/ 1046807 w 1670533"/>
                <a:gd name="connsiteY130" fmla="*/ 243784 h 1671185"/>
                <a:gd name="connsiteX131" fmla="*/ 1078010 w 1670533"/>
                <a:gd name="connsiteY131" fmla="*/ 223617 h 1671185"/>
                <a:gd name="connsiteX132" fmla="*/ 1107989 w 1670533"/>
                <a:gd name="connsiteY132" fmla="*/ 240060 h 1671185"/>
                <a:gd name="connsiteX133" fmla="*/ 1120036 w 1670533"/>
                <a:gd name="connsiteY133" fmla="*/ 219338 h 1671185"/>
                <a:gd name="connsiteX134" fmla="*/ 1091913 w 1670533"/>
                <a:gd name="connsiteY134" fmla="*/ 203924 h 1671185"/>
                <a:gd name="connsiteX135" fmla="*/ 1099971 w 1670533"/>
                <a:gd name="connsiteY135" fmla="*/ 190215 h 1671185"/>
                <a:gd name="connsiteX136" fmla="*/ 1147724 w 1670533"/>
                <a:gd name="connsiteY136" fmla="*/ 212483 h 1671185"/>
                <a:gd name="connsiteX137" fmla="*/ 1159811 w 1670533"/>
                <a:gd name="connsiteY137" fmla="*/ 191761 h 1671185"/>
                <a:gd name="connsiteX138" fmla="*/ 1112137 w 1670533"/>
                <a:gd name="connsiteY138" fmla="*/ 169572 h 1671185"/>
                <a:gd name="connsiteX139" fmla="*/ 1128449 w 1670533"/>
                <a:gd name="connsiteY139" fmla="*/ 141836 h 1671185"/>
                <a:gd name="connsiteX140" fmla="*/ 1188051 w 1670533"/>
                <a:gd name="connsiteY140" fmla="*/ 175515 h 1671185"/>
                <a:gd name="connsiteX141" fmla="*/ 1200137 w 1670533"/>
                <a:gd name="connsiteY141" fmla="*/ 154832 h 1671185"/>
                <a:gd name="connsiteX142" fmla="*/ 1140614 w 1670533"/>
                <a:gd name="connsiteY142" fmla="*/ 121193 h 1671185"/>
                <a:gd name="connsiteX143" fmla="*/ 1146380 w 1670533"/>
                <a:gd name="connsiteY143" fmla="*/ 111367 h 1671185"/>
                <a:gd name="connsiteX144" fmla="*/ 1158309 w 1670533"/>
                <a:gd name="connsiteY144" fmla="*/ 97855 h 1671185"/>
                <a:gd name="connsiteX145" fmla="*/ 1164313 w 1670533"/>
                <a:gd name="connsiteY145" fmla="*/ 107166 h 1671185"/>
                <a:gd name="connsiteX146" fmla="*/ 1236199 w 1670533"/>
                <a:gd name="connsiteY146" fmla="*/ 139063 h 1671185"/>
                <a:gd name="connsiteX147" fmla="*/ 1248245 w 1670533"/>
                <a:gd name="connsiteY147" fmla="*/ 118380 h 1671185"/>
                <a:gd name="connsiteX148" fmla="*/ 1178848 w 1670533"/>
                <a:gd name="connsiteY148" fmla="*/ 87554 h 1671185"/>
                <a:gd name="connsiteX149" fmla="*/ 1197768 w 1670533"/>
                <a:gd name="connsiteY149" fmla="*/ 86286 h 1671185"/>
                <a:gd name="connsiteX150" fmla="*/ 1258633 w 1670533"/>
                <a:gd name="connsiteY150" fmla="*/ 105859 h 1671185"/>
                <a:gd name="connsiteX151" fmla="*/ 1332099 w 1670533"/>
                <a:gd name="connsiteY151" fmla="*/ 168621 h 1671185"/>
                <a:gd name="connsiteX152" fmla="*/ 1333284 w 1670533"/>
                <a:gd name="connsiteY152" fmla="*/ 226351 h 1671185"/>
                <a:gd name="connsiteX153" fmla="*/ 1273169 w 1670533"/>
                <a:gd name="connsiteY153" fmla="*/ 320335 h 1671185"/>
                <a:gd name="connsiteX154" fmla="*/ 1265308 w 1670533"/>
                <a:gd name="connsiteY154" fmla="*/ 385078 h 1671185"/>
                <a:gd name="connsiteX155" fmla="*/ 1300461 w 1670533"/>
                <a:gd name="connsiteY155" fmla="*/ 457111 h 1671185"/>
                <a:gd name="connsiteX156" fmla="*/ 1338695 w 1670533"/>
                <a:gd name="connsiteY156" fmla="*/ 503984 h 1671185"/>
                <a:gd name="connsiteX157" fmla="*/ 1405209 w 1670533"/>
                <a:gd name="connsiteY157" fmla="*/ 524548 h 1671185"/>
                <a:gd name="connsiteX158" fmla="*/ 1429026 w 1670533"/>
                <a:gd name="connsiteY158" fmla="*/ 588222 h 1671185"/>
                <a:gd name="connsiteX159" fmla="*/ 1452133 w 1670533"/>
                <a:gd name="connsiteY159" fmla="*/ 581843 h 1671185"/>
                <a:gd name="connsiteX160" fmla="*/ 1428196 w 1670533"/>
                <a:gd name="connsiteY160" fmla="*/ 517892 h 1671185"/>
                <a:gd name="connsiteX161" fmla="*/ 1427841 w 1670533"/>
                <a:gd name="connsiteY161" fmla="*/ 517297 h 1671185"/>
                <a:gd name="connsiteX162" fmla="*/ 1466825 w 1670533"/>
                <a:gd name="connsiteY162" fmla="*/ 501845 h 1671185"/>
                <a:gd name="connsiteX163" fmla="*/ 1467141 w 1670533"/>
                <a:gd name="connsiteY163" fmla="*/ 510760 h 1671185"/>
                <a:gd name="connsiteX164" fmla="*/ 1491117 w 1670533"/>
                <a:gd name="connsiteY164" fmla="*/ 566746 h 1671185"/>
                <a:gd name="connsiteX165" fmla="*/ 1511773 w 1670533"/>
                <a:gd name="connsiteY165" fmla="*/ 554622 h 1671185"/>
                <a:gd name="connsiteX166" fmla="*/ 1487838 w 1670533"/>
                <a:gd name="connsiteY166" fmla="*/ 498675 h 1671185"/>
                <a:gd name="connsiteX167" fmla="*/ 1484995 w 1670533"/>
                <a:gd name="connsiteY167" fmla="*/ 494634 h 1671185"/>
                <a:gd name="connsiteX168" fmla="*/ 1519357 w 1670533"/>
                <a:gd name="connsiteY168" fmla="*/ 481043 h 1671185"/>
                <a:gd name="connsiteX169" fmla="*/ 1533813 w 1670533"/>
                <a:gd name="connsiteY169" fmla="*/ 531879 h 1671185"/>
                <a:gd name="connsiteX170" fmla="*/ 1556919 w 1670533"/>
                <a:gd name="connsiteY170" fmla="*/ 525499 h 1671185"/>
                <a:gd name="connsiteX171" fmla="*/ 1541989 w 1670533"/>
                <a:gd name="connsiteY171" fmla="*/ 473158 h 1671185"/>
                <a:gd name="connsiteX172" fmla="*/ 1565253 w 1670533"/>
                <a:gd name="connsiteY172" fmla="*/ 472326 h 1671185"/>
                <a:gd name="connsiteX173" fmla="*/ 1565727 w 1670533"/>
                <a:gd name="connsiteY173" fmla="*/ 475892 h 1671185"/>
                <a:gd name="connsiteX174" fmla="*/ 1589703 w 1670533"/>
                <a:gd name="connsiteY174" fmla="*/ 543884 h 1671185"/>
                <a:gd name="connsiteX175" fmla="*/ 1612769 w 1670533"/>
                <a:gd name="connsiteY175" fmla="*/ 537505 h 1671185"/>
                <a:gd name="connsiteX176" fmla="*/ 1597326 w 1670533"/>
                <a:gd name="connsiteY176" fmla="*/ 493722 h 1671185"/>
                <a:gd name="connsiteX177" fmla="*/ 1623236 w 1670533"/>
                <a:gd name="connsiteY177" fmla="*/ 532711 h 1671185"/>
                <a:gd name="connsiteX178" fmla="*/ 1635441 w 1670533"/>
                <a:gd name="connsiteY178" fmla="*/ 624952 h 1671185"/>
                <a:gd name="connsiteX179" fmla="*/ 1603922 w 1670533"/>
                <a:gd name="connsiteY179" fmla="*/ 664336 h 1671185"/>
                <a:gd name="connsiteX180" fmla="*/ 1466351 w 1670533"/>
                <a:gd name="connsiteY180" fmla="*/ 720560 h 1671185"/>
                <a:gd name="connsiteX181" fmla="*/ 1425431 w 1670533"/>
                <a:gd name="connsiteY181" fmla="*/ 761292 h 1671185"/>
                <a:gd name="connsiteX182" fmla="*/ 1410264 w 1670533"/>
                <a:gd name="connsiteY182" fmla="*/ 832573 h 1671185"/>
                <a:gd name="connsiteX183" fmla="*/ 1423101 w 1670533"/>
                <a:gd name="connsiteY183" fmla="*/ 909282 h 1671185"/>
                <a:gd name="connsiteX184" fmla="*/ 1444984 w 1670533"/>
                <a:gd name="connsiteY184" fmla="*/ 939672 h 1671185"/>
                <a:gd name="connsiteX185" fmla="*/ 1422588 w 1670533"/>
                <a:gd name="connsiteY185" fmla="*/ 1017371 h 1671185"/>
                <a:gd name="connsiteX186" fmla="*/ 1445693 w 1670533"/>
                <a:gd name="connsiteY186" fmla="*/ 1023711 h 1671185"/>
                <a:gd name="connsiteX187" fmla="*/ 1466114 w 1670533"/>
                <a:gd name="connsiteY187" fmla="*/ 952747 h 1671185"/>
                <a:gd name="connsiteX188" fmla="*/ 1487047 w 1670533"/>
                <a:gd name="connsiteY188" fmla="*/ 963049 h 1671185"/>
                <a:gd name="connsiteX189" fmla="*/ 1485153 w 1670533"/>
                <a:gd name="connsiteY189" fmla="*/ 968398 h 1671185"/>
                <a:gd name="connsiteX190" fmla="*/ 1477332 w 1670533"/>
                <a:gd name="connsiteY190" fmla="*/ 1040352 h 1671185"/>
                <a:gd name="connsiteX191" fmla="*/ 1501267 w 1670533"/>
                <a:gd name="connsiteY191" fmla="*/ 1040352 h 1671185"/>
                <a:gd name="connsiteX192" fmla="*/ 1508534 w 1670533"/>
                <a:gd name="connsiteY192" fmla="*/ 973629 h 1671185"/>
                <a:gd name="connsiteX193" fmla="*/ 1535354 w 1670533"/>
                <a:gd name="connsiteY193" fmla="*/ 986783 h 1671185"/>
                <a:gd name="connsiteX194" fmla="*/ 1533813 w 1670533"/>
                <a:gd name="connsiteY194" fmla="*/ 989240 h 1671185"/>
                <a:gd name="connsiteX195" fmla="*/ 1509877 w 1670533"/>
                <a:gd name="connsiteY195" fmla="*/ 1053190 h 1671185"/>
                <a:gd name="connsiteX196" fmla="*/ 1532944 w 1670533"/>
                <a:gd name="connsiteY196" fmla="*/ 1059530 h 1671185"/>
                <a:gd name="connsiteX197" fmla="*/ 1556327 w 1670533"/>
                <a:gd name="connsiteY197" fmla="*/ 997124 h 1671185"/>
                <a:gd name="connsiteX198" fmla="*/ 1591046 w 1670533"/>
                <a:gd name="connsiteY198" fmla="*/ 1014162 h 1671185"/>
                <a:gd name="connsiteX199" fmla="*/ 1585673 w 1670533"/>
                <a:gd name="connsiteY199" fmla="*/ 1021215 h 1671185"/>
                <a:gd name="connsiteX200" fmla="*/ 1569717 w 1670533"/>
                <a:gd name="connsiteY200" fmla="*/ 1081163 h 1671185"/>
                <a:gd name="connsiteX201" fmla="*/ 1592822 w 1670533"/>
                <a:gd name="connsiteY201" fmla="*/ 1087543 h 1671185"/>
                <a:gd name="connsiteX202" fmla="*/ 1608779 w 1670533"/>
                <a:gd name="connsiteY202" fmla="*/ 1027594 h 1671185"/>
                <a:gd name="connsiteX203" fmla="*/ 1609056 w 1670533"/>
                <a:gd name="connsiteY203" fmla="*/ 1023038 h 1671185"/>
                <a:gd name="connsiteX204" fmla="*/ 1617786 w 1670533"/>
                <a:gd name="connsiteY204" fmla="*/ 1027317 h 1671185"/>
                <a:gd name="connsiteX205" fmla="*/ 1646618 w 1670533"/>
                <a:gd name="connsiteY205" fmla="*/ 1077717 h 1671185"/>
                <a:gd name="connsiteX206" fmla="*/ 1620352 w 1670533"/>
                <a:gd name="connsiteY206" fmla="*/ 1150661 h 1671185"/>
                <a:gd name="connsiteX207" fmla="*/ 1568610 w 1670533"/>
                <a:gd name="connsiteY207" fmla="*/ 1198208 h 1671185"/>
                <a:gd name="connsiteX208" fmla="*/ 1520463 w 1670533"/>
                <a:gd name="connsiteY208" fmla="*/ 1200110 h 1671185"/>
                <a:gd name="connsiteX209" fmla="*/ 1409554 w 1670533"/>
                <a:gd name="connsiteY209" fmla="*/ 1147333 h 1671185"/>
                <a:gd name="connsiteX210" fmla="*/ 1360616 w 1670533"/>
                <a:gd name="connsiteY210" fmla="*/ 1141944 h 1671185"/>
                <a:gd name="connsiteX211" fmla="*/ 1287071 w 1670533"/>
                <a:gd name="connsiteY211" fmla="*/ 1179387 h 1671185"/>
                <a:gd name="connsiteX212" fmla="*/ 1234382 w 1670533"/>
                <a:gd name="connsiteY212" fmla="*/ 1267587 h 1671185"/>
                <a:gd name="connsiteX213" fmla="*/ 1237502 w 1670533"/>
                <a:gd name="connsiteY213" fmla="*/ 1311092 h 1671185"/>
                <a:gd name="connsiteX214" fmla="*/ 1177781 w 1670533"/>
                <a:gd name="connsiteY214" fmla="*/ 1359709 h 1671185"/>
                <a:gd name="connsiteX215" fmla="*/ 1194727 w 1670533"/>
                <a:gd name="connsiteY215" fmla="*/ 1376667 h 1671185"/>
                <a:gd name="connsiteX216" fmla="*/ 1249194 w 1670533"/>
                <a:gd name="connsiteY216" fmla="*/ 1332330 h 1671185"/>
                <a:gd name="connsiteX217" fmla="*/ 1249510 w 1670533"/>
                <a:gd name="connsiteY217" fmla="*/ 1332766 h 1671185"/>
                <a:gd name="connsiteX218" fmla="*/ 1259226 w 1670533"/>
                <a:gd name="connsiteY218" fmla="*/ 1344573 h 1671185"/>
                <a:gd name="connsiteX219" fmla="*/ 1213171 w 1670533"/>
                <a:gd name="connsiteY219" fmla="*/ 1387127 h 1671185"/>
                <a:gd name="connsiteX220" fmla="*/ 1230076 w 1670533"/>
                <a:gd name="connsiteY220" fmla="*/ 1404086 h 1671185"/>
                <a:gd name="connsiteX221" fmla="*/ 1274432 w 1670533"/>
                <a:gd name="connsiteY221" fmla="*/ 1363077 h 1671185"/>
                <a:gd name="connsiteX222" fmla="*/ 1291771 w 1670533"/>
                <a:gd name="connsiteY222" fmla="*/ 1384116 h 1671185"/>
                <a:gd name="connsiteX223" fmla="*/ 1248956 w 1670533"/>
                <a:gd name="connsiteY223" fmla="*/ 1426987 h 1671185"/>
                <a:gd name="connsiteX224" fmla="*/ 1265900 w 1670533"/>
                <a:gd name="connsiteY224" fmla="*/ 1443946 h 1671185"/>
                <a:gd name="connsiteX225" fmla="*/ 1307096 w 1670533"/>
                <a:gd name="connsiteY225" fmla="*/ 1402699 h 1671185"/>
                <a:gd name="connsiteX226" fmla="*/ 1326332 w 1670533"/>
                <a:gd name="connsiteY226" fmla="*/ 1426037 h 1671185"/>
                <a:gd name="connsiteX227" fmla="*/ 1332731 w 1670533"/>
                <a:gd name="connsiteY227" fmla="*/ 1436339 h 1671185"/>
                <a:gd name="connsiteX228" fmla="*/ 1281660 w 1670533"/>
                <a:gd name="connsiteY228" fmla="*/ 1483767 h 1671185"/>
                <a:gd name="connsiteX229" fmla="*/ 1298604 w 1670533"/>
                <a:gd name="connsiteY229" fmla="*/ 1500725 h 1671185"/>
                <a:gd name="connsiteX230" fmla="*/ 1337588 w 1670533"/>
                <a:gd name="connsiteY230" fmla="*/ 1464510 h 1671185"/>
                <a:gd name="connsiteX231" fmla="*/ 1322896 w 1670533"/>
                <a:gd name="connsiteY231" fmla="*/ 1495930 h 1671185"/>
                <a:gd name="connsiteX232" fmla="*/ 1265624 w 1670533"/>
                <a:gd name="connsiteY232" fmla="*/ 1541061 h 1671185"/>
                <a:gd name="connsiteX233" fmla="*/ 1213409 w 1670533"/>
                <a:gd name="connsiteY233" fmla="*/ 1565468 h 1671185"/>
                <a:gd name="connsiteX234" fmla="*/ 1151397 w 1670533"/>
                <a:gd name="connsiteY234" fmla="*/ 1539198 h 1671185"/>
                <a:gd name="connsiteX235" fmla="*/ 1105184 w 1670533"/>
                <a:gd name="connsiteY235" fmla="*/ 1446561 h 1671185"/>
                <a:gd name="connsiteX236" fmla="*/ 1072520 w 1670533"/>
                <a:gd name="connsiteY236" fmla="*/ 1413357 h 1671185"/>
                <a:gd name="connsiteX237" fmla="*/ 958688 w 1670533"/>
                <a:gd name="connsiteY237" fmla="*/ 1388871 h 1671185"/>
                <a:gd name="connsiteX238" fmla="*/ 869463 w 1670533"/>
                <a:gd name="connsiteY238" fmla="*/ 1414903 h 1671185"/>
                <a:gd name="connsiteX239" fmla="*/ 834744 w 1670533"/>
                <a:gd name="connsiteY239" fmla="*/ 1459874 h 1671185"/>
                <a:gd name="connsiteX240" fmla="*/ 767322 w 1670533"/>
                <a:gd name="connsiteY240" fmla="*/ 1456110 h 1671185"/>
                <a:gd name="connsiteX241" fmla="*/ 767322 w 1670533"/>
                <a:gd name="connsiteY241" fmla="*/ 1480121 h 1671185"/>
                <a:gd name="connsiteX242" fmla="*/ 830203 w 1670533"/>
                <a:gd name="connsiteY242" fmla="*/ 1483608 h 1671185"/>
                <a:gd name="connsiteX243" fmla="*/ 826292 w 1670533"/>
                <a:gd name="connsiteY243" fmla="*/ 1510987 h 1671185"/>
                <a:gd name="connsiteX244" fmla="*/ 762464 w 1670533"/>
                <a:gd name="connsiteY244" fmla="*/ 1500804 h 1671185"/>
                <a:gd name="connsiteX245" fmla="*/ 756105 w 1670533"/>
                <a:gd name="connsiteY245" fmla="*/ 1523904 h 1671185"/>
                <a:gd name="connsiteX246" fmla="*/ 822934 w 1670533"/>
                <a:gd name="connsiteY246" fmla="*/ 1534602 h 1671185"/>
                <a:gd name="connsiteX247" fmla="*/ 819459 w 1670533"/>
                <a:gd name="connsiteY247" fmla="*/ 1558930 h 1671185"/>
                <a:gd name="connsiteX248" fmla="*/ 763294 w 1670533"/>
                <a:gd name="connsiteY248" fmla="*/ 1551957 h 1671185"/>
                <a:gd name="connsiteX249" fmla="*/ 763294 w 1670533"/>
                <a:gd name="connsiteY249" fmla="*/ 1575928 h 1671185"/>
                <a:gd name="connsiteX250" fmla="*/ 816101 w 1670533"/>
                <a:gd name="connsiteY250" fmla="*/ 1582505 h 1671185"/>
                <a:gd name="connsiteX251" fmla="*/ 814048 w 1670533"/>
                <a:gd name="connsiteY251" fmla="*/ 1596690 h 1671185"/>
                <a:gd name="connsiteX252" fmla="*/ 813139 w 1670533"/>
                <a:gd name="connsiteY252" fmla="*/ 1600058 h 1671185"/>
                <a:gd name="connsiteX253" fmla="*/ 751365 w 1670533"/>
                <a:gd name="connsiteY253" fmla="*/ 1600058 h 1671185"/>
                <a:gd name="connsiteX254" fmla="*/ 751365 w 1670533"/>
                <a:gd name="connsiteY254" fmla="*/ 1624030 h 1671185"/>
                <a:gd name="connsiteX255" fmla="*/ 801251 w 1670533"/>
                <a:gd name="connsiteY255" fmla="*/ 1624030 h 1671185"/>
                <a:gd name="connsiteX256" fmla="*/ 780751 w 1670533"/>
                <a:gd name="connsiteY256" fmla="*/ 1638056 h 1671185"/>
                <a:gd name="connsiteX257" fmla="*/ 717121 w 1670533"/>
                <a:gd name="connsiteY257" fmla="*/ 1647565 h 1671185"/>
                <a:gd name="connsiteX258" fmla="*/ 642589 w 1670533"/>
                <a:gd name="connsiteY258" fmla="*/ 1627318 h 1671185"/>
                <a:gd name="connsiteX259" fmla="*/ 615967 w 1670533"/>
                <a:gd name="connsiteY259" fmla="*/ 1576958 h 1671185"/>
                <a:gd name="connsiteX260" fmla="*/ 628725 w 1670533"/>
                <a:gd name="connsiteY260" fmla="*/ 1439231 h 1671185"/>
                <a:gd name="connsiteX261" fmla="*/ 598272 w 1670533"/>
                <a:gd name="connsiteY261" fmla="*/ 1371675 h 1671185"/>
                <a:gd name="connsiteX262" fmla="*/ 1360853 w 1670533"/>
                <a:gd name="connsiteY262" fmla="*/ 488175 h 1671185"/>
                <a:gd name="connsiteX263" fmla="*/ 1358246 w 1670533"/>
                <a:gd name="connsiteY263" fmla="*/ 490038 h 1671185"/>
                <a:gd name="connsiteX264" fmla="*/ 1355087 w 1670533"/>
                <a:gd name="connsiteY264" fmla="*/ 487660 h 1671185"/>
                <a:gd name="connsiteX265" fmla="*/ 1351966 w 1670533"/>
                <a:gd name="connsiteY265" fmla="*/ 484173 h 1671185"/>
                <a:gd name="connsiteX266" fmla="*/ 1360853 w 1670533"/>
                <a:gd name="connsiteY266" fmla="*/ 488175 h 1671185"/>
                <a:gd name="connsiteX267" fmla="*/ 631885 w 1670533"/>
                <a:gd name="connsiteY267" fmla="*/ 1647803 h 1671185"/>
                <a:gd name="connsiteX268" fmla="*/ 716212 w 1670533"/>
                <a:gd name="connsiteY268" fmla="*/ 1670705 h 1671185"/>
                <a:gd name="connsiteX269" fmla="*/ 851728 w 1670533"/>
                <a:gd name="connsiteY269" fmla="*/ 1575334 h 1671185"/>
                <a:gd name="connsiteX270" fmla="*/ 1061856 w 1670533"/>
                <a:gd name="connsiteY270" fmla="*/ 1433921 h 1671185"/>
                <a:gd name="connsiteX271" fmla="*/ 1084488 w 1670533"/>
                <a:gd name="connsiteY271" fmla="*/ 1456902 h 1671185"/>
                <a:gd name="connsiteX272" fmla="*/ 1130739 w 1670533"/>
                <a:gd name="connsiteY272" fmla="*/ 1549579 h 1671185"/>
                <a:gd name="connsiteX273" fmla="*/ 1221031 w 1670533"/>
                <a:gd name="connsiteY273" fmla="*/ 1587340 h 1671185"/>
                <a:gd name="connsiteX274" fmla="*/ 1277473 w 1670533"/>
                <a:gd name="connsiteY274" fmla="*/ 1560951 h 1671185"/>
                <a:gd name="connsiteX275" fmla="*/ 1349201 w 1670533"/>
                <a:gd name="connsiteY275" fmla="*/ 1395924 h 1671185"/>
                <a:gd name="connsiteX276" fmla="*/ 1367449 w 1670533"/>
                <a:gd name="connsiteY276" fmla="*/ 1160250 h 1671185"/>
                <a:gd name="connsiteX277" fmla="*/ 1510549 w 1670533"/>
                <a:gd name="connsiteY277" fmla="*/ 1221030 h 1671185"/>
                <a:gd name="connsiteX278" fmla="*/ 1580065 w 1670533"/>
                <a:gd name="connsiteY278" fmla="*/ 1218376 h 1671185"/>
                <a:gd name="connsiteX279" fmla="*/ 1639469 w 1670533"/>
                <a:gd name="connsiteY279" fmla="*/ 1163736 h 1671185"/>
                <a:gd name="connsiteX280" fmla="*/ 1634769 w 1670533"/>
                <a:gd name="connsiteY280" fmla="*/ 998234 h 1671185"/>
                <a:gd name="connsiteX281" fmla="*/ 1611505 w 1670533"/>
                <a:gd name="connsiteY281" fmla="*/ 982147 h 1671185"/>
                <a:gd name="connsiteX282" fmla="*/ 1440007 w 1670533"/>
                <a:gd name="connsiteY282" fmla="*/ 788949 h 1671185"/>
                <a:gd name="connsiteX283" fmla="*/ 1612651 w 1670533"/>
                <a:gd name="connsiteY283" fmla="*/ 685772 h 1671185"/>
                <a:gd name="connsiteX284" fmla="*/ 1658310 w 1670533"/>
                <a:gd name="connsiteY284" fmla="*/ 628399 h 1671185"/>
                <a:gd name="connsiteX285" fmla="*/ 1644328 w 1670533"/>
                <a:gd name="connsiteY285" fmla="*/ 523122 h 1671185"/>
                <a:gd name="connsiteX286" fmla="*/ 1536617 w 1670533"/>
                <a:gd name="connsiteY286" fmla="*/ 439241 h 1671185"/>
                <a:gd name="connsiteX287" fmla="*/ 1414056 w 1670533"/>
                <a:gd name="connsiteY287" fmla="*/ 476606 h 1671185"/>
                <a:gd name="connsiteX288" fmla="*/ 1352756 w 1670533"/>
                <a:gd name="connsiteY288" fmla="*/ 238871 h 1671185"/>
                <a:gd name="connsiteX289" fmla="*/ 1350741 w 1670533"/>
                <a:gd name="connsiteY289" fmla="*/ 154872 h 1671185"/>
                <a:gd name="connsiteX290" fmla="*/ 1269061 w 1670533"/>
                <a:gd name="connsiteY290" fmla="*/ 85176 h 1671185"/>
                <a:gd name="connsiteX291" fmla="*/ 1201322 w 1670533"/>
                <a:gd name="connsiteY291" fmla="*/ 63384 h 1671185"/>
                <a:gd name="connsiteX292" fmla="*/ 970774 w 1670533"/>
                <a:gd name="connsiteY292" fmla="*/ 224528 h 1671185"/>
                <a:gd name="connsiteX293" fmla="*/ 802120 w 1670533"/>
                <a:gd name="connsiteY293" fmla="*/ 5456 h 1671185"/>
                <a:gd name="connsiteX294" fmla="*/ 699623 w 1670533"/>
                <a:gd name="connsiteY294" fmla="*/ 2960 h 1671185"/>
                <a:gd name="connsiteX295" fmla="*/ 643774 w 1670533"/>
                <a:gd name="connsiteY295" fmla="*/ 16154 h 1671185"/>
                <a:gd name="connsiteX296" fmla="*/ 586502 w 1670533"/>
                <a:gd name="connsiteY296" fmla="*/ 112555 h 1671185"/>
                <a:gd name="connsiteX297" fmla="*/ 569874 w 1670533"/>
                <a:gd name="connsiteY297" fmla="*/ 303892 h 1671185"/>
                <a:gd name="connsiteX298" fmla="*/ 567188 w 1670533"/>
                <a:gd name="connsiteY298" fmla="*/ 306269 h 1671185"/>
                <a:gd name="connsiteX299" fmla="*/ 354414 w 1670533"/>
                <a:gd name="connsiteY299" fmla="*/ 239109 h 1671185"/>
                <a:gd name="connsiteX300" fmla="*/ 257605 w 1670533"/>
                <a:gd name="connsiteY300" fmla="*/ 243943 h 1671185"/>
                <a:gd name="connsiteX301" fmla="*/ 237501 w 1670533"/>
                <a:gd name="connsiteY301" fmla="*/ 260743 h 1671185"/>
                <a:gd name="connsiteX302" fmla="*/ 157360 w 1670533"/>
                <a:gd name="connsiteY302" fmla="*/ 433298 h 1671185"/>
                <a:gd name="connsiteX303" fmla="*/ 228653 w 1670533"/>
                <a:gd name="connsiteY303" fmla="*/ 499309 h 1671185"/>
                <a:gd name="connsiteX304" fmla="*/ 225888 w 1670533"/>
                <a:gd name="connsiteY304" fmla="*/ 683118 h 1671185"/>
                <a:gd name="connsiteX305" fmla="*/ 75600 w 1670533"/>
                <a:gd name="connsiteY305" fmla="*/ 692983 h 1671185"/>
                <a:gd name="connsiteX306" fmla="*/ 3121 w 1670533"/>
                <a:gd name="connsiteY306" fmla="*/ 755943 h 1671185"/>
                <a:gd name="connsiteX307" fmla="*/ -78 w 1670533"/>
                <a:gd name="connsiteY307" fmla="*/ 794060 h 1671185"/>
                <a:gd name="connsiteX308" fmla="*/ 7625 w 1670533"/>
                <a:gd name="connsiteY308" fmla="*/ 870848 h 1671185"/>
                <a:gd name="connsiteX309" fmla="*/ 168064 w 1670533"/>
                <a:gd name="connsiteY309" fmla="*/ 943119 h 1671185"/>
                <a:gd name="connsiteX310" fmla="*/ 277512 w 1670533"/>
                <a:gd name="connsiteY310" fmla="*/ 999106 h 1671185"/>
                <a:gd name="connsiteX311" fmla="*/ 180901 w 1670533"/>
                <a:gd name="connsiteY311" fmla="*/ 1224478 h 1671185"/>
                <a:gd name="connsiteX312" fmla="*/ 160085 w 1670533"/>
                <a:gd name="connsiteY312" fmla="*/ 1313549 h 1671185"/>
                <a:gd name="connsiteX313" fmla="*/ 207483 w 1670533"/>
                <a:gd name="connsiteY313" fmla="*/ 1381541 h 1671185"/>
                <a:gd name="connsiteX314" fmla="*/ 258988 w 1670533"/>
                <a:gd name="connsiteY314" fmla="*/ 1421599 h 1671185"/>
                <a:gd name="connsiteX315" fmla="*/ 371161 w 1670533"/>
                <a:gd name="connsiteY315" fmla="*/ 1394775 h 1671185"/>
                <a:gd name="connsiteX316" fmla="*/ 514103 w 1670533"/>
                <a:gd name="connsiteY316" fmla="*/ 1365732 h 1671185"/>
                <a:gd name="connsiteX317" fmla="*/ 605619 w 1670533"/>
                <a:gd name="connsiteY317" fmla="*/ 1429286 h 1671185"/>
                <a:gd name="connsiteX318" fmla="*/ 592940 w 1670533"/>
                <a:gd name="connsiteY318" fmla="*/ 1574818 h 1671185"/>
                <a:gd name="connsiteX319" fmla="*/ 631885 w 1670533"/>
                <a:gd name="connsiteY319" fmla="*/ 1647803 h 167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1670533" h="1671185">
                  <a:moveTo>
                    <a:pt x="598272" y="1371675"/>
                  </a:moveTo>
                  <a:cubicBezTo>
                    <a:pt x="577694" y="1356301"/>
                    <a:pt x="555694" y="1342592"/>
                    <a:pt x="533022" y="1330507"/>
                  </a:cubicBezTo>
                  <a:cubicBezTo>
                    <a:pt x="532113" y="1327655"/>
                    <a:pt x="530415" y="1325000"/>
                    <a:pt x="527611" y="1323375"/>
                  </a:cubicBezTo>
                  <a:cubicBezTo>
                    <a:pt x="551349" y="1337124"/>
                    <a:pt x="575008" y="1350873"/>
                    <a:pt x="598786" y="1364661"/>
                  </a:cubicBezTo>
                  <a:cubicBezTo>
                    <a:pt x="612136" y="1372388"/>
                    <a:pt x="624183" y="1351665"/>
                    <a:pt x="610872" y="1343939"/>
                  </a:cubicBezTo>
                  <a:cubicBezTo>
                    <a:pt x="570150" y="1320324"/>
                    <a:pt x="529507" y="1296749"/>
                    <a:pt x="488824" y="1273134"/>
                  </a:cubicBezTo>
                  <a:cubicBezTo>
                    <a:pt x="475474" y="1265368"/>
                    <a:pt x="463387" y="1286090"/>
                    <a:pt x="476738" y="1293856"/>
                  </a:cubicBezTo>
                  <a:cubicBezTo>
                    <a:pt x="493524" y="1303564"/>
                    <a:pt x="510311" y="1313311"/>
                    <a:pt x="527097" y="1323019"/>
                  </a:cubicBezTo>
                  <a:cubicBezTo>
                    <a:pt x="525676" y="1322345"/>
                    <a:pt x="524095" y="1321830"/>
                    <a:pt x="522279" y="1321711"/>
                  </a:cubicBezTo>
                  <a:cubicBezTo>
                    <a:pt x="519751" y="1321513"/>
                    <a:pt x="517223" y="1321592"/>
                    <a:pt x="514655" y="1321473"/>
                  </a:cubicBezTo>
                  <a:cubicBezTo>
                    <a:pt x="507664" y="1318105"/>
                    <a:pt x="500752" y="1314579"/>
                    <a:pt x="493683" y="1311568"/>
                  </a:cubicBezTo>
                  <a:cubicBezTo>
                    <a:pt x="484124" y="1307526"/>
                    <a:pt x="474052" y="1305466"/>
                    <a:pt x="463743" y="1305466"/>
                  </a:cubicBezTo>
                  <a:cubicBezTo>
                    <a:pt x="457503" y="1305466"/>
                    <a:pt x="451420" y="1306496"/>
                    <a:pt x="445495" y="1308002"/>
                  </a:cubicBezTo>
                  <a:cubicBezTo>
                    <a:pt x="437082" y="1294570"/>
                    <a:pt x="428630" y="1281098"/>
                    <a:pt x="420217" y="1267627"/>
                  </a:cubicBezTo>
                  <a:cubicBezTo>
                    <a:pt x="412041" y="1254591"/>
                    <a:pt x="391344" y="1266636"/>
                    <a:pt x="399559" y="1279751"/>
                  </a:cubicBezTo>
                  <a:lnTo>
                    <a:pt x="423258" y="1317591"/>
                  </a:lnTo>
                  <a:cubicBezTo>
                    <a:pt x="420296" y="1319453"/>
                    <a:pt x="417413" y="1321394"/>
                    <a:pt x="414766" y="1323692"/>
                  </a:cubicBezTo>
                  <a:lnTo>
                    <a:pt x="397347" y="1338749"/>
                  </a:lnTo>
                  <a:cubicBezTo>
                    <a:pt x="387038" y="1325277"/>
                    <a:pt x="376730" y="1311845"/>
                    <a:pt x="366421" y="1298374"/>
                  </a:cubicBezTo>
                  <a:cubicBezTo>
                    <a:pt x="357178" y="1286289"/>
                    <a:pt x="336363" y="1298215"/>
                    <a:pt x="345764" y="1310458"/>
                  </a:cubicBezTo>
                  <a:cubicBezTo>
                    <a:pt x="356942" y="1325118"/>
                    <a:pt x="368159" y="1339739"/>
                    <a:pt x="379337" y="1354360"/>
                  </a:cubicBezTo>
                  <a:lnTo>
                    <a:pt x="354058" y="1376271"/>
                  </a:lnTo>
                  <a:cubicBezTo>
                    <a:pt x="342999" y="1362760"/>
                    <a:pt x="331979" y="1349249"/>
                    <a:pt x="320920" y="1335737"/>
                  </a:cubicBezTo>
                  <a:cubicBezTo>
                    <a:pt x="311164" y="1323771"/>
                    <a:pt x="294298" y="1340809"/>
                    <a:pt x="303975" y="1352656"/>
                  </a:cubicBezTo>
                  <a:lnTo>
                    <a:pt x="336047" y="1391922"/>
                  </a:lnTo>
                  <a:lnTo>
                    <a:pt x="331071" y="1396201"/>
                  </a:lnTo>
                  <a:cubicBezTo>
                    <a:pt x="328305" y="1398578"/>
                    <a:pt x="325067" y="1400124"/>
                    <a:pt x="321907" y="1401788"/>
                  </a:cubicBezTo>
                  <a:cubicBezTo>
                    <a:pt x="320683" y="1401114"/>
                    <a:pt x="319221" y="1400639"/>
                    <a:pt x="317523" y="1400480"/>
                  </a:cubicBezTo>
                  <a:cubicBezTo>
                    <a:pt x="317286" y="1400243"/>
                    <a:pt x="317207" y="1399925"/>
                    <a:pt x="316930" y="1399648"/>
                  </a:cubicBezTo>
                  <a:cubicBezTo>
                    <a:pt x="300973" y="1385028"/>
                    <a:pt x="285016" y="1370367"/>
                    <a:pt x="269059" y="1355707"/>
                  </a:cubicBezTo>
                  <a:cubicBezTo>
                    <a:pt x="257723" y="1345286"/>
                    <a:pt x="240739" y="1362205"/>
                    <a:pt x="252154" y="1372666"/>
                  </a:cubicBezTo>
                  <a:cubicBezTo>
                    <a:pt x="264833" y="1384314"/>
                    <a:pt x="277512" y="1395963"/>
                    <a:pt x="290190" y="1407612"/>
                  </a:cubicBezTo>
                  <a:cubicBezTo>
                    <a:pt x="283357" y="1406741"/>
                    <a:pt x="276603" y="1405037"/>
                    <a:pt x="270521" y="1401471"/>
                  </a:cubicBezTo>
                  <a:cubicBezTo>
                    <a:pt x="253418" y="1391486"/>
                    <a:pt x="237737" y="1379322"/>
                    <a:pt x="223953" y="1365296"/>
                  </a:cubicBezTo>
                  <a:cubicBezTo>
                    <a:pt x="206298" y="1347387"/>
                    <a:pt x="191841" y="1326624"/>
                    <a:pt x="181019" y="1303643"/>
                  </a:cubicBezTo>
                  <a:cubicBezTo>
                    <a:pt x="171145" y="1282683"/>
                    <a:pt x="177109" y="1257523"/>
                    <a:pt x="195554" y="1242427"/>
                  </a:cubicBezTo>
                  <a:lnTo>
                    <a:pt x="300894" y="1156050"/>
                  </a:lnTo>
                  <a:cubicBezTo>
                    <a:pt x="323408" y="1137625"/>
                    <a:pt x="333282" y="1107473"/>
                    <a:pt x="326094" y="1079341"/>
                  </a:cubicBezTo>
                  <a:cubicBezTo>
                    <a:pt x="320051" y="1055845"/>
                    <a:pt x="312507" y="1032547"/>
                    <a:pt x="303501" y="1010041"/>
                  </a:cubicBezTo>
                  <a:cubicBezTo>
                    <a:pt x="302830" y="1008298"/>
                    <a:pt x="301921" y="1006594"/>
                    <a:pt x="301211" y="1004811"/>
                  </a:cubicBezTo>
                  <a:cubicBezTo>
                    <a:pt x="302238" y="1001959"/>
                    <a:pt x="302158" y="998630"/>
                    <a:pt x="300065" y="995223"/>
                  </a:cubicBezTo>
                  <a:cubicBezTo>
                    <a:pt x="297734" y="991340"/>
                    <a:pt x="294970" y="988170"/>
                    <a:pt x="292363" y="984644"/>
                  </a:cubicBezTo>
                  <a:cubicBezTo>
                    <a:pt x="286004" y="970736"/>
                    <a:pt x="279289" y="956987"/>
                    <a:pt x="271863" y="943714"/>
                  </a:cubicBezTo>
                  <a:cubicBezTo>
                    <a:pt x="264162" y="930044"/>
                    <a:pt x="252115" y="919980"/>
                    <a:pt x="238133" y="913600"/>
                  </a:cubicBezTo>
                  <a:cubicBezTo>
                    <a:pt x="240739" y="911699"/>
                    <a:pt x="242557" y="908727"/>
                    <a:pt x="242438" y="904408"/>
                  </a:cubicBezTo>
                  <a:cubicBezTo>
                    <a:pt x="241924" y="888440"/>
                    <a:pt x="241411" y="872473"/>
                    <a:pt x="240858" y="856465"/>
                  </a:cubicBezTo>
                  <a:cubicBezTo>
                    <a:pt x="240384" y="841092"/>
                    <a:pt x="216448" y="841013"/>
                    <a:pt x="216962" y="856465"/>
                  </a:cubicBezTo>
                  <a:cubicBezTo>
                    <a:pt x="217475" y="872473"/>
                    <a:pt x="217989" y="888440"/>
                    <a:pt x="218502" y="904408"/>
                  </a:cubicBezTo>
                  <a:cubicBezTo>
                    <a:pt x="218542" y="905755"/>
                    <a:pt x="218976" y="906785"/>
                    <a:pt x="219331" y="907895"/>
                  </a:cubicBezTo>
                  <a:cubicBezTo>
                    <a:pt x="215263" y="907221"/>
                    <a:pt x="211195" y="906270"/>
                    <a:pt x="207008" y="906270"/>
                  </a:cubicBezTo>
                  <a:lnTo>
                    <a:pt x="182401" y="906270"/>
                  </a:lnTo>
                  <a:cubicBezTo>
                    <a:pt x="184021" y="903854"/>
                    <a:pt x="184929" y="900842"/>
                    <a:pt x="184376" y="897276"/>
                  </a:cubicBezTo>
                  <a:cubicBezTo>
                    <a:pt x="181691" y="881269"/>
                    <a:pt x="179044" y="865301"/>
                    <a:pt x="176398" y="849294"/>
                  </a:cubicBezTo>
                  <a:cubicBezTo>
                    <a:pt x="173830" y="834118"/>
                    <a:pt x="150764" y="840577"/>
                    <a:pt x="153291" y="855673"/>
                  </a:cubicBezTo>
                  <a:cubicBezTo>
                    <a:pt x="155938" y="871680"/>
                    <a:pt x="158584" y="887688"/>
                    <a:pt x="161270" y="903655"/>
                  </a:cubicBezTo>
                  <a:cubicBezTo>
                    <a:pt x="161467" y="904725"/>
                    <a:pt x="161902" y="905399"/>
                    <a:pt x="162258" y="906270"/>
                  </a:cubicBezTo>
                  <a:lnTo>
                    <a:pt x="121062" y="906270"/>
                  </a:lnTo>
                  <a:lnTo>
                    <a:pt x="117388" y="856465"/>
                  </a:lnTo>
                  <a:cubicBezTo>
                    <a:pt x="116282" y="841171"/>
                    <a:pt x="92347" y="841013"/>
                    <a:pt x="93492" y="856465"/>
                  </a:cubicBezTo>
                  <a:lnTo>
                    <a:pt x="97166" y="906270"/>
                  </a:lnTo>
                  <a:lnTo>
                    <a:pt x="80814" y="906270"/>
                  </a:lnTo>
                  <a:cubicBezTo>
                    <a:pt x="79391" y="906270"/>
                    <a:pt x="78049" y="906033"/>
                    <a:pt x="76666" y="905914"/>
                  </a:cubicBezTo>
                  <a:cubicBezTo>
                    <a:pt x="76627" y="905676"/>
                    <a:pt x="76706" y="905478"/>
                    <a:pt x="76666" y="905240"/>
                  </a:cubicBezTo>
                  <a:cubicBezTo>
                    <a:pt x="74020" y="889272"/>
                    <a:pt x="71334" y="873265"/>
                    <a:pt x="68688" y="857297"/>
                  </a:cubicBezTo>
                  <a:cubicBezTo>
                    <a:pt x="66160" y="842122"/>
                    <a:pt x="43093" y="848540"/>
                    <a:pt x="45621" y="863676"/>
                  </a:cubicBezTo>
                  <a:lnTo>
                    <a:pt x="51151" y="896801"/>
                  </a:lnTo>
                  <a:cubicBezTo>
                    <a:pt x="40842" y="889590"/>
                    <a:pt x="33179" y="878812"/>
                    <a:pt x="30178" y="865697"/>
                  </a:cubicBezTo>
                  <a:cubicBezTo>
                    <a:pt x="24924" y="842320"/>
                    <a:pt x="22475" y="818388"/>
                    <a:pt x="23029" y="794575"/>
                  </a:cubicBezTo>
                  <a:cubicBezTo>
                    <a:pt x="23305" y="782807"/>
                    <a:pt x="24293" y="770960"/>
                    <a:pt x="25991" y="759272"/>
                  </a:cubicBezTo>
                  <a:cubicBezTo>
                    <a:pt x="29585" y="734785"/>
                    <a:pt x="50637" y="716638"/>
                    <a:pt x="76113" y="716163"/>
                  </a:cubicBezTo>
                  <a:lnTo>
                    <a:pt x="201242" y="713745"/>
                  </a:lnTo>
                  <a:cubicBezTo>
                    <a:pt x="222729" y="713310"/>
                    <a:pt x="242833" y="703919"/>
                    <a:pt x="256301" y="688030"/>
                  </a:cubicBezTo>
                  <a:cubicBezTo>
                    <a:pt x="270402" y="671349"/>
                    <a:pt x="282330" y="652925"/>
                    <a:pt x="291691" y="633272"/>
                  </a:cubicBezTo>
                  <a:cubicBezTo>
                    <a:pt x="301289" y="613025"/>
                    <a:pt x="308162" y="591510"/>
                    <a:pt x="312072" y="569362"/>
                  </a:cubicBezTo>
                  <a:cubicBezTo>
                    <a:pt x="314916" y="553315"/>
                    <a:pt x="311519" y="536871"/>
                    <a:pt x="303777" y="522449"/>
                  </a:cubicBezTo>
                  <a:cubicBezTo>
                    <a:pt x="304015" y="520467"/>
                    <a:pt x="303975" y="518526"/>
                    <a:pt x="303383" y="516624"/>
                  </a:cubicBezTo>
                  <a:cubicBezTo>
                    <a:pt x="306345" y="516109"/>
                    <a:pt x="309031" y="514326"/>
                    <a:pt x="310808" y="510760"/>
                  </a:cubicBezTo>
                  <a:cubicBezTo>
                    <a:pt x="313494" y="505451"/>
                    <a:pt x="316140" y="500102"/>
                    <a:pt x="318787" y="494752"/>
                  </a:cubicBezTo>
                  <a:cubicBezTo>
                    <a:pt x="325659" y="481003"/>
                    <a:pt x="305002" y="468840"/>
                    <a:pt x="298169" y="482668"/>
                  </a:cubicBezTo>
                  <a:cubicBezTo>
                    <a:pt x="295443" y="487977"/>
                    <a:pt x="292837" y="493326"/>
                    <a:pt x="290151" y="498636"/>
                  </a:cubicBezTo>
                  <a:cubicBezTo>
                    <a:pt x="289479" y="500023"/>
                    <a:pt x="289242" y="501370"/>
                    <a:pt x="289045" y="502717"/>
                  </a:cubicBezTo>
                  <a:cubicBezTo>
                    <a:pt x="288690" y="502400"/>
                    <a:pt x="288492" y="502004"/>
                    <a:pt x="288176" y="501686"/>
                  </a:cubicBezTo>
                  <a:cubicBezTo>
                    <a:pt x="287188" y="500815"/>
                    <a:pt x="283476" y="497922"/>
                    <a:pt x="275181" y="491662"/>
                  </a:cubicBezTo>
                  <a:lnTo>
                    <a:pt x="275221" y="491622"/>
                  </a:lnTo>
                  <a:cubicBezTo>
                    <a:pt x="279171" y="478309"/>
                    <a:pt x="283160" y="464956"/>
                    <a:pt x="287109" y="451643"/>
                  </a:cubicBezTo>
                  <a:cubicBezTo>
                    <a:pt x="291573" y="436825"/>
                    <a:pt x="268467" y="430485"/>
                    <a:pt x="264043" y="445264"/>
                  </a:cubicBezTo>
                  <a:cubicBezTo>
                    <a:pt x="260962" y="455606"/>
                    <a:pt x="257882" y="465947"/>
                    <a:pt x="254761" y="476328"/>
                  </a:cubicBezTo>
                  <a:cubicBezTo>
                    <a:pt x="247731" y="471019"/>
                    <a:pt x="239476" y="464877"/>
                    <a:pt x="229522" y="457389"/>
                  </a:cubicBezTo>
                  <a:cubicBezTo>
                    <a:pt x="228811" y="456834"/>
                    <a:pt x="227982" y="456239"/>
                    <a:pt x="227271" y="455685"/>
                  </a:cubicBezTo>
                  <a:cubicBezTo>
                    <a:pt x="231300" y="439677"/>
                    <a:pt x="235368" y="423749"/>
                    <a:pt x="239397" y="407742"/>
                  </a:cubicBezTo>
                  <a:cubicBezTo>
                    <a:pt x="243228" y="392765"/>
                    <a:pt x="220161" y="386425"/>
                    <a:pt x="216330" y="401363"/>
                  </a:cubicBezTo>
                  <a:cubicBezTo>
                    <a:pt x="213051" y="414280"/>
                    <a:pt x="209773" y="427197"/>
                    <a:pt x="206495" y="440113"/>
                  </a:cubicBezTo>
                  <a:cubicBezTo>
                    <a:pt x="200136" y="435359"/>
                    <a:pt x="194211" y="430881"/>
                    <a:pt x="189037" y="426998"/>
                  </a:cubicBezTo>
                  <a:cubicBezTo>
                    <a:pt x="189708" y="425968"/>
                    <a:pt x="190380" y="424898"/>
                    <a:pt x="190735" y="423512"/>
                  </a:cubicBezTo>
                  <a:cubicBezTo>
                    <a:pt x="194962" y="407583"/>
                    <a:pt x="199228" y="391655"/>
                    <a:pt x="203454" y="375767"/>
                  </a:cubicBezTo>
                  <a:cubicBezTo>
                    <a:pt x="206811" y="363127"/>
                    <a:pt x="190973" y="356827"/>
                    <a:pt x="183547" y="364038"/>
                  </a:cubicBezTo>
                  <a:cubicBezTo>
                    <a:pt x="193856" y="327388"/>
                    <a:pt x="216725" y="307933"/>
                    <a:pt x="252193" y="278652"/>
                  </a:cubicBezTo>
                  <a:cubicBezTo>
                    <a:pt x="258632" y="273343"/>
                    <a:pt x="265425" y="267716"/>
                    <a:pt x="273088" y="261179"/>
                  </a:cubicBezTo>
                  <a:cubicBezTo>
                    <a:pt x="291059" y="243943"/>
                    <a:pt x="320604" y="242319"/>
                    <a:pt x="340392" y="257494"/>
                  </a:cubicBezTo>
                  <a:lnTo>
                    <a:pt x="446996" y="339512"/>
                  </a:lnTo>
                  <a:cubicBezTo>
                    <a:pt x="460070" y="349537"/>
                    <a:pt x="476185" y="355084"/>
                    <a:pt x="492497" y="355084"/>
                  </a:cubicBezTo>
                  <a:cubicBezTo>
                    <a:pt x="492853" y="355559"/>
                    <a:pt x="495302" y="355044"/>
                    <a:pt x="496724" y="354965"/>
                  </a:cubicBezTo>
                  <a:cubicBezTo>
                    <a:pt x="518210" y="353697"/>
                    <a:pt x="550125" y="347516"/>
                    <a:pt x="580419" y="325248"/>
                  </a:cubicBezTo>
                  <a:cubicBezTo>
                    <a:pt x="583698" y="324971"/>
                    <a:pt x="586857" y="323386"/>
                    <a:pt x="588951" y="319503"/>
                  </a:cubicBezTo>
                  <a:cubicBezTo>
                    <a:pt x="589464" y="318552"/>
                    <a:pt x="589820" y="317561"/>
                    <a:pt x="590334" y="316611"/>
                  </a:cubicBezTo>
                  <a:cubicBezTo>
                    <a:pt x="613044" y="296601"/>
                    <a:pt x="626197" y="273660"/>
                    <a:pt x="632872" y="256900"/>
                  </a:cubicBezTo>
                  <a:cubicBezTo>
                    <a:pt x="633662" y="254958"/>
                    <a:pt x="634175" y="252937"/>
                    <a:pt x="634768" y="250917"/>
                  </a:cubicBezTo>
                  <a:cubicBezTo>
                    <a:pt x="652819" y="252264"/>
                    <a:pt x="670434" y="246360"/>
                    <a:pt x="683547" y="232968"/>
                  </a:cubicBezTo>
                  <a:cubicBezTo>
                    <a:pt x="694409" y="221953"/>
                    <a:pt x="677465" y="204994"/>
                    <a:pt x="666603" y="216009"/>
                  </a:cubicBezTo>
                  <a:cubicBezTo>
                    <a:pt x="658743" y="224092"/>
                    <a:pt x="648671" y="227936"/>
                    <a:pt x="637888" y="227381"/>
                  </a:cubicBezTo>
                  <a:cubicBezTo>
                    <a:pt x="637770" y="224092"/>
                    <a:pt x="637454" y="220764"/>
                    <a:pt x="636901" y="217436"/>
                  </a:cubicBezTo>
                  <a:lnTo>
                    <a:pt x="634413" y="202458"/>
                  </a:lnTo>
                  <a:cubicBezTo>
                    <a:pt x="648118" y="202300"/>
                    <a:pt x="661824" y="202102"/>
                    <a:pt x="675569" y="201864"/>
                  </a:cubicBezTo>
                  <a:cubicBezTo>
                    <a:pt x="690934" y="201705"/>
                    <a:pt x="691012" y="177694"/>
                    <a:pt x="675569" y="177893"/>
                  </a:cubicBezTo>
                  <a:cubicBezTo>
                    <a:pt x="660481" y="178130"/>
                    <a:pt x="645472" y="178328"/>
                    <a:pt x="630463" y="178566"/>
                  </a:cubicBezTo>
                  <a:lnTo>
                    <a:pt x="625802" y="150553"/>
                  </a:lnTo>
                  <a:cubicBezTo>
                    <a:pt x="642391" y="149364"/>
                    <a:pt x="659019" y="148176"/>
                    <a:pt x="675687" y="147026"/>
                  </a:cubicBezTo>
                  <a:cubicBezTo>
                    <a:pt x="690934" y="145957"/>
                    <a:pt x="691092" y="121986"/>
                    <a:pt x="675687" y="123055"/>
                  </a:cubicBezTo>
                  <a:cubicBezTo>
                    <a:pt x="657716" y="124284"/>
                    <a:pt x="639784" y="125551"/>
                    <a:pt x="621813" y="126819"/>
                  </a:cubicBezTo>
                  <a:lnTo>
                    <a:pt x="617389" y="100153"/>
                  </a:lnTo>
                  <a:cubicBezTo>
                    <a:pt x="633899" y="97816"/>
                    <a:pt x="650409" y="95557"/>
                    <a:pt x="666880" y="93259"/>
                  </a:cubicBezTo>
                  <a:cubicBezTo>
                    <a:pt x="682047" y="91199"/>
                    <a:pt x="675569" y="68059"/>
                    <a:pt x="660481" y="70160"/>
                  </a:cubicBezTo>
                  <a:cubicBezTo>
                    <a:pt x="646064" y="72140"/>
                    <a:pt x="631648" y="74121"/>
                    <a:pt x="617231" y="76143"/>
                  </a:cubicBezTo>
                  <a:cubicBezTo>
                    <a:pt x="620944" y="58748"/>
                    <a:pt x="633386" y="44088"/>
                    <a:pt x="651120" y="38145"/>
                  </a:cubicBezTo>
                  <a:cubicBezTo>
                    <a:pt x="667946" y="32479"/>
                    <a:pt x="685325" y="28358"/>
                    <a:pt x="702862" y="25901"/>
                  </a:cubicBezTo>
                  <a:cubicBezTo>
                    <a:pt x="734184" y="21464"/>
                    <a:pt x="766532" y="22295"/>
                    <a:pt x="798012" y="28278"/>
                  </a:cubicBezTo>
                  <a:cubicBezTo>
                    <a:pt x="821118" y="32637"/>
                    <a:pt x="838181" y="51101"/>
                    <a:pt x="840591" y="74121"/>
                  </a:cubicBezTo>
                  <a:lnTo>
                    <a:pt x="849516" y="161132"/>
                  </a:lnTo>
                  <a:cubicBezTo>
                    <a:pt x="851294" y="178724"/>
                    <a:pt x="858917" y="194811"/>
                    <a:pt x="870924" y="206421"/>
                  </a:cubicBezTo>
                  <a:cubicBezTo>
                    <a:pt x="886604" y="221596"/>
                    <a:pt x="904537" y="233324"/>
                    <a:pt x="924206" y="241368"/>
                  </a:cubicBezTo>
                  <a:cubicBezTo>
                    <a:pt x="961927" y="256781"/>
                    <a:pt x="1005019" y="257454"/>
                    <a:pt x="1046807" y="243784"/>
                  </a:cubicBezTo>
                  <a:cubicBezTo>
                    <a:pt x="1058815" y="239822"/>
                    <a:pt x="1069439" y="232769"/>
                    <a:pt x="1078010" y="223617"/>
                  </a:cubicBezTo>
                  <a:cubicBezTo>
                    <a:pt x="1088003" y="229085"/>
                    <a:pt x="1097997" y="234592"/>
                    <a:pt x="1107989" y="240060"/>
                  </a:cubicBezTo>
                  <a:cubicBezTo>
                    <a:pt x="1121458" y="247469"/>
                    <a:pt x="1133584" y="226747"/>
                    <a:pt x="1120036" y="219338"/>
                  </a:cubicBezTo>
                  <a:cubicBezTo>
                    <a:pt x="1110675" y="214187"/>
                    <a:pt x="1101314" y="209075"/>
                    <a:pt x="1091913" y="203924"/>
                  </a:cubicBezTo>
                  <a:lnTo>
                    <a:pt x="1099971" y="190215"/>
                  </a:lnTo>
                  <a:lnTo>
                    <a:pt x="1147724" y="212483"/>
                  </a:lnTo>
                  <a:cubicBezTo>
                    <a:pt x="1161627" y="218941"/>
                    <a:pt x="1173792" y="198298"/>
                    <a:pt x="1159811" y="191761"/>
                  </a:cubicBezTo>
                  <a:cubicBezTo>
                    <a:pt x="1143932" y="184351"/>
                    <a:pt x="1128014" y="176942"/>
                    <a:pt x="1112137" y="169572"/>
                  </a:cubicBezTo>
                  <a:lnTo>
                    <a:pt x="1128449" y="141836"/>
                  </a:lnTo>
                  <a:cubicBezTo>
                    <a:pt x="1148316" y="153089"/>
                    <a:pt x="1168183" y="164302"/>
                    <a:pt x="1188051" y="175515"/>
                  </a:cubicBezTo>
                  <a:cubicBezTo>
                    <a:pt x="1201520" y="183123"/>
                    <a:pt x="1213567" y="162400"/>
                    <a:pt x="1200137" y="154832"/>
                  </a:cubicBezTo>
                  <a:cubicBezTo>
                    <a:pt x="1180309" y="143619"/>
                    <a:pt x="1160482" y="132406"/>
                    <a:pt x="1140614" y="121193"/>
                  </a:cubicBezTo>
                  <a:lnTo>
                    <a:pt x="1146380" y="111367"/>
                  </a:lnTo>
                  <a:cubicBezTo>
                    <a:pt x="1149541" y="106057"/>
                    <a:pt x="1153727" y="101699"/>
                    <a:pt x="1158309" y="97855"/>
                  </a:cubicBezTo>
                  <a:cubicBezTo>
                    <a:pt x="1158151" y="101540"/>
                    <a:pt x="1159731" y="105146"/>
                    <a:pt x="1164313" y="107166"/>
                  </a:cubicBezTo>
                  <a:cubicBezTo>
                    <a:pt x="1188287" y="117785"/>
                    <a:pt x="1212224" y="128444"/>
                    <a:pt x="1236199" y="139063"/>
                  </a:cubicBezTo>
                  <a:cubicBezTo>
                    <a:pt x="1250141" y="145283"/>
                    <a:pt x="1262346" y="124640"/>
                    <a:pt x="1248245" y="118380"/>
                  </a:cubicBezTo>
                  <a:cubicBezTo>
                    <a:pt x="1225100" y="108117"/>
                    <a:pt x="1201994" y="97816"/>
                    <a:pt x="1178848" y="87554"/>
                  </a:cubicBezTo>
                  <a:cubicBezTo>
                    <a:pt x="1185010" y="86048"/>
                    <a:pt x="1191329" y="85295"/>
                    <a:pt x="1197768" y="86286"/>
                  </a:cubicBezTo>
                  <a:cubicBezTo>
                    <a:pt x="1219096" y="89614"/>
                    <a:pt x="1239635" y="96191"/>
                    <a:pt x="1258633" y="105859"/>
                  </a:cubicBezTo>
                  <a:cubicBezTo>
                    <a:pt x="1287585" y="120519"/>
                    <a:pt x="1312271" y="141598"/>
                    <a:pt x="1332099" y="168621"/>
                  </a:cubicBezTo>
                  <a:cubicBezTo>
                    <a:pt x="1344304" y="185223"/>
                    <a:pt x="1344777" y="208402"/>
                    <a:pt x="1333284" y="226351"/>
                  </a:cubicBezTo>
                  <a:lnTo>
                    <a:pt x="1273169" y="320335"/>
                  </a:lnTo>
                  <a:cubicBezTo>
                    <a:pt x="1260845" y="339591"/>
                    <a:pt x="1257962" y="363206"/>
                    <a:pt x="1265308" y="385078"/>
                  </a:cubicBezTo>
                  <a:cubicBezTo>
                    <a:pt x="1273840" y="410555"/>
                    <a:pt x="1285689" y="434764"/>
                    <a:pt x="1300461" y="457111"/>
                  </a:cubicBezTo>
                  <a:cubicBezTo>
                    <a:pt x="1311639" y="473951"/>
                    <a:pt x="1324475" y="489720"/>
                    <a:pt x="1338695" y="503984"/>
                  </a:cubicBezTo>
                  <a:cubicBezTo>
                    <a:pt x="1356074" y="521418"/>
                    <a:pt x="1381313" y="528828"/>
                    <a:pt x="1405209" y="524548"/>
                  </a:cubicBezTo>
                  <a:cubicBezTo>
                    <a:pt x="1413148" y="545786"/>
                    <a:pt x="1421087" y="566984"/>
                    <a:pt x="1429026" y="588222"/>
                  </a:cubicBezTo>
                  <a:cubicBezTo>
                    <a:pt x="1434398" y="602565"/>
                    <a:pt x="1457583" y="596345"/>
                    <a:pt x="1452133" y="581843"/>
                  </a:cubicBezTo>
                  <a:cubicBezTo>
                    <a:pt x="1444153" y="560526"/>
                    <a:pt x="1436175" y="539209"/>
                    <a:pt x="1428196" y="517892"/>
                  </a:cubicBezTo>
                  <a:cubicBezTo>
                    <a:pt x="1428118" y="517654"/>
                    <a:pt x="1427920" y="517536"/>
                    <a:pt x="1427841" y="517297"/>
                  </a:cubicBezTo>
                  <a:lnTo>
                    <a:pt x="1466825" y="501845"/>
                  </a:lnTo>
                  <a:cubicBezTo>
                    <a:pt x="1465917" y="504579"/>
                    <a:pt x="1465798" y="507590"/>
                    <a:pt x="1467141" y="510760"/>
                  </a:cubicBezTo>
                  <a:cubicBezTo>
                    <a:pt x="1475120" y="529422"/>
                    <a:pt x="1483137" y="548084"/>
                    <a:pt x="1491117" y="566746"/>
                  </a:cubicBezTo>
                  <a:cubicBezTo>
                    <a:pt x="1497159" y="580892"/>
                    <a:pt x="1517817" y="568688"/>
                    <a:pt x="1511773" y="554622"/>
                  </a:cubicBezTo>
                  <a:cubicBezTo>
                    <a:pt x="1503795" y="535999"/>
                    <a:pt x="1495816" y="517337"/>
                    <a:pt x="1487838" y="498675"/>
                  </a:cubicBezTo>
                  <a:cubicBezTo>
                    <a:pt x="1487087" y="496932"/>
                    <a:pt x="1486140" y="495624"/>
                    <a:pt x="1484995" y="494634"/>
                  </a:cubicBezTo>
                  <a:lnTo>
                    <a:pt x="1519357" y="481043"/>
                  </a:lnTo>
                  <a:lnTo>
                    <a:pt x="1533813" y="531879"/>
                  </a:lnTo>
                  <a:cubicBezTo>
                    <a:pt x="1538039" y="546697"/>
                    <a:pt x="1561145" y="540398"/>
                    <a:pt x="1556919" y="525499"/>
                  </a:cubicBezTo>
                  <a:cubicBezTo>
                    <a:pt x="1551942" y="508066"/>
                    <a:pt x="1546966" y="490632"/>
                    <a:pt x="1541989" y="473158"/>
                  </a:cubicBezTo>
                  <a:cubicBezTo>
                    <a:pt x="1549692" y="471296"/>
                    <a:pt x="1557591" y="470702"/>
                    <a:pt x="1565253" y="472326"/>
                  </a:cubicBezTo>
                  <a:cubicBezTo>
                    <a:pt x="1565293" y="473476"/>
                    <a:pt x="1565293" y="474624"/>
                    <a:pt x="1565727" y="475892"/>
                  </a:cubicBezTo>
                  <a:cubicBezTo>
                    <a:pt x="1573745" y="498556"/>
                    <a:pt x="1581723" y="521220"/>
                    <a:pt x="1589703" y="543884"/>
                  </a:cubicBezTo>
                  <a:cubicBezTo>
                    <a:pt x="1594798" y="558347"/>
                    <a:pt x="1617944" y="552086"/>
                    <a:pt x="1612769" y="537505"/>
                  </a:cubicBezTo>
                  <a:cubicBezTo>
                    <a:pt x="1607634" y="522924"/>
                    <a:pt x="1602499" y="508304"/>
                    <a:pt x="1597326" y="493722"/>
                  </a:cubicBezTo>
                  <a:cubicBezTo>
                    <a:pt x="1607792" y="505609"/>
                    <a:pt x="1616759" y="518486"/>
                    <a:pt x="1623236" y="532711"/>
                  </a:cubicBezTo>
                  <a:cubicBezTo>
                    <a:pt x="1639429" y="568292"/>
                    <a:pt x="1638798" y="602486"/>
                    <a:pt x="1635441" y="624952"/>
                  </a:cubicBezTo>
                  <a:cubicBezTo>
                    <a:pt x="1632834" y="642346"/>
                    <a:pt x="1620747" y="657442"/>
                    <a:pt x="1603922" y="664336"/>
                  </a:cubicBezTo>
                  <a:lnTo>
                    <a:pt x="1466351" y="720560"/>
                  </a:lnTo>
                  <a:cubicBezTo>
                    <a:pt x="1447550" y="728247"/>
                    <a:pt x="1433015" y="742710"/>
                    <a:pt x="1425431" y="761292"/>
                  </a:cubicBezTo>
                  <a:cubicBezTo>
                    <a:pt x="1416032" y="784115"/>
                    <a:pt x="1410937" y="808086"/>
                    <a:pt x="1410264" y="832573"/>
                  </a:cubicBezTo>
                  <a:cubicBezTo>
                    <a:pt x="1409554" y="858803"/>
                    <a:pt x="1413898" y="884597"/>
                    <a:pt x="1423101" y="909282"/>
                  </a:cubicBezTo>
                  <a:cubicBezTo>
                    <a:pt x="1427565" y="921248"/>
                    <a:pt x="1435267" y="931510"/>
                    <a:pt x="1444984" y="939672"/>
                  </a:cubicBezTo>
                  <a:cubicBezTo>
                    <a:pt x="1437517" y="965545"/>
                    <a:pt x="1430092" y="991459"/>
                    <a:pt x="1422588" y="1017371"/>
                  </a:cubicBezTo>
                  <a:cubicBezTo>
                    <a:pt x="1418362" y="1032230"/>
                    <a:pt x="1441428" y="1038570"/>
                    <a:pt x="1445693" y="1023711"/>
                  </a:cubicBezTo>
                  <a:cubicBezTo>
                    <a:pt x="1452487" y="1000057"/>
                    <a:pt x="1459320" y="976402"/>
                    <a:pt x="1466114" y="952747"/>
                  </a:cubicBezTo>
                  <a:lnTo>
                    <a:pt x="1487047" y="963049"/>
                  </a:lnTo>
                  <a:cubicBezTo>
                    <a:pt x="1486100" y="964555"/>
                    <a:pt x="1485389" y="966298"/>
                    <a:pt x="1485153" y="968398"/>
                  </a:cubicBezTo>
                  <a:lnTo>
                    <a:pt x="1477332" y="1040352"/>
                  </a:lnTo>
                  <a:cubicBezTo>
                    <a:pt x="1475634" y="1055687"/>
                    <a:pt x="1499609" y="1055568"/>
                    <a:pt x="1501267" y="1040352"/>
                  </a:cubicBezTo>
                  <a:lnTo>
                    <a:pt x="1508534" y="973629"/>
                  </a:lnTo>
                  <a:lnTo>
                    <a:pt x="1535354" y="986783"/>
                  </a:lnTo>
                  <a:cubicBezTo>
                    <a:pt x="1534801" y="987575"/>
                    <a:pt x="1534208" y="988249"/>
                    <a:pt x="1533813" y="989240"/>
                  </a:cubicBezTo>
                  <a:cubicBezTo>
                    <a:pt x="1525835" y="1010556"/>
                    <a:pt x="1517857" y="1031873"/>
                    <a:pt x="1509877" y="1053190"/>
                  </a:cubicBezTo>
                  <a:cubicBezTo>
                    <a:pt x="1504466" y="1067652"/>
                    <a:pt x="1527612" y="1073913"/>
                    <a:pt x="1532944" y="1059530"/>
                  </a:cubicBezTo>
                  <a:cubicBezTo>
                    <a:pt x="1540765" y="1038768"/>
                    <a:pt x="1548545" y="1017926"/>
                    <a:pt x="1556327" y="997124"/>
                  </a:cubicBezTo>
                  <a:lnTo>
                    <a:pt x="1591046" y="1014162"/>
                  </a:lnTo>
                  <a:cubicBezTo>
                    <a:pt x="1588596" y="1015509"/>
                    <a:pt x="1586622" y="1017728"/>
                    <a:pt x="1585673" y="1021215"/>
                  </a:cubicBezTo>
                  <a:cubicBezTo>
                    <a:pt x="1580381" y="1041184"/>
                    <a:pt x="1575049" y="1061155"/>
                    <a:pt x="1569717" y="1081163"/>
                  </a:cubicBezTo>
                  <a:cubicBezTo>
                    <a:pt x="1565727" y="1096101"/>
                    <a:pt x="1588834" y="1102441"/>
                    <a:pt x="1592822" y="1087543"/>
                  </a:cubicBezTo>
                  <a:cubicBezTo>
                    <a:pt x="1598155" y="1067573"/>
                    <a:pt x="1603448" y="1047564"/>
                    <a:pt x="1608779" y="1027594"/>
                  </a:cubicBezTo>
                  <a:cubicBezTo>
                    <a:pt x="1609214" y="1025930"/>
                    <a:pt x="1609214" y="1024464"/>
                    <a:pt x="1609056" y="1023038"/>
                  </a:cubicBezTo>
                  <a:lnTo>
                    <a:pt x="1617786" y="1027317"/>
                  </a:lnTo>
                  <a:cubicBezTo>
                    <a:pt x="1637099" y="1036826"/>
                    <a:pt x="1648672" y="1057073"/>
                    <a:pt x="1646618" y="1077717"/>
                  </a:cubicBezTo>
                  <a:cubicBezTo>
                    <a:pt x="1643933" y="1104580"/>
                    <a:pt x="1635085" y="1129107"/>
                    <a:pt x="1620352" y="1150661"/>
                  </a:cubicBezTo>
                  <a:cubicBezTo>
                    <a:pt x="1607002" y="1170235"/>
                    <a:pt x="1589623" y="1186242"/>
                    <a:pt x="1568610" y="1198208"/>
                  </a:cubicBezTo>
                  <a:cubicBezTo>
                    <a:pt x="1553918" y="1206608"/>
                    <a:pt x="1535670" y="1207321"/>
                    <a:pt x="1520463" y="1200110"/>
                  </a:cubicBezTo>
                  <a:lnTo>
                    <a:pt x="1409554" y="1147333"/>
                  </a:lnTo>
                  <a:cubicBezTo>
                    <a:pt x="1394229" y="1140043"/>
                    <a:pt x="1377008" y="1138101"/>
                    <a:pt x="1360616" y="1141944"/>
                  </a:cubicBezTo>
                  <a:cubicBezTo>
                    <a:pt x="1332731" y="1148442"/>
                    <a:pt x="1307965" y="1161042"/>
                    <a:pt x="1287071" y="1179387"/>
                  </a:cubicBezTo>
                  <a:cubicBezTo>
                    <a:pt x="1254485" y="1208034"/>
                    <a:pt x="1240425" y="1243140"/>
                    <a:pt x="1234382" y="1267587"/>
                  </a:cubicBezTo>
                  <a:cubicBezTo>
                    <a:pt x="1230788" y="1282088"/>
                    <a:pt x="1232288" y="1297184"/>
                    <a:pt x="1237502" y="1311092"/>
                  </a:cubicBezTo>
                  <a:cubicBezTo>
                    <a:pt x="1217595" y="1327298"/>
                    <a:pt x="1197688" y="1343503"/>
                    <a:pt x="1177781" y="1359709"/>
                  </a:cubicBezTo>
                  <a:cubicBezTo>
                    <a:pt x="1165813" y="1369456"/>
                    <a:pt x="1182877" y="1386335"/>
                    <a:pt x="1194727" y="1376667"/>
                  </a:cubicBezTo>
                  <a:cubicBezTo>
                    <a:pt x="1212895" y="1361888"/>
                    <a:pt x="1231024" y="1347109"/>
                    <a:pt x="1249194" y="1332330"/>
                  </a:cubicBezTo>
                  <a:cubicBezTo>
                    <a:pt x="1249312" y="1332449"/>
                    <a:pt x="1249390" y="1332647"/>
                    <a:pt x="1249510" y="1332766"/>
                  </a:cubicBezTo>
                  <a:lnTo>
                    <a:pt x="1259226" y="1344573"/>
                  </a:lnTo>
                  <a:cubicBezTo>
                    <a:pt x="1243861" y="1358758"/>
                    <a:pt x="1228496" y="1372943"/>
                    <a:pt x="1213171" y="1387127"/>
                  </a:cubicBezTo>
                  <a:cubicBezTo>
                    <a:pt x="1201836" y="1397588"/>
                    <a:pt x="1218780" y="1414507"/>
                    <a:pt x="1230076" y="1404086"/>
                  </a:cubicBezTo>
                  <a:cubicBezTo>
                    <a:pt x="1244888" y="1390416"/>
                    <a:pt x="1259660" y="1376747"/>
                    <a:pt x="1274432" y="1363077"/>
                  </a:cubicBezTo>
                  <a:lnTo>
                    <a:pt x="1291771" y="1384116"/>
                  </a:lnTo>
                  <a:cubicBezTo>
                    <a:pt x="1277513" y="1398420"/>
                    <a:pt x="1263215" y="1412684"/>
                    <a:pt x="1248956" y="1426987"/>
                  </a:cubicBezTo>
                  <a:cubicBezTo>
                    <a:pt x="1238055" y="1437884"/>
                    <a:pt x="1254960" y="1454882"/>
                    <a:pt x="1265900" y="1443946"/>
                  </a:cubicBezTo>
                  <a:cubicBezTo>
                    <a:pt x="1279606" y="1430197"/>
                    <a:pt x="1293351" y="1416448"/>
                    <a:pt x="1307096" y="1402699"/>
                  </a:cubicBezTo>
                  <a:lnTo>
                    <a:pt x="1326332" y="1426037"/>
                  </a:lnTo>
                  <a:cubicBezTo>
                    <a:pt x="1328939" y="1429286"/>
                    <a:pt x="1330993" y="1432773"/>
                    <a:pt x="1332731" y="1436339"/>
                  </a:cubicBezTo>
                  <a:cubicBezTo>
                    <a:pt x="1315707" y="1452148"/>
                    <a:pt x="1298684" y="1467957"/>
                    <a:pt x="1281660" y="1483767"/>
                  </a:cubicBezTo>
                  <a:cubicBezTo>
                    <a:pt x="1270324" y="1494267"/>
                    <a:pt x="1287309" y="1511185"/>
                    <a:pt x="1298604" y="1500725"/>
                  </a:cubicBezTo>
                  <a:cubicBezTo>
                    <a:pt x="1311599" y="1488640"/>
                    <a:pt x="1324595" y="1476555"/>
                    <a:pt x="1337588" y="1464510"/>
                  </a:cubicBezTo>
                  <a:cubicBezTo>
                    <a:pt x="1336404" y="1475921"/>
                    <a:pt x="1331586" y="1487055"/>
                    <a:pt x="1322896" y="1495930"/>
                  </a:cubicBezTo>
                  <a:cubicBezTo>
                    <a:pt x="1305753" y="1513444"/>
                    <a:pt x="1286479" y="1528619"/>
                    <a:pt x="1265624" y="1541061"/>
                  </a:cubicBezTo>
                  <a:cubicBezTo>
                    <a:pt x="1249154" y="1550926"/>
                    <a:pt x="1231577" y="1559128"/>
                    <a:pt x="1213409" y="1565468"/>
                  </a:cubicBezTo>
                  <a:cubicBezTo>
                    <a:pt x="1190105" y="1573551"/>
                    <a:pt x="1162654" y="1561783"/>
                    <a:pt x="1151397" y="1539198"/>
                  </a:cubicBezTo>
                  <a:lnTo>
                    <a:pt x="1105184" y="1446561"/>
                  </a:lnTo>
                  <a:cubicBezTo>
                    <a:pt x="1098075" y="1432258"/>
                    <a:pt x="1086740" y="1420807"/>
                    <a:pt x="1072520" y="1413357"/>
                  </a:cubicBezTo>
                  <a:cubicBezTo>
                    <a:pt x="1048585" y="1400837"/>
                    <a:pt x="1008534" y="1385780"/>
                    <a:pt x="958688" y="1388871"/>
                  </a:cubicBezTo>
                  <a:cubicBezTo>
                    <a:pt x="927406" y="1390892"/>
                    <a:pt x="897388" y="1399648"/>
                    <a:pt x="869463" y="1414903"/>
                  </a:cubicBezTo>
                  <a:cubicBezTo>
                    <a:pt x="852360" y="1424253"/>
                    <a:pt x="840116" y="1440736"/>
                    <a:pt x="834744" y="1459874"/>
                  </a:cubicBezTo>
                  <a:cubicBezTo>
                    <a:pt x="812270" y="1458646"/>
                    <a:pt x="789796" y="1457378"/>
                    <a:pt x="767322" y="1456110"/>
                  </a:cubicBezTo>
                  <a:cubicBezTo>
                    <a:pt x="751879" y="1455278"/>
                    <a:pt x="751997" y="1479249"/>
                    <a:pt x="767322" y="1480121"/>
                  </a:cubicBezTo>
                  <a:cubicBezTo>
                    <a:pt x="788295" y="1481270"/>
                    <a:pt x="809229" y="1482459"/>
                    <a:pt x="830203" y="1483608"/>
                  </a:cubicBezTo>
                  <a:lnTo>
                    <a:pt x="826292" y="1510987"/>
                  </a:lnTo>
                  <a:cubicBezTo>
                    <a:pt x="805042" y="1507619"/>
                    <a:pt x="783714" y="1504212"/>
                    <a:pt x="762464" y="1500804"/>
                  </a:cubicBezTo>
                  <a:cubicBezTo>
                    <a:pt x="747415" y="1498387"/>
                    <a:pt x="740938" y="1521487"/>
                    <a:pt x="756105" y="1523904"/>
                  </a:cubicBezTo>
                  <a:cubicBezTo>
                    <a:pt x="778381" y="1527470"/>
                    <a:pt x="800658" y="1531036"/>
                    <a:pt x="822934" y="1534602"/>
                  </a:cubicBezTo>
                  <a:lnTo>
                    <a:pt x="819459" y="1558930"/>
                  </a:lnTo>
                  <a:cubicBezTo>
                    <a:pt x="800737" y="1556593"/>
                    <a:pt x="782015" y="1554294"/>
                    <a:pt x="763294" y="1551957"/>
                  </a:cubicBezTo>
                  <a:cubicBezTo>
                    <a:pt x="748087" y="1550015"/>
                    <a:pt x="748245" y="1574026"/>
                    <a:pt x="763294" y="1575928"/>
                  </a:cubicBezTo>
                  <a:cubicBezTo>
                    <a:pt x="780909" y="1578107"/>
                    <a:pt x="798525" y="1580326"/>
                    <a:pt x="816101" y="1582505"/>
                  </a:cubicBezTo>
                  <a:lnTo>
                    <a:pt x="814048" y="1596690"/>
                  </a:lnTo>
                  <a:cubicBezTo>
                    <a:pt x="813889" y="1597879"/>
                    <a:pt x="813376" y="1598909"/>
                    <a:pt x="813139" y="1600058"/>
                  </a:cubicBezTo>
                  <a:lnTo>
                    <a:pt x="751365" y="1600058"/>
                  </a:lnTo>
                  <a:cubicBezTo>
                    <a:pt x="735961" y="1600058"/>
                    <a:pt x="735961" y="1624030"/>
                    <a:pt x="751365" y="1624030"/>
                  </a:cubicBezTo>
                  <a:lnTo>
                    <a:pt x="801251" y="1624030"/>
                  </a:lnTo>
                  <a:cubicBezTo>
                    <a:pt x="795721" y="1630250"/>
                    <a:pt x="788849" y="1635282"/>
                    <a:pt x="780751" y="1638056"/>
                  </a:cubicBezTo>
                  <a:cubicBezTo>
                    <a:pt x="760133" y="1645188"/>
                    <a:pt x="739121" y="1648437"/>
                    <a:pt x="717121" y="1647565"/>
                  </a:cubicBezTo>
                  <a:cubicBezTo>
                    <a:pt x="691210" y="1646496"/>
                    <a:pt x="666090" y="1639720"/>
                    <a:pt x="642589" y="1627318"/>
                  </a:cubicBezTo>
                  <a:cubicBezTo>
                    <a:pt x="624499" y="1617730"/>
                    <a:pt x="613993" y="1597958"/>
                    <a:pt x="615967" y="1576958"/>
                  </a:cubicBezTo>
                  <a:lnTo>
                    <a:pt x="628725" y="1439231"/>
                  </a:lnTo>
                  <a:cubicBezTo>
                    <a:pt x="631134" y="1412961"/>
                    <a:pt x="619759" y="1387722"/>
                    <a:pt x="598272" y="1371675"/>
                  </a:cubicBezTo>
                  <a:close/>
                  <a:moveTo>
                    <a:pt x="1360853" y="488175"/>
                  </a:moveTo>
                  <a:cubicBezTo>
                    <a:pt x="1359866" y="488690"/>
                    <a:pt x="1359036" y="489284"/>
                    <a:pt x="1358246" y="490038"/>
                  </a:cubicBezTo>
                  <a:cubicBezTo>
                    <a:pt x="1357259" y="489166"/>
                    <a:pt x="1356034" y="488611"/>
                    <a:pt x="1355087" y="487660"/>
                  </a:cubicBezTo>
                  <a:cubicBezTo>
                    <a:pt x="1353980" y="486550"/>
                    <a:pt x="1353071" y="485283"/>
                    <a:pt x="1351966" y="484173"/>
                  </a:cubicBezTo>
                  <a:cubicBezTo>
                    <a:pt x="1354889" y="485679"/>
                    <a:pt x="1357891" y="486868"/>
                    <a:pt x="1360853" y="488175"/>
                  </a:cubicBezTo>
                  <a:close/>
                  <a:moveTo>
                    <a:pt x="631885" y="1647803"/>
                  </a:moveTo>
                  <a:cubicBezTo>
                    <a:pt x="658427" y="1661829"/>
                    <a:pt x="686786" y="1669516"/>
                    <a:pt x="716212" y="1670705"/>
                  </a:cubicBezTo>
                  <a:cubicBezTo>
                    <a:pt x="802633" y="1674112"/>
                    <a:pt x="838101" y="1657946"/>
                    <a:pt x="851728" y="1575334"/>
                  </a:cubicBezTo>
                  <a:cubicBezTo>
                    <a:pt x="869739" y="1466570"/>
                    <a:pt x="935305" y="1367792"/>
                    <a:pt x="1061856" y="1433921"/>
                  </a:cubicBezTo>
                  <a:cubicBezTo>
                    <a:pt x="1071730" y="1439072"/>
                    <a:pt x="1079551" y="1447037"/>
                    <a:pt x="1084488" y="1456902"/>
                  </a:cubicBezTo>
                  <a:lnTo>
                    <a:pt x="1130739" y="1549579"/>
                  </a:lnTo>
                  <a:cubicBezTo>
                    <a:pt x="1147053" y="1582228"/>
                    <a:pt x="1187024" y="1599147"/>
                    <a:pt x="1221031" y="1587340"/>
                  </a:cubicBezTo>
                  <a:cubicBezTo>
                    <a:pt x="1240662" y="1580485"/>
                    <a:pt x="1259660" y="1571609"/>
                    <a:pt x="1277473" y="1560951"/>
                  </a:cubicBezTo>
                  <a:cubicBezTo>
                    <a:pt x="1345922" y="1520060"/>
                    <a:pt x="1390634" y="1471682"/>
                    <a:pt x="1349201" y="1395924"/>
                  </a:cubicBezTo>
                  <a:cubicBezTo>
                    <a:pt x="1320881" y="1344137"/>
                    <a:pt x="1246151" y="1166154"/>
                    <a:pt x="1367449" y="1160250"/>
                  </a:cubicBezTo>
                  <a:cubicBezTo>
                    <a:pt x="1412160" y="1158071"/>
                    <a:pt x="1471762" y="1202567"/>
                    <a:pt x="1510549" y="1221030"/>
                  </a:cubicBezTo>
                  <a:cubicBezTo>
                    <a:pt x="1532471" y="1231451"/>
                    <a:pt x="1558894" y="1230461"/>
                    <a:pt x="1580065" y="1218376"/>
                  </a:cubicBezTo>
                  <a:cubicBezTo>
                    <a:pt x="1604159" y="1204587"/>
                    <a:pt x="1624144" y="1186242"/>
                    <a:pt x="1639469" y="1163736"/>
                  </a:cubicBezTo>
                  <a:cubicBezTo>
                    <a:pt x="1679836" y="1104541"/>
                    <a:pt x="1683075" y="1039917"/>
                    <a:pt x="1634769" y="998234"/>
                  </a:cubicBezTo>
                  <a:cubicBezTo>
                    <a:pt x="1628054" y="992410"/>
                    <a:pt x="1620274" y="987021"/>
                    <a:pt x="1611505" y="982147"/>
                  </a:cubicBezTo>
                  <a:cubicBezTo>
                    <a:pt x="1535630" y="940306"/>
                    <a:pt x="1406236" y="901317"/>
                    <a:pt x="1440007" y="788949"/>
                  </a:cubicBezTo>
                  <a:cubicBezTo>
                    <a:pt x="1458886" y="725989"/>
                    <a:pt x="1555892" y="708951"/>
                    <a:pt x="1612651" y="685772"/>
                  </a:cubicBezTo>
                  <a:cubicBezTo>
                    <a:pt x="1637021" y="675787"/>
                    <a:pt x="1654478" y="653797"/>
                    <a:pt x="1658310" y="628399"/>
                  </a:cubicBezTo>
                  <a:cubicBezTo>
                    <a:pt x="1662141" y="602843"/>
                    <a:pt x="1662773" y="563854"/>
                    <a:pt x="1644328" y="523122"/>
                  </a:cubicBezTo>
                  <a:cubicBezTo>
                    <a:pt x="1625448" y="481638"/>
                    <a:pt x="1585753" y="440153"/>
                    <a:pt x="1536617" y="439241"/>
                  </a:cubicBezTo>
                  <a:cubicBezTo>
                    <a:pt x="1492854" y="438449"/>
                    <a:pt x="1459162" y="478428"/>
                    <a:pt x="1414056" y="476606"/>
                  </a:cubicBezTo>
                  <a:cubicBezTo>
                    <a:pt x="1276999" y="471098"/>
                    <a:pt x="1300461" y="320652"/>
                    <a:pt x="1352756" y="238871"/>
                  </a:cubicBezTo>
                  <a:cubicBezTo>
                    <a:pt x="1369385" y="212879"/>
                    <a:pt x="1368554" y="179160"/>
                    <a:pt x="1350741" y="154872"/>
                  </a:cubicBezTo>
                  <a:cubicBezTo>
                    <a:pt x="1328741" y="124957"/>
                    <a:pt x="1301291" y="101501"/>
                    <a:pt x="1269061" y="85176"/>
                  </a:cubicBezTo>
                  <a:cubicBezTo>
                    <a:pt x="1247889" y="74439"/>
                    <a:pt x="1225060" y="67148"/>
                    <a:pt x="1201322" y="63384"/>
                  </a:cubicBezTo>
                  <a:cubicBezTo>
                    <a:pt x="1081881" y="44603"/>
                    <a:pt x="1093217" y="253967"/>
                    <a:pt x="970774" y="224528"/>
                  </a:cubicBezTo>
                  <a:cubicBezTo>
                    <a:pt x="868238" y="199883"/>
                    <a:pt x="894189" y="22930"/>
                    <a:pt x="802120" y="5456"/>
                  </a:cubicBezTo>
                  <a:cubicBezTo>
                    <a:pt x="768231" y="-923"/>
                    <a:pt x="733433" y="-1795"/>
                    <a:pt x="699623" y="2960"/>
                  </a:cubicBezTo>
                  <a:cubicBezTo>
                    <a:pt x="680744" y="5614"/>
                    <a:pt x="661982" y="10052"/>
                    <a:pt x="643774" y="16154"/>
                  </a:cubicBezTo>
                  <a:cubicBezTo>
                    <a:pt x="596298" y="32083"/>
                    <a:pt x="580537" y="66990"/>
                    <a:pt x="586502" y="112555"/>
                  </a:cubicBezTo>
                  <a:cubicBezTo>
                    <a:pt x="595705" y="182370"/>
                    <a:pt x="604039" y="237643"/>
                    <a:pt x="569874" y="303892"/>
                  </a:cubicBezTo>
                  <a:cubicBezTo>
                    <a:pt x="568886" y="304645"/>
                    <a:pt x="568254" y="305516"/>
                    <a:pt x="567188" y="306269"/>
                  </a:cubicBezTo>
                  <a:cubicBezTo>
                    <a:pt x="495381" y="359521"/>
                    <a:pt x="408920" y="280990"/>
                    <a:pt x="354414" y="239109"/>
                  </a:cubicBezTo>
                  <a:cubicBezTo>
                    <a:pt x="325857" y="217158"/>
                    <a:pt x="282686" y="219932"/>
                    <a:pt x="257605" y="243943"/>
                  </a:cubicBezTo>
                  <a:cubicBezTo>
                    <a:pt x="250614" y="249966"/>
                    <a:pt x="243899" y="255473"/>
                    <a:pt x="237501" y="260743"/>
                  </a:cubicBezTo>
                  <a:cubicBezTo>
                    <a:pt x="191328" y="298899"/>
                    <a:pt x="132437" y="367842"/>
                    <a:pt x="157360" y="433298"/>
                  </a:cubicBezTo>
                  <a:cubicBezTo>
                    <a:pt x="171855" y="471494"/>
                    <a:pt x="200096" y="478508"/>
                    <a:pt x="228653" y="499309"/>
                  </a:cubicBezTo>
                  <a:cubicBezTo>
                    <a:pt x="287505" y="542181"/>
                    <a:pt x="291771" y="643336"/>
                    <a:pt x="225888" y="683118"/>
                  </a:cubicBezTo>
                  <a:cubicBezTo>
                    <a:pt x="188998" y="705425"/>
                    <a:pt x="117467" y="692151"/>
                    <a:pt x="75600" y="692983"/>
                  </a:cubicBezTo>
                  <a:cubicBezTo>
                    <a:pt x="38827" y="693697"/>
                    <a:pt x="8335" y="720164"/>
                    <a:pt x="3121" y="755943"/>
                  </a:cubicBezTo>
                  <a:cubicBezTo>
                    <a:pt x="1305" y="768543"/>
                    <a:pt x="238" y="781341"/>
                    <a:pt x="-78" y="794060"/>
                  </a:cubicBezTo>
                  <a:cubicBezTo>
                    <a:pt x="-670" y="819735"/>
                    <a:pt x="1936" y="845569"/>
                    <a:pt x="7625" y="870848"/>
                  </a:cubicBezTo>
                  <a:cubicBezTo>
                    <a:pt x="25201" y="948746"/>
                    <a:pt x="106448" y="937731"/>
                    <a:pt x="168064" y="943119"/>
                  </a:cubicBezTo>
                  <a:cubicBezTo>
                    <a:pt x="212815" y="947042"/>
                    <a:pt x="251799" y="960672"/>
                    <a:pt x="277512" y="999106"/>
                  </a:cubicBezTo>
                  <a:cubicBezTo>
                    <a:pt x="352557" y="1111118"/>
                    <a:pt x="258632" y="1160765"/>
                    <a:pt x="180901" y="1224478"/>
                  </a:cubicBezTo>
                  <a:cubicBezTo>
                    <a:pt x="154239" y="1246349"/>
                    <a:pt x="145669" y="1282960"/>
                    <a:pt x="160085" y="1313549"/>
                  </a:cubicBezTo>
                  <a:cubicBezTo>
                    <a:pt x="172053" y="1338867"/>
                    <a:pt x="188050" y="1361769"/>
                    <a:pt x="207483" y="1381541"/>
                  </a:cubicBezTo>
                  <a:cubicBezTo>
                    <a:pt x="222689" y="1397033"/>
                    <a:pt x="239989" y="1410465"/>
                    <a:pt x="258988" y="1421599"/>
                  </a:cubicBezTo>
                  <a:cubicBezTo>
                    <a:pt x="313376" y="1453337"/>
                    <a:pt x="332571" y="1428374"/>
                    <a:pt x="371161" y="1394775"/>
                  </a:cubicBezTo>
                  <a:cubicBezTo>
                    <a:pt x="415753" y="1355984"/>
                    <a:pt x="459319" y="1349565"/>
                    <a:pt x="514103" y="1365732"/>
                  </a:cubicBezTo>
                  <a:cubicBezTo>
                    <a:pt x="554746" y="1377737"/>
                    <a:pt x="597641" y="1381818"/>
                    <a:pt x="605619" y="1429286"/>
                  </a:cubicBezTo>
                  <a:cubicBezTo>
                    <a:pt x="612966" y="1473504"/>
                    <a:pt x="597087" y="1530164"/>
                    <a:pt x="592940" y="1574818"/>
                  </a:cubicBezTo>
                  <a:cubicBezTo>
                    <a:pt x="590136" y="1605169"/>
                    <a:pt x="605421" y="1633816"/>
                    <a:pt x="631885" y="1647803"/>
                  </a:cubicBezTo>
                  <a:close/>
                </a:path>
              </a:pathLst>
            </a:custGeom>
            <a:solidFill>
              <a:schemeClr val="bg1"/>
            </a:solidFill>
            <a:ln w="39496" cap="flat">
              <a:noFill/>
              <a:prstDash val="solid"/>
              <a:round/>
            </a:ln>
          </p:spPr>
          <p:txBody>
            <a:bodyPr rtlCol="0" anchor="ctr"/>
            <a:lstStyle/>
            <a:p>
              <a:endParaRPr lang="en-LT"/>
            </a:p>
          </p:txBody>
        </p:sp>
        <p:sp>
          <p:nvSpPr>
            <p:cNvPr id="130" name="Freeform 129">
              <a:extLst>
                <a:ext uri="{FF2B5EF4-FFF2-40B4-BE49-F238E27FC236}">
                  <a16:creationId xmlns:a16="http://schemas.microsoft.com/office/drawing/2014/main" id="{F5D7953B-781D-5841-94D6-AA0DCCF34908}"/>
                </a:ext>
              </a:extLst>
            </p:cNvPr>
            <p:cNvSpPr/>
            <p:nvPr/>
          </p:nvSpPr>
          <p:spPr>
            <a:xfrm>
              <a:off x="9295685" y="1747020"/>
              <a:ext cx="526284" cy="523195"/>
            </a:xfrm>
            <a:custGeom>
              <a:avLst/>
              <a:gdLst>
                <a:gd name="connsiteX0" fmla="*/ 186398 w 975245"/>
                <a:gd name="connsiteY0" fmla="*/ 834306 h 969519"/>
                <a:gd name="connsiteX1" fmla="*/ 26195 w 975245"/>
                <a:gd name="connsiteY1" fmla="*/ 563170 h 969519"/>
                <a:gd name="connsiteX2" fmla="*/ 86390 w 975245"/>
                <a:gd name="connsiteY2" fmla="*/ 234027 h 969519"/>
                <a:gd name="connsiteX3" fmla="*/ 472440 w 975245"/>
                <a:gd name="connsiteY3" fmla="*/ 23117 h 969519"/>
                <a:gd name="connsiteX4" fmla="*/ 604520 w 975245"/>
                <a:gd name="connsiteY4" fmla="*/ 35955 h 969519"/>
                <a:gd name="connsiteX5" fmla="*/ 951625 w 975245"/>
                <a:gd name="connsiteY5" fmla="*/ 467838 h 969519"/>
                <a:gd name="connsiteX6" fmla="*/ 913431 w 975245"/>
                <a:gd name="connsiteY6" fmla="*/ 652083 h 969519"/>
                <a:gd name="connsiteX7" fmla="*/ 610800 w 975245"/>
                <a:gd name="connsiteY7" fmla="*/ 936849 h 969519"/>
                <a:gd name="connsiteX8" fmla="*/ 525367 w 975245"/>
                <a:gd name="connsiteY8" fmla="*/ 944337 h 969519"/>
                <a:gd name="connsiteX9" fmla="*/ 495664 w 975245"/>
                <a:gd name="connsiteY9" fmla="*/ 944059 h 969519"/>
                <a:gd name="connsiteX10" fmla="*/ 465646 w 975245"/>
                <a:gd name="connsiteY10" fmla="*/ 943743 h 969519"/>
                <a:gd name="connsiteX11" fmla="*/ 416985 w 975245"/>
                <a:gd name="connsiteY11" fmla="*/ 945566 h 969519"/>
                <a:gd name="connsiteX12" fmla="*/ 186398 w 975245"/>
                <a:gd name="connsiteY12" fmla="*/ 834306 h 969519"/>
                <a:gd name="connsiteX13" fmla="*/ 419038 w 975245"/>
                <a:gd name="connsiteY13" fmla="*/ 968626 h 969519"/>
                <a:gd name="connsiteX14" fmla="*/ 465646 w 975245"/>
                <a:gd name="connsiteY14" fmla="*/ 966922 h 969519"/>
                <a:gd name="connsiteX15" fmla="*/ 495308 w 975245"/>
                <a:gd name="connsiteY15" fmla="*/ 967239 h 969519"/>
                <a:gd name="connsiteX16" fmla="*/ 525367 w 975245"/>
                <a:gd name="connsiteY16" fmla="*/ 967516 h 969519"/>
                <a:gd name="connsiteX17" fmla="*/ 615855 w 975245"/>
                <a:gd name="connsiteY17" fmla="*/ 959433 h 969519"/>
                <a:gd name="connsiteX18" fmla="*/ 934601 w 975245"/>
                <a:gd name="connsiteY18" fmla="*/ 661354 h 969519"/>
                <a:gd name="connsiteX19" fmla="*/ 974731 w 975245"/>
                <a:gd name="connsiteY19" fmla="*/ 468829 h 969519"/>
                <a:gd name="connsiteX20" fmla="*/ 608746 w 975245"/>
                <a:gd name="connsiteY20" fmla="*/ 13172 h 969519"/>
                <a:gd name="connsiteX21" fmla="*/ 472440 w 975245"/>
                <a:gd name="connsiteY21" fmla="*/ -62 h 969519"/>
                <a:gd name="connsiteX22" fmla="*/ 66285 w 975245"/>
                <a:gd name="connsiteY22" fmla="*/ 222497 h 969519"/>
                <a:gd name="connsiteX23" fmla="*/ 3168 w 975245"/>
                <a:gd name="connsiteY23" fmla="*/ 565468 h 969519"/>
                <a:gd name="connsiteX24" fmla="*/ 169809 w 975245"/>
                <a:gd name="connsiteY24" fmla="*/ 850432 h 969519"/>
                <a:gd name="connsiteX25" fmla="*/ 400356 w 975245"/>
                <a:gd name="connsiteY25" fmla="*/ 969458 h 969519"/>
                <a:gd name="connsiteX26" fmla="*/ 419038 w 975245"/>
                <a:gd name="connsiteY26" fmla="*/ 968626 h 969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75245" h="969519">
                  <a:moveTo>
                    <a:pt x="186398" y="834306"/>
                  </a:moveTo>
                  <a:cubicBezTo>
                    <a:pt x="114591" y="760370"/>
                    <a:pt x="37018" y="672369"/>
                    <a:pt x="26195" y="563170"/>
                  </a:cubicBezTo>
                  <a:cubicBezTo>
                    <a:pt x="14188" y="441926"/>
                    <a:pt x="36070" y="321949"/>
                    <a:pt x="86390" y="234027"/>
                  </a:cubicBezTo>
                  <a:cubicBezTo>
                    <a:pt x="185964" y="59728"/>
                    <a:pt x="351340" y="23117"/>
                    <a:pt x="472440" y="23117"/>
                  </a:cubicBezTo>
                  <a:cubicBezTo>
                    <a:pt x="514583" y="23117"/>
                    <a:pt x="559018" y="27436"/>
                    <a:pt x="604520" y="35955"/>
                  </a:cubicBezTo>
                  <a:cubicBezTo>
                    <a:pt x="804496" y="73438"/>
                    <a:pt x="960236" y="267191"/>
                    <a:pt x="951625" y="467838"/>
                  </a:cubicBezTo>
                  <a:cubicBezTo>
                    <a:pt x="948544" y="539991"/>
                    <a:pt x="936024" y="600296"/>
                    <a:pt x="913431" y="652083"/>
                  </a:cubicBezTo>
                  <a:cubicBezTo>
                    <a:pt x="841940" y="815960"/>
                    <a:pt x="745763" y="906458"/>
                    <a:pt x="610800" y="936849"/>
                  </a:cubicBezTo>
                  <a:cubicBezTo>
                    <a:pt x="581374" y="943465"/>
                    <a:pt x="551080" y="944337"/>
                    <a:pt x="525367" y="944337"/>
                  </a:cubicBezTo>
                  <a:cubicBezTo>
                    <a:pt x="515452" y="944337"/>
                    <a:pt x="505578" y="944218"/>
                    <a:pt x="495664" y="944059"/>
                  </a:cubicBezTo>
                  <a:cubicBezTo>
                    <a:pt x="485671" y="943901"/>
                    <a:pt x="475639" y="943743"/>
                    <a:pt x="465646" y="943743"/>
                  </a:cubicBezTo>
                  <a:cubicBezTo>
                    <a:pt x="446569" y="943743"/>
                    <a:pt x="431086" y="944337"/>
                    <a:pt x="416985" y="945566"/>
                  </a:cubicBezTo>
                  <a:cubicBezTo>
                    <a:pt x="340636" y="952222"/>
                    <a:pt x="264248" y="914501"/>
                    <a:pt x="186398" y="834306"/>
                  </a:cubicBezTo>
                  <a:close/>
                  <a:moveTo>
                    <a:pt x="419038" y="968626"/>
                  </a:moveTo>
                  <a:cubicBezTo>
                    <a:pt x="432429" y="967476"/>
                    <a:pt x="447240" y="966922"/>
                    <a:pt x="465646" y="966922"/>
                  </a:cubicBezTo>
                  <a:cubicBezTo>
                    <a:pt x="475521" y="966922"/>
                    <a:pt x="485395" y="967080"/>
                    <a:pt x="495308" y="967239"/>
                  </a:cubicBezTo>
                  <a:cubicBezTo>
                    <a:pt x="505342" y="967357"/>
                    <a:pt x="515334" y="967516"/>
                    <a:pt x="525367" y="967516"/>
                  </a:cubicBezTo>
                  <a:cubicBezTo>
                    <a:pt x="552383" y="967516"/>
                    <a:pt x="584218" y="966565"/>
                    <a:pt x="615855" y="959433"/>
                  </a:cubicBezTo>
                  <a:cubicBezTo>
                    <a:pt x="758600" y="927300"/>
                    <a:pt x="859912" y="832602"/>
                    <a:pt x="934601" y="661354"/>
                  </a:cubicBezTo>
                  <a:cubicBezTo>
                    <a:pt x="958418" y="606873"/>
                    <a:pt x="971532" y="543913"/>
                    <a:pt x="974731" y="468829"/>
                  </a:cubicBezTo>
                  <a:cubicBezTo>
                    <a:pt x="983776" y="257127"/>
                    <a:pt x="819585" y="52715"/>
                    <a:pt x="608746" y="13172"/>
                  </a:cubicBezTo>
                  <a:cubicBezTo>
                    <a:pt x="561901" y="4415"/>
                    <a:pt x="516045" y="-62"/>
                    <a:pt x="472440" y="-62"/>
                  </a:cubicBezTo>
                  <a:cubicBezTo>
                    <a:pt x="289961" y="-62"/>
                    <a:pt x="149507" y="76924"/>
                    <a:pt x="66285" y="222497"/>
                  </a:cubicBezTo>
                  <a:cubicBezTo>
                    <a:pt x="13675" y="314500"/>
                    <a:pt x="-9313" y="439509"/>
                    <a:pt x="3168" y="565468"/>
                  </a:cubicBezTo>
                  <a:cubicBezTo>
                    <a:pt x="14741" y="682076"/>
                    <a:pt x="95237" y="773684"/>
                    <a:pt x="169809" y="850432"/>
                  </a:cubicBezTo>
                  <a:cubicBezTo>
                    <a:pt x="246513" y="929399"/>
                    <a:pt x="324086" y="969458"/>
                    <a:pt x="400356" y="969458"/>
                  </a:cubicBezTo>
                  <a:cubicBezTo>
                    <a:pt x="406518" y="969458"/>
                    <a:pt x="412720" y="969180"/>
                    <a:pt x="419038" y="968626"/>
                  </a:cubicBezTo>
                  <a:close/>
                </a:path>
              </a:pathLst>
            </a:custGeom>
            <a:solidFill>
              <a:schemeClr val="bg1"/>
            </a:solidFill>
            <a:ln w="39496" cap="flat">
              <a:noFill/>
              <a:prstDash val="solid"/>
              <a:round/>
            </a:ln>
          </p:spPr>
          <p:txBody>
            <a:bodyPr rtlCol="0" anchor="ctr"/>
            <a:lstStyle/>
            <a:p>
              <a:endParaRPr lang="en-LT"/>
            </a:p>
          </p:txBody>
        </p:sp>
        <p:sp>
          <p:nvSpPr>
            <p:cNvPr id="131" name="Freeform 130">
              <a:extLst>
                <a:ext uri="{FF2B5EF4-FFF2-40B4-BE49-F238E27FC236}">
                  <a16:creationId xmlns:a16="http://schemas.microsoft.com/office/drawing/2014/main" id="{E5887B77-56E5-D94C-9318-0458BB490E2E}"/>
                </a:ext>
              </a:extLst>
            </p:cNvPr>
            <p:cNvSpPr/>
            <p:nvPr/>
          </p:nvSpPr>
          <p:spPr>
            <a:xfrm>
              <a:off x="9335519" y="1786619"/>
              <a:ext cx="446628" cy="443996"/>
            </a:xfrm>
            <a:custGeom>
              <a:avLst/>
              <a:gdLst>
                <a:gd name="connsiteX0" fmla="*/ 163456 w 827635"/>
                <a:gd name="connsiteY0" fmla="*/ 699868 h 822758"/>
                <a:gd name="connsiteX1" fmla="*/ 33035 w 827635"/>
                <a:gd name="connsiteY1" fmla="*/ 476199 h 822758"/>
                <a:gd name="connsiteX2" fmla="*/ 81973 w 827635"/>
                <a:gd name="connsiteY2" fmla="*/ 204429 h 822758"/>
                <a:gd name="connsiteX3" fmla="*/ 395940 w 827635"/>
                <a:gd name="connsiteY3" fmla="*/ 30527 h 822758"/>
                <a:gd name="connsiteX4" fmla="*/ 503531 w 827635"/>
                <a:gd name="connsiteY4" fmla="*/ 41146 h 822758"/>
                <a:gd name="connsiteX5" fmla="*/ 785781 w 827635"/>
                <a:gd name="connsiteY5" fmla="*/ 397271 h 822758"/>
                <a:gd name="connsiteX6" fmla="*/ 754736 w 827635"/>
                <a:gd name="connsiteY6" fmla="*/ 549382 h 822758"/>
                <a:gd name="connsiteX7" fmla="*/ 508587 w 827635"/>
                <a:gd name="connsiteY7" fmla="*/ 784342 h 822758"/>
                <a:gd name="connsiteX8" fmla="*/ 439190 w 827635"/>
                <a:gd name="connsiteY8" fmla="*/ 790563 h 822758"/>
                <a:gd name="connsiteX9" fmla="*/ 414938 w 827635"/>
                <a:gd name="connsiteY9" fmla="*/ 790325 h 822758"/>
                <a:gd name="connsiteX10" fmla="*/ 390370 w 827635"/>
                <a:gd name="connsiteY10" fmla="*/ 790048 h 822758"/>
                <a:gd name="connsiteX11" fmla="*/ 350478 w 827635"/>
                <a:gd name="connsiteY11" fmla="*/ 791554 h 822758"/>
                <a:gd name="connsiteX12" fmla="*/ 163456 w 827635"/>
                <a:gd name="connsiteY12" fmla="*/ 699868 h 822758"/>
                <a:gd name="connsiteX13" fmla="*/ 395189 w 827635"/>
                <a:gd name="connsiteY13" fmla="*/ 820597 h 822758"/>
                <a:gd name="connsiteX14" fmla="*/ 420270 w 827635"/>
                <a:gd name="connsiteY14" fmla="*/ 820835 h 822758"/>
                <a:gd name="connsiteX15" fmla="*/ 445706 w 827635"/>
                <a:gd name="connsiteY15" fmla="*/ 821112 h 822758"/>
                <a:gd name="connsiteX16" fmla="*/ 522529 w 827635"/>
                <a:gd name="connsiteY16" fmla="*/ 814218 h 822758"/>
                <a:gd name="connsiteX17" fmla="*/ 793128 w 827635"/>
                <a:gd name="connsiteY17" fmla="*/ 561348 h 822758"/>
                <a:gd name="connsiteX18" fmla="*/ 827175 w 827635"/>
                <a:gd name="connsiteY18" fmla="*/ 397985 h 822758"/>
                <a:gd name="connsiteX19" fmla="*/ 516447 w 827635"/>
                <a:gd name="connsiteY19" fmla="*/ 11152 h 822758"/>
                <a:gd name="connsiteX20" fmla="*/ 400955 w 827635"/>
                <a:gd name="connsiteY20" fmla="*/ -62 h 822758"/>
                <a:gd name="connsiteX21" fmla="*/ 56220 w 827635"/>
                <a:gd name="connsiteY21" fmla="*/ 188897 h 822758"/>
                <a:gd name="connsiteX22" fmla="*/ 2661 w 827635"/>
                <a:gd name="connsiteY22" fmla="*/ 479726 h 822758"/>
                <a:gd name="connsiteX23" fmla="*/ 143984 w 827635"/>
                <a:gd name="connsiteY23" fmla="*/ 721620 h 822758"/>
                <a:gd name="connsiteX24" fmla="*/ 340050 w 827635"/>
                <a:gd name="connsiteY24" fmla="*/ 822697 h 822758"/>
                <a:gd name="connsiteX25" fmla="*/ 355967 w 827635"/>
                <a:gd name="connsiteY25" fmla="*/ 822023 h 822758"/>
                <a:gd name="connsiteX26" fmla="*/ 395189 w 827635"/>
                <a:gd name="connsiteY26" fmla="*/ 820597 h 822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7635" h="822758">
                  <a:moveTo>
                    <a:pt x="163456" y="699868"/>
                  </a:moveTo>
                  <a:cubicBezTo>
                    <a:pt x="104961" y="638810"/>
                    <a:pt x="41803" y="566102"/>
                    <a:pt x="33035" y="476199"/>
                  </a:cubicBezTo>
                  <a:cubicBezTo>
                    <a:pt x="23240" y="376034"/>
                    <a:pt x="41053" y="276978"/>
                    <a:pt x="81973" y="204429"/>
                  </a:cubicBezTo>
                  <a:cubicBezTo>
                    <a:pt x="162982" y="60680"/>
                    <a:pt x="297432" y="30527"/>
                    <a:pt x="395940" y="30527"/>
                  </a:cubicBezTo>
                  <a:cubicBezTo>
                    <a:pt x="430303" y="30527"/>
                    <a:pt x="466522" y="33855"/>
                    <a:pt x="503531" y="41146"/>
                  </a:cubicBezTo>
                  <a:cubicBezTo>
                    <a:pt x="663930" y="72606"/>
                    <a:pt x="793562" y="236484"/>
                    <a:pt x="785781" y="397271"/>
                  </a:cubicBezTo>
                  <a:cubicBezTo>
                    <a:pt x="782898" y="456824"/>
                    <a:pt x="773102" y="506629"/>
                    <a:pt x="754736" y="549382"/>
                  </a:cubicBezTo>
                  <a:cubicBezTo>
                    <a:pt x="696516" y="684653"/>
                    <a:pt x="618311" y="759301"/>
                    <a:pt x="508587" y="784342"/>
                  </a:cubicBezTo>
                  <a:cubicBezTo>
                    <a:pt x="484730" y="789810"/>
                    <a:pt x="460162" y="790563"/>
                    <a:pt x="439190" y="790563"/>
                  </a:cubicBezTo>
                  <a:cubicBezTo>
                    <a:pt x="431132" y="790563"/>
                    <a:pt x="423034" y="790444"/>
                    <a:pt x="414938" y="790325"/>
                  </a:cubicBezTo>
                  <a:cubicBezTo>
                    <a:pt x="406722" y="790167"/>
                    <a:pt x="398546" y="790048"/>
                    <a:pt x="390370" y="790048"/>
                  </a:cubicBezTo>
                  <a:cubicBezTo>
                    <a:pt x="374729" y="790048"/>
                    <a:pt x="362051" y="790523"/>
                    <a:pt x="350478" y="791554"/>
                  </a:cubicBezTo>
                  <a:cubicBezTo>
                    <a:pt x="288506" y="797022"/>
                    <a:pt x="226692" y="765918"/>
                    <a:pt x="163456" y="699868"/>
                  </a:cubicBezTo>
                  <a:close/>
                  <a:moveTo>
                    <a:pt x="395189" y="820597"/>
                  </a:moveTo>
                  <a:cubicBezTo>
                    <a:pt x="403523" y="820597"/>
                    <a:pt x="411897" y="820715"/>
                    <a:pt x="420270" y="820835"/>
                  </a:cubicBezTo>
                  <a:cubicBezTo>
                    <a:pt x="428762" y="820954"/>
                    <a:pt x="437254" y="821112"/>
                    <a:pt x="445706" y="821112"/>
                  </a:cubicBezTo>
                  <a:cubicBezTo>
                    <a:pt x="468615" y="821112"/>
                    <a:pt x="495631" y="820280"/>
                    <a:pt x="522529" y="814218"/>
                  </a:cubicBezTo>
                  <a:cubicBezTo>
                    <a:pt x="643747" y="786918"/>
                    <a:pt x="729734" y="706564"/>
                    <a:pt x="793128" y="561348"/>
                  </a:cubicBezTo>
                  <a:cubicBezTo>
                    <a:pt x="813311" y="515069"/>
                    <a:pt x="824450" y="461658"/>
                    <a:pt x="827175" y="397985"/>
                  </a:cubicBezTo>
                  <a:cubicBezTo>
                    <a:pt x="834838" y="218218"/>
                    <a:pt x="695489" y="44672"/>
                    <a:pt x="516447" y="11152"/>
                  </a:cubicBezTo>
                  <a:cubicBezTo>
                    <a:pt x="476791" y="3702"/>
                    <a:pt x="437886" y="-62"/>
                    <a:pt x="400955" y="-62"/>
                  </a:cubicBezTo>
                  <a:cubicBezTo>
                    <a:pt x="246125" y="-62"/>
                    <a:pt x="126881" y="65276"/>
                    <a:pt x="56220" y="188897"/>
                  </a:cubicBezTo>
                  <a:cubicBezTo>
                    <a:pt x="11588" y="266914"/>
                    <a:pt x="-7924" y="372943"/>
                    <a:pt x="2661" y="479726"/>
                  </a:cubicBezTo>
                  <a:cubicBezTo>
                    <a:pt x="12496" y="578821"/>
                    <a:pt x="80748" y="656560"/>
                    <a:pt x="143984" y="721620"/>
                  </a:cubicBezTo>
                  <a:cubicBezTo>
                    <a:pt x="209116" y="788701"/>
                    <a:pt x="275077" y="822737"/>
                    <a:pt x="340050" y="822697"/>
                  </a:cubicBezTo>
                  <a:cubicBezTo>
                    <a:pt x="345303" y="822697"/>
                    <a:pt x="350636" y="822459"/>
                    <a:pt x="355967" y="822023"/>
                  </a:cubicBezTo>
                  <a:cubicBezTo>
                    <a:pt x="367224" y="821033"/>
                    <a:pt x="379706" y="820597"/>
                    <a:pt x="395189" y="820597"/>
                  </a:cubicBezTo>
                  <a:close/>
                </a:path>
              </a:pathLst>
            </a:custGeom>
            <a:solidFill>
              <a:schemeClr val="bg1"/>
            </a:solidFill>
            <a:ln w="39496" cap="flat">
              <a:noFill/>
              <a:prstDash val="solid"/>
              <a:round/>
            </a:ln>
          </p:spPr>
          <p:txBody>
            <a:bodyPr rtlCol="0" anchor="ctr"/>
            <a:lstStyle/>
            <a:p>
              <a:endParaRPr lang="en-LT"/>
            </a:p>
          </p:txBody>
        </p:sp>
        <p:sp>
          <p:nvSpPr>
            <p:cNvPr id="132" name="Freeform 131">
              <a:extLst>
                <a:ext uri="{FF2B5EF4-FFF2-40B4-BE49-F238E27FC236}">
                  <a16:creationId xmlns:a16="http://schemas.microsoft.com/office/drawing/2014/main" id="{8E6404FA-56BD-3946-A7B6-898D8763077E}"/>
                </a:ext>
              </a:extLst>
            </p:cNvPr>
            <p:cNvSpPr/>
            <p:nvPr/>
          </p:nvSpPr>
          <p:spPr>
            <a:xfrm>
              <a:off x="9344316" y="1728144"/>
              <a:ext cx="90678" cy="38406"/>
            </a:xfrm>
            <a:custGeom>
              <a:avLst/>
              <a:gdLst>
                <a:gd name="connsiteX0" fmla="*/ 8373 w 168034"/>
                <a:gd name="connsiteY0" fmla="*/ 66575 h 71169"/>
                <a:gd name="connsiteX1" fmla="*/ 164429 w 168034"/>
                <a:gd name="connsiteY1" fmla="*/ 20533 h 71169"/>
                <a:gd name="connsiteX2" fmla="*/ 147563 w 168034"/>
                <a:gd name="connsiteY2" fmla="*/ 3536 h 71169"/>
                <a:gd name="connsiteX3" fmla="*/ 14733 w 168034"/>
                <a:gd name="connsiteY3" fmla="*/ 43435 h 71169"/>
                <a:gd name="connsiteX4" fmla="*/ 8373 w 168034"/>
                <a:gd name="connsiteY4" fmla="*/ 66575 h 71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34" h="71169">
                  <a:moveTo>
                    <a:pt x="8373" y="66575"/>
                  </a:moveTo>
                  <a:cubicBezTo>
                    <a:pt x="65605" y="79967"/>
                    <a:pt x="123825" y="63088"/>
                    <a:pt x="164429" y="20533"/>
                  </a:cubicBezTo>
                  <a:cubicBezTo>
                    <a:pt x="175133" y="9360"/>
                    <a:pt x="158267" y="-7598"/>
                    <a:pt x="147563" y="3536"/>
                  </a:cubicBezTo>
                  <a:cubicBezTo>
                    <a:pt x="112766" y="39989"/>
                    <a:pt x="63867" y="54965"/>
                    <a:pt x="14733" y="43435"/>
                  </a:cubicBezTo>
                  <a:cubicBezTo>
                    <a:pt x="-238" y="39909"/>
                    <a:pt x="-6636" y="63049"/>
                    <a:pt x="8373" y="66575"/>
                  </a:cubicBezTo>
                  <a:close/>
                </a:path>
              </a:pathLst>
            </a:custGeom>
            <a:solidFill>
              <a:schemeClr val="bg1"/>
            </a:solidFill>
            <a:ln w="39496" cap="flat">
              <a:noFill/>
              <a:prstDash val="solid"/>
              <a:round/>
            </a:ln>
          </p:spPr>
          <p:txBody>
            <a:bodyPr rtlCol="0" anchor="ctr"/>
            <a:lstStyle/>
            <a:p>
              <a:endParaRPr lang="en-LT"/>
            </a:p>
          </p:txBody>
        </p:sp>
        <p:sp>
          <p:nvSpPr>
            <p:cNvPr id="133" name="Freeform 132">
              <a:extLst>
                <a:ext uri="{FF2B5EF4-FFF2-40B4-BE49-F238E27FC236}">
                  <a16:creationId xmlns:a16="http://schemas.microsoft.com/office/drawing/2014/main" id="{5C255E58-418E-C044-8C43-4E7308C93BF2}"/>
                </a:ext>
              </a:extLst>
            </p:cNvPr>
            <p:cNvSpPr/>
            <p:nvPr/>
          </p:nvSpPr>
          <p:spPr>
            <a:xfrm>
              <a:off x="9244603" y="1855632"/>
              <a:ext cx="46789" cy="100609"/>
            </a:xfrm>
            <a:custGeom>
              <a:avLst/>
              <a:gdLst>
                <a:gd name="connsiteX0" fmla="*/ 20527 w 86704"/>
                <a:gd name="connsiteY0" fmla="*/ 183112 h 186436"/>
                <a:gd name="connsiteX1" fmla="*/ 85184 w 86704"/>
                <a:gd name="connsiteY1" fmla="*/ 11349 h 186436"/>
                <a:gd name="connsiteX2" fmla="*/ 61209 w 86704"/>
                <a:gd name="connsiteY2" fmla="*/ 11349 h 186436"/>
                <a:gd name="connsiteX3" fmla="*/ 3582 w 86704"/>
                <a:gd name="connsiteY3" fmla="*/ 166154 h 186436"/>
                <a:gd name="connsiteX4" fmla="*/ 20527 w 86704"/>
                <a:gd name="connsiteY4" fmla="*/ 183112 h 186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04" h="186436">
                  <a:moveTo>
                    <a:pt x="20527" y="183112"/>
                  </a:moveTo>
                  <a:cubicBezTo>
                    <a:pt x="68635" y="139171"/>
                    <a:pt x="92571" y="76251"/>
                    <a:pt x="85184" y="11349"/>
                  </a:cubicBezTo>
                  <a:cubicBezTo>
                    <a:pt x="83446" y="-3786"/>
                    <a:pt x="59472" y="-3985"/>
                    <a:pt x="61209" y="11349"/>
                  </a:cubicBezTo>
                  <a:cubicBezTo>
                    <a:pt x="67963" y="70545"/>
                    <a:pt x="47582" y="125977"/>
                    <a:pt x="3582" y="166154"/>
                  </a:cubicBezTo>
                  <a:cubicBezTo>
                    <a:pt x="-7833" y="176575"/>
                    <a:pt x="9152" y="193493"/>
                    <a:pt x="20527" y="183112"/>
                  </a:cubicBezTo>
                  <a:close/>
                </a:path>
              </a:pathLst>
            </a:custGeom>
            <a:solidFill>
              <a:schemeClr val="bg1"/>
            </a:solidFill>
            <a:ln w="39496" cap="flat">
              <a:noFill/>
              <a:prstDash val="solid"/>
              <a:round/>
            </a:ln>
          </p:spPr>
          <p:txBody>
            <a:bodyPr rtlCol="0" anchor="ctr"/>
            <a:lstStyle/>
            <a:p>
              <a:endParaRPr lang="en-LT"/>
            </a:p>
          </p:txBody>
        </p:sp>
        <p:sp>
          <p:nvSpPr>
            <p:cNvPr id="134" name="Freeform 133">
              <a:extLst>
                <a:ext uri="{FF2B5EF4-FFF2-40B4-BE49-F238E27FC236}">
                  <a16:creationId xmlns:a16="http://schemas.microsoft.com/office/drawing/2014/main" id="{18DF26E6-C81A-E64A-9224-695577FF050E}"/>
                </a:ext>
              </a:extLst>
            </p:cNvPr>
            <p:cNvSpPr/>
            <p:nvPr/>
          </p:nvSpPr>
          <p:spPr>
            <a:xfrm>
              <a:off x="9242770" y="2038606"/>
              <a:ext cx="51991" cy="96802"/>
            </a:xfrm>
            <a:custGeom>
              <a:avLst/>
              <a:gdLst>
                <a:gd name="connsiteX0" fmla="*/ 2950 w 96344"/>
                <a:gd name="connsiteY0" fmla="*/ 20790 h 179381"/>
                <a:gd name="connsiteX1" fmla="*/ 72900 w 96344"/>
                <a:gd name="connsiteY1" fmla="*/ 170642 h 179381"/>
                <a:gd name="connsiteX2" fmla="*/ 95967 w 96344"/>
                <a:gd name="connsiteY2" fmla="*/ 164302 h 179381"/>
                <a:gd name="connsiteX3" fmla="*/ 19894 w 96344"/>
                <a:gd name="connsiteY3" fmla="*/ 3832 h 179381"/>
                <a:gd name="connsiteX4" fmla="*/ 2950 w 96344"/>
                <a:gd name="connsiteY4" fmla="*/ 20790 h 179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4" h="179381">
                  <a:moveTo>
                    <a:pt x="2950" y="20790"/>
                  </a:moveTo>
                  <a:cubicBezTo>
                    <a:pt x="40828" y="63701"/>
                    <a:pt x="63934" y="114180"/>
                    <a:pt x="72900" y="170642"/>
                  </a:cubicBezTo>
                  <a:cubicBezTo>
                    <a:pt x="75309" y="185857"/>
                    <a:pt x="98376" y="179398"/>
                    <a:pt x="95967" y="164302"/>
                  </a:cubicBezTo>
                  <a:cubicBezTo>
                    <a:pt x="86408" y="103799"/>
                    <a:pt x="60301" y="49675"/>
                    <a:pt x="19894" y="3832"/>
                  </a:cubicBezTo>
                  <a:cubicBezTo>
                    <a:pt x="9665" y="-7778"/>
                    <a:pt x="-7241" y="9260"/>
                    <a:pt x="2950" y="20790"/>
                  </a:cubicBezTo>
                  <a:close/>
                </a:path>
              </a:pathLst>
            </a:custGeom>
            <a:solidFill>
              <a:schemeClr val="bg1"/>
            </a:solidFill>
            <a:ln w="39496" cap="flat">
              <a:noFill/>
              <a:prstDash val="solid"/>
              <a:round/>
            </a:ln>
          </p:spPr>
          <p:txBody>
            <a:bodyPr rtlCol="0" anchor="ctr"/>
            <a:lstStyle/>
            <a:p>
              <a:endParaRPr lang="en-LT"/>
            </a:p>
          </p:txBody>
        </p:sp>
        <p:sp>
          <p:nvSpPr>
            <p:cNvPr id="135" name="Freeform 134">
              <a:extLst>
                <a:ext uri="{FF2B5EF4-FFF2-40B4-BE49-F238E27FC236}">
                  <a16:creationId xmlns:a16="http://schemas.microsoft.com/office/drawing/2014/main" id="{7B167095-87CD-9B49-A4C4-5D1D6F7858A8}"/>
                </a:ext>
              </a:extLst>
            </p:cNvPr>
            <p:cNvSpPr/>
            <p:nvPr/>
          </p:nvSpPr>
          <p:spPr>
            <a:xfrm>
              <a:off x="9542120" y="2283541"/>
              <a:ext cx="88549" cy="25305"/>
            </a:xfrm>
            <a:custGeom>
              <a:avLst/>
              <a:gdLst>
                <a:gd name="connsiteX0" fmla="*/ 148888 w 164088"/>
                <a:gd name="connsiteY0" fmla="*/ 169 h 46892"/>
                <a:gd name="connsiteX1" fmla="*/ 8474 w 164088"/>
                <a:gd name="connsiteY1" fmla="*/ 23546 h 46892"/>
                <a:gd name="connsiteX2" fmla="*/ 14872 w 164088"/>
                <a:gd name="connsiteY2" fmla="*/ 46685 h 46892"/>
                <a:gd name="connsiteX3" fmla="*/ 155247 w 164088"/>
                <a:gd name="connsiteY3" fmla="*/ 23308 h 46892"/>
                <a:gd name="connsiteX4" fmla="*/ 148888 w 164088"/>
                <a:gd name="connsiteY4" fmla="*/ 169 h 46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88" h="46892">
                  <a:moveTo>
                    <a:pt x="148888" y="169"/>
                  </a:moveTo>
                  <a:cubicBezTo>
                    <a:pt x="102123" y="7974"/>
                    <a:pt x="55318" y="15740"/>
                    <a:pt x="8474" y="23546"/>
                  </a:cubicBezTo>
                  <a:cubicBezTo>
                    <a:pt x="-6654" y="26042"/>
                    <a:pt x="-216" y="49182"/>
                    <a:pt x="14872" y="46685"/>
                  </a:cubicBezTo>
                  <a:cubicBezTo>
                    <a:pt x="61677" y="38880"/>
                    <a:pt x="108481" y="31074"/>
                    <a:pt x="155247" y="23308"/>
                  </a:cubicBezTo>
                  <a:cubicBezTo>
                    <a:pt x="170453" y="20812"/>
                    <a:pt x="164015" y="-2327"/>
                    <a:pt x="148888" y="169"/>
                  </a:cubicBezTo>
                  <a:close/>
                </a:path>
              </a:pathLst>
            </a:custGeom>
            <a:solidFill>
              <a:schemeClr val="bg1"/>
            </a:solidFill>
            <a:ln w="39496" cap="flat">
              <a:noFill/>
              <a:prstDash val="solid"/>
              <a:round/>
            </a:ln>
          </p:spPr>
          <p:txBody>
            <a:bodyPr rtlCol="0" anchor="ctr"/>
            <a:lstStyle/>
            <a:p>
              <a:endParaRPr lang="en-LT"/>
            </a:p>
          </p:txBody>
        </p:sp>
        <p:sp>
          <p:nvSpPr>
            <p:cNvPr id="136" name="Freeform 135">
              <a:extLst>
                <a:ext uri="{FF2B5EF4-FFF2-40B4-BE49-F238E27FC236}">
                  <a16:creationId xmlns:a16="http://schemas.microsoft.com/office/drawing/2014/main" id="{9EAB73C8-CBE6-DA46-9DB4-DB50F95CF2D6}"/>
                </a:ext>
              </a:extLst>
            </p:cNvPr>
            <p:cNvSpPr/>
            <p:nvPr/>
          </p:nvSpPr>
          <p:spPr>
            <a:xfrm>
              <a:off x="9744209" y="2161035"/>
              <a:ext cx="62665" cy="69717"/>
            </a:xfrm>
            <a:custGeom>
              <a:avLst/>
              <a:gdLst>
                <a:gd name="connsiteX0" fmla="*/ 98033 w 116123"/>
                <a:gd name="connsiteY0" fmla="*/ 1557 h 129191"/>
                <a:gd name="connsiteX1" fmla="*/ 711 w 116123"/>
                <a:gd name="connsiteY1" fmla="*/ 114678 h 129191"/>
                <a:gd name="connsiteX2" fmla="*/ 23817 w 116123"/>
                <a:gd name="connsiteY2" fmla="*/ 121057 h 129191"/>
                <a:gd name="connsiteX3" fmla="*/ 110119 w 116123"/>
                <a:gd name="connsiteY3" fmla="*/ 22279 h 129191"/>
                <a:gd name="connsiteX4" fmla="*/ 98033 w 116123"/>
                <a:gd name="connsiteY4" fmla="*/ 1557 h 12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23" h="129191">
                  <a:moveTo>
                    <a:pt x="98033" y="1557"/>
                  </a:moveTo>
                  <a:cubicBezTo>
                    <a:pt x="52571" y="26717"/>
                    <a:pt x="19117" y="66181"/>
                    <a:pt x="711" y="114678"/>
                  </a:cubicBezTo>
                  <a:cubicBezTo>
                    <a:pt x="-4780" y="129140"/>
                    <a:pt x="18326" y="135361"/>
                    <a:pt x="23817" y="121057"/>
                  </a:cubicBezTo>
                  <a:cubicBezTo>
                    <a:pt x="40011" y="78423"/>
                    <a:pt x="70345" y="44269"/>
                    <a:pt x="110119" y="22279"/>
                  </a:cubicBezTo>
                  <a:cubicBezTo>
                    <a:pt x="123588" y="14830"/>
                    <a:pt x="111501" y="-5893"/>
                    <a:pt x="98033" y="1557"/>
                  </a:cubicBezTo>
                  <a:close/>
                </a:path>
              </a:pathLst>
            </a:custGeom>
            <a:solidFill>
              <a:schemeClr val="bg1"/>
            </a:solidFill>
            <a:ln w="39496" cap="flat">
              <a:noFill/>
              <a:prstDash val="solid"/>
              <a:round/>
            </a:ln>
          </p:spPr>
          <p:txBody>
            <a:bodyPr rtlCol="0" anchor="ctr"/>
            <a:lstStyle/>
            <a:p>
              <a:endParaRPr lang="en-LT"/>
            </a:p>
          </p:txBody>
        </p:sp>
        <p:sp>
          <p:nvSpPr>
            <p:cNvPr id="137" name="Freeform 136">
              <a:extLst>
                <a:ext uri="{FF2B5EF4-FFF2-40B4-BE49-F238E27FC236}">
                  <a16:creationId xmlns:a16="http://schemas.microsoft.com/office/drawing/2014/main" id="{259F3F17-9DC3-BA48-B8E5-CAF8D6FEE2A5}"/>
                </a:ext>
              </a:extLst>
            </p:cNvPr>
            <p:cNvSpPr/>
            <p:nvPr/>
          </p:nvSpPr>
          <p:spPr>
            <a:xfrm>
              <a:off x="9839681" y="1932786"/>
              <a:ext cx="23533" cy="92140"/>
            </a:xfrm>
            <a:custGeom>
              <a:avLst/>
              <a:gdLst>
                <a:gd name="connsiteX0" fmla="*/ 23940 w 43608"/>
                <a:gd name="connsiteY0" fmla="*/ 159295 h 170742"/>
                <a:gd name="connsiteX1" fmla="*/ 43373 w 43608"/>
                <a:gd name="connsiteY1" fmla="*/ 11345 h 170742"/>
                <a:gd name="connsiteX2" fmla="*/ 19438 w 43608"/>
                <a:gd name="connsiteY2" fmla="*/ 11345 h 170742"/>
                <a:gd name="connsiteX3" fmla="*/ 5 w 43608"/>
                <a:gd name="connsiteY3" fmla="*/ 159295 h 170742"/>
                <a:gd name="connsiteX4" fmla="*/ 23940 w 43608"/>
                <a:gd name="connsiteY4" fmla="*/ 159295 h 17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08" h="170742">
                  <a:moveTo>
                    <a:pt x="23940" y="159295"/>
                  </a:moveTo>
                  <a:cubicBezTo>
                    <a:pt x="30418" y="109965"/>
                    <a:pt x="36896" y="60635"/>
                    <a:pt x="43373" y="11345"/>
                  </a:cubicBezTo>
                  <a:cubicBezTo>
                    <a:pt x="45387" y="-3949"/>
                    <a:pt x="21452" y="-3791"/>
                    <a:pt x="19438" y="11345"/>
                  </a:cubicBezTo>
                  <a:cubicBezTo>
                    <a:pt x="12960" y="60635"/>
                    <a:pt x="6483" y="109965"/>
                    <a:pt x="5" y="159295"/>
                  </a:cubicBezTo>
                  <a:cubicBezTo>
                    <a:pt x="-2009" y="174549"/>
                    <a:pt x="21926" y="174391"/>
                    <a:pt x="23940" y="159295"/>
                  </a:cubicBezTo>
                  <a:close/>
                </a:path>
              </a:pathLst>
            </a:custGeom>
            <a:solidFill>
              <a:schemeClr val="bg1"/>
            </a:solidFill>
            <a:ln w="39496" cap="flat">
              <a:noFill/>
              <a:prstDash val="solid"/>
              <a:round/>
            </a:ln>
          </p:spPr>
          <p:txBody>
            <a:bodyPr rtlCol="0" anchor="ctr"/>
            <a:lstStyle/>
            <a:p>
              <a:endParaRPr lang="en-LT"/>
            </a:p>
          </p:txBody>
        </p:sp>
        <p:sp>
          <p:nvSpPr>
            <p:cNvPr id="138" name="Freeform 137">
              <a:extLst>
                <a:ext uri="{FF2B5EF4-FFF2-40B4-BE49-F238E27FC236}">
                  <a16:creationId xmlns:a16="http://schemas.microsoft.com/office/drawing/2014/main" id="{B64748D1-B9F5-3C40-9A3A-6FC51C809AE3}"/>
                </a:ext>
              </a:extLst>
            </p:cNvPr>
            <p:cNvSpPr/>
            <p:nvPr/>
          </p:nvSpPr>
          <p:spPr>
            <a:xfrm>
              <a:off x="9758899" y="1736640"/>
              <a:ext cx="61333" cy="107454"/>
            </a:xfrm>
            <a:custGeom>
              <a:avLst/>
              <a:gdLst>
                <a:gd name="connsiteX0" fmla="*/ 110036 w 113655"/>
                <a:gd name="connsiteY0" fmla="*/ 178502 h 199120"/>
                <a:gd name="connsiteX1" fmla="*/ 23141 w 113655"/>
                <a:gd name="connsiteY1" fmla="*/ 8561 h 199120"/>
                <a:gd name="connsiteX2" fmla="*/ 75 w 113655"/>
                <a:gd name="connsiteY2" fmla="*/ 14980 h 199120"/>
                <a:gd name="connsiteX3" fmla="*/ 93091 w 113655"/>
                <a:gd name="connsiteY3" fmla="*/ 195500 h 199120"/>
                <a:gd name="connsiteX4" fmla="*/ 110036 w 113655"/>
                <a:gd name="connsiteY4" fmla="*/ 178502 h 199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55" h="199120">
                  <a:moveTo>
                    <a:pt x="110036" y="178502"/>
                  </a:moveTo>
                  <a:cubicBezTo>
                    <a:pt x="63231" y="131510"/>
                    <a:pt x="34082" y="73978"/>
                    <a:pt x="23141" y="8561"/>
                  </a:cubicBezTo>
                  <a:cubicBezTo>
                    <a:pt x="20573" y="-6614"/>
                    <a:pt x="-2493" y="-155"/>
                    <a:pt x="75" y="14980"/>
                  </a:cubicBezTo>
                  <a:cubicBezTo>
                    <a:pt x="11648" y="84161"/>
                    <a:pt x="43641" y="145853"/>
                    <a:pt x="93091" y="195500"/>
                  </a:cubicBezTo>
                  <a:cubicBezTo>
                    <a:pt x="103954" y="206436"/>
                    <a:pt x="120898" y="189438"/>
                    <a:pt x="110036" y="178502"/>
                  </a:cubicBezTo>
                  <a:close/>
                </a:path>
              </a:pathLst>
            </a:custGeom>
            <a:solidFill>
              <a:schemeClr val="bg1"/>
            </a:solidFill>
            <a:ln w="39496" cap="flat">
              <a:noFill/>
              <a:prstDash val="solid"/>
              <a:round/>
            </a:ln>
          </p:spPr>
          <p:txBody>
            <a:bodyPr rtlCol="0" anchor="ctr"/>
            <a:lstStyle/>
            <a:p>
              <a:endParaRPr lang="en-LT"/>
            </a:p>
          </p:txBody>
        </p:sp>
        <p:sp>
          <p:nvSpPr>
            <p:cNvPr id="139" name="Freeform 138">
              <a:extLst>
                <a:ext uri="{FF2B5EF4-FFF2-40B4-BE49-F238E27FC236}">
                  <a16:creationId xmlns:a16="http://schemas.microsoft.com/office/drawing/2014/main" id="{20A099A8-1963-9244-BF59-7F4337011CFE}"/>
                </a:ext>
              </a:extLst>
            </p:cNvPr>
            <p:cNvSpPr/>
            <p:nvPr/>
          </p:nvSpPr>
          <p:spPr>
            <a:xfrm>
              <a:off x="9547041" y="1681313"/>
              <a:ext cx="147660" cy="34753"/>
            </a:xfrm>
            <a:custGeom>
              <a:avLst/>
              <a:gdLst>
                <a:gd name="connsiteX0" fmla="*/ 5916 w 273626"/>
                <a:gd name="connsiteY0" fmla="*/ 22002 h 64400"/>
                <a:gd name="connsiteX1" fmla="*/ 264863 w 273626"/>
                <a:gd name="connsiteY1" fmla="*/ 55087 h 64400"/>
                <a:gd name="connsiteX2" fmla="*/ 258504 w 273626"/>
                <a:gd name="connsiteY2" fmla="*/ 31948 h 64400"/>
                <a:gd name="connsiteX3" fmla="*/ 18002 w 273626"/>
                <a:gd name="connsiteY3" fmla="*/ 1280 h 64400"/>
                <a:gd name="connsiteX4" fmla="*/ 5916 w 273626"/>
                <a:gd name="connsiteY4" fmla="*/ 22002 h 6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626" h="64400">
                  <a:moveTo>
                    <a:pt x="5916" y="22002"/>
                  </a:moveTo>
                  <a:cubicBezTo>
                    <a:pt x="87637" y="63170"/>
                    <a:pt x="175440" y="74462"/>
                    <a:pt x="264863" y="55087"/>
                  </a:cubicBezTo>
                  <a:cubicBezTo>
                    <a:pt x="279952" y="51838"/>
                    <a:pt x="273552" y="28699"/>
                    <a:pt x="258504" y="31948"/>
                  </a:cubicBezTo>
                  <a:cubicBezTo>
                    <a:pt x="175599" y="49897"/>
                    <a:pt x="93799" y="39515"/>
                    <a:pt x="18002" y="1280"/>
                  </a:cubicBezTo>
                  <a:cubicBezTo>
                    <a:pt x="4297" y="-5614"/>
                    <a:pt x="-7869" y="15069"/>
                    <a:pt x="5916" y="22002"/>
                  </a:cubicBezTo>
                  <a:close/>
                </a:path>
              </a:pathLst>
            </a:custGeom>
            <a:solidFill>
              <a:schemeClr val="bg1"/>
            </a:solidFill>
            <a:ln w="39496" cap="flat">
              <a:noFill/>
              <a:prstDash val="solid"/>
              <a:round/>
            </a:ln>
          </p:spPr>
          <p:txBody>
            <a:bodyPr rtlCol="0" anchor="ctr"/>
            <a:lstStyle/>
            <a:p>
              <a:endParaRPr lang="en-LT"/>
            </a:p>
          </p:txBody>
        </p:sp>
        <p:sp>
          <p:nvSpPr>
            <p:cNvPr id="140" name="Freeform 139">
              <a:extLst>
                <a:ext uri="{FF2B5EF4-FFF2-40B4-BE49-F238E27FC236}">
                  <a16:creationId xmlns:a16="http://schemas.microsoft.com/office/drawing/2014/main" id="{AB7D4A71-0448-E747-AF96-75BD1675C28A}"/>
                </a:ext>
              </a:extLst>
            </p:cNvPr>
            <p:cNvSpPr/>
            <p:nvPr/>
          </p:nvSpPr>
          <p:spPr>
            <a:xfrm>
              <a:off x="9314972" y="1813558"/>
              <a:ext cx="89631" cy="371043"/>
            </a:xfrm>
            <a:custGeom>
              <a:avLst/>
              <a:gdLst>
                <a:gd name="connsiteX0" fmla="*/ 157342 w 166093"/>
                <a:gd name="connsiteY0" fmla="*/ 27241 h 687570"/>
                <a:gd name="connsiteX1" fmla="*/ 164649 w 166093"/>
                <a:gd name="connsiteY1" fmla="*/ 17969 h 687570"/>
                <a:gd name="connsiteX2" fmla="*/ 159357 w 166093"/>
                <a:gd name="connsiteY2" fmla="*/ 1248 h 687570"/>
                <a:gd name="connsiteX3" fmla="*/ 143952 w 166093"/>
                <a:gd name="connsiteY3" fmla="*/ 6241 h 687570"/>
                <a:gd name="connsiteX4" fmla="*/ 139607 w 166093"/>
                <a:gd name="connsiteY4" fmla="*/ 11154 h 687570"/>
                <a:gd name="connsiteX5" fmla="*/ 128824 w 166093"/>
                <a:gd name="connsiteY5" fmla="*/ 682912 h 687570"/>
                <a:gd name="connsiteX6" fmla="*/ 138225 w 166093"/>
                <a:gd name="connsiteY6" fmla="*/ 687508 h 687570"/>
                <a:gd name="connsiteX7" fmla="*/ 145572 w 166093"/>
                <a:gd name="connsiteY7" fmla="*/ 684932 h 687570"/>
                <a:gd name="connsiteX8" fmla="*/ 147626 w 166093"/>
                <a:gd name="connsiteY8" fmla="*/ 668093 h 687570"/>
                <a:gd name="connsiteX9" fmla="*/ 157342 w 166093"/>
                <a:gd name="connsiteY9" fmla="*/ 27241 h 687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093" h="687570">
                  <a:moveTo>
                    <a:pt x="157342" y="27241"/>
                  </a:moveTo>
                  <a:cubicBezTo>
                    <a:pt x="162280" y="21773"/>
                    <a:pt x="163622" y="20267"/>
                    <a:pt x="164649" y="17969"/>
                  </a:cubicBezTo>
                  <a:cubicBezTo>
                    <a:pt x="167533" y="11986"/>
                    <a:pt x="165321" y="4022"/>
                    <a:pt x="159357" y="1248"/>
                  </a:cubicBezTo>
                  <a:cubicBezTo>
                    <a:pt x="153313" y="-1604"/>
                    <a:pt x="146677" y="258"/>
                    <a:pt x="143952" y="6241"/>
                  </a:cubicBezTo>
                  <a:cubicBezTo>
                    <a:pt x="143202" y="7113"/>
                    <a:pt x="141740" y="8737"/>
                    <a:pt x="139607" y="11154"/>
                  </a:cubicBezTo>
                  <a:cubicBezTo>
                    <a:pt x="53266" y="106881"/>
                    <a:pt x="-120603" y="363991"/>
                    <a:pt x="128824" y="682912"/>
                  </a:cubicBezTo>
                  <a:cubicBezTo>
                    <a:pt x="131194" y="685923"/>
                    <a:pt x="134710" y="687508"/>
                    <a:pt x="138225" y="687508"/>
                  </a:cubicBezTo>
                  <a:cubicBezTo>
                    <a:pt x="140832" y="687508"/>
                    <a:pt x="143438" y="686675"/>
                    <a:pt x="145572" y="684932"/>
                  </a:cubicBezTo>
                  <a:cubicBezTo>
                    <a:pt x="150825" y="680851"/>
                    <a:pt x="151694" y="673323"/>
                    <a:pt x="147626" y="668093"/>
                  </a:cubicBezTo>
                  <a:cubicBezTo>
                    <a:pt x="-90545" y="363516"/>
                    <a:pt x="75108" y="118491"/>
                    <a:pt x="157342" y="27241"/>
                  </a:cubicBezTo>
                  <a:close/>
                </a:path>
              </a:pathLst>
            </a:custGeom>
            <a:solidFill>
              <a:schemeClr val="bg1"/>
            </a:solidFill>
            <a:ln w="39496" cap="flat">
              <a:noFill/>
              <a:prstDash val="solid"/>
              <a:round/>
            </a:ln>
          </p:spPr>
          <p:txBody>
            <a:bodyPr rtlCol="0" anchor="ctr"/>
            <a:lstStyle/>
            <a:p>
              <a:endParaRPr lang="en-LT"/>
            </a:p>
          </p:txBody>
        </p:sp>
        <p:sp>
          <p:nvSpPr>
            <p:cNvPr id="141" name="Freeform 140">
              <a:extLst>
                <a:ext uri="{FF2B5EF4-FFF2-40B4-BE49-F238E27FC236}">
                  <a16:creationId xmlns:a16="http://schemas.microsoft.com/office/drawing/2014/main" id="{A6B7DB30-B3DC-D140-8AAE-BCDEB7BE8430}"/>
                </a:ext>
              </a:extLst>
            </p:cNvPr>
            <p:cNvSpPr/>
            <p:nvPr/>
          </p:nvSpPr>
          <p:spPr>
            <a:xfrm>
              <a:off x="9570472" y="1972385"/>
              <a:ext cx="230750" cy="278542"/>
            </a:xfrm>
            <a:custGeom>
              <a:avLst/>
              <a:gdLst>
                <a:gd name="connsiteX0" fmla="*/ 301119 w 427598"/>
                <a:gd name="connsiteY0" fmla="*/ 356000 h 516160"/>
                <a:gd name="connsiteX1" fmla="*/ 15274 w 427598"/>
                <a:gd name="connsiteY1" fmla="*/ 491985 h 516160"/>
                <a:gd name="connsiteX2" fmla="*/ 11324 w 427598"/>
                <a:gd name="connsiteY2" fmla="*/ 492143 h 516160"/>
                <a:gd name="connsiteX3" fmla="*/ -129 w 427598"/>
                <a:gd name="connsiteY3" fmla="*/ 504624 h 516160"/>
                <a:gd name="connsiteX4" fmla="*/ 11838 w 427598"/>
                <a:gd name="connsiteY4" fmla="*/ 516114 h 516160"/>
                <a:gd name="connsiteX5" fmla="*/ 12351 w 427598"/>
                <a:gd name="connsiteY5" fmla="*/ 516114 h 516160"/>
                <a:gd name="connsiteX6" fmla="*/ 16104 w 427598"/>
                <a:gd name="connsiteY6" fmla="*/ 515956 h 516160"/>
                <a:gd name="connsiteX7" fmla="*/ 320236 w 427598"/>
                <a:gd name="connsiteY7" fmla="*/ 370463 h 516160"/>
                <a:gd name="connsiteX8" fmla="*/ 423680 w 427598"/>
                <a:gd name="connsiteY8" fmla="*/ 10058 h 516160"/>
                <a:gd name="connsiteX9" fmla="*/ 410015 w 427598"/>
                <a:gd name="connsiteY9" fmla="*/ 113 h 516160"/>
                <a:gd name="connsiteX10" fmla="*/ 400061 w 427598"/>
                <a:gd name="connsiteY10" fmla="*/ 13862 h 516160"/>
                <a:gd name="connsiteX11" fmla="*/ 301119 w 427598"/>
                <a:gd name="connsiteY11" fmla="*/ 356000 h 516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7598" h="516160">
                  <a:moveTo>
                    <a:pt x="301119" y="356000"/>
                  </a:moveTo>
                  <a:cubicBezTo>
                    <a:pt x="256684" y="414959"/>
                    <a:pt x="170975" y="486438"/>
                    <a:pt x="15274" y="491985"/>
                  </a:cubicBezTo>
                  <a:lnTo>
                    <a:pt x="11324" y="492143"/>
                  </a:lnTo>
                  <a:cubicBezTo>
                    <a:pt x="4729" y="492421"/>
                    <a:pt x="-406" y="498007"/>
                    <a:pt x="-129" y="504624"/>
                  </a:cubicBezTo>
                  <a:cubicBezTo>
                    <a:pt x="147" y="511082"/>
                    <a:pt x="5440" y="516114"/>
                    <a:pt x="11838" y="516114"/>
                  </a:cubicBezTo>
                  <a:lnTo>
                    <a:pt x="12351" y="516114"/>
                  </a:lnTo>
                  <a:lnTo>
                    <a:pt x="16104" y="515956"/>
                  </a:lnTo>
                  <a:cubicBezTo>
                    <a:pt x="181243" y="510092"/>
                    <a:pt x="272642" y="433581"/>
                    <a:pt x="320236" y="370463"/>
                  </a:cubicBezTo>
                  <a:cubicBezTo>
                    <a:pt x="446707" y="202623"/>
                    <a:pt x="428617" y="40765"/>
                    <a:pt x="423680" y="10058"/>
                  </a:cubicBezTo>
                  <a:cubicBezTo>
                    <a:pt x="422614" y="3481"/>
                    <a:pt x="416334" y="-957"/>
                    <a:pt x="410015" y="113"/>
                  </a:cubicBezTo>
                  <a:cubicBezTo>
                    <a:pt x="403497" y="1143"/>
                    <a:pt x="398994" y="7324"/>
                    <a:pt x="400061" y="13862"/>
                  </a:cubicBezTo>
                  <a:cubicBezTo>
                    <a:pt x="404722" y="42905"/>
                    <a:pt x="421745" y="195926"/>
                    <a:pt x="301119" y="356000"/>
                  </a:cubicBezTo>
                  <a:close/>
                </a:path>
              </a:pathLst>
            </a:custGeom>
            <a:solidFill>
              <a:schemeClr val="bg1"/>
            </a:solidFill>
            <a:ln w="39496" cap="flat">
              <a:noFill/>
              <a:prstDash val="solid"/>
              <a:round/>
            </a:ln>
          </p:spPr>
          <p:txBody>
            <a:bodyPr rtlCol="0" anchor="ctr"/>
            <a:lstStyle/>
            <a:p>
              <a:endParaRPr lang="en-LT"/>
            </a:p>
          </p:txBody>
        </p:sp>
      </p:grpSp>
    </p:spTree>
    <p:extLst>
      <p:ext uri="{BB962C8B-B14F-4D97-AF65-F5344CB8AC3E}">
        <p14:creationId xmlns:p14="http://schemas.microsoft.com/office/powerpoint/2010/main" val="12762575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73A4D"/>
        </a:solidFill>
        <a:effectLst/>
      </p:bgPr>
    </p:bg>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92D37F93-39B0-4F4E-BEF6-CD19B2F25EFC}"/>
              </a:ext>
            </a:extLst>
          </p:cNvPr>
          <p:cNvGrpSpPr/>
          <p:nvPr/>
        </p:nvGrpSpPr>
        <p:grpSpPr>
          <a:xfrm>
            <a:off x="-842559" y="494367"/>
            <a:ext cx="827568" cy="828000"/>
            <a:chOff x="-842559" y="468160"/>
            <a:chExt cx="827568" cy="828000"/>
          </a:xfrm>
        </p:grpSpPr>
        <p:sp>
          <p:nvSpPr>
            <p:cNvPr id="26" name="Oval 25">
              <a:extLst>
                <a:ext uri="{FF2B5EF4-FFF2-40B4-BE49-F238E27FC236}">
                  <a16:creationId xmlns:a16="http://schemas.microsoft.com/office/drawing/2014/main" id="{714A7735-60E6-5A45-A4B5-47F34D8DE53E}"/>
                </a:ext>
              </a:extLst>
            </p:cNvPr>
            <p:cNvSpPr>
              <a:spLocks noChangeAspect="1"/>
            </p:cNvSpPr>
            <p:nvPr/>
          </p:nvSpPr>
          <p:spPr>
            <a:xfrm>
              <a:off x="-842559" y="46816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27" name="Graphic 26" descr="Lightbulb">
              <a:extLst>
                <a:ext uri="{FF2B5EF4-FFF2-40B4-BE49-F238E27FC236}">
                  <a16:creationId xmlns:a16="http://schemas.microsoft.com/office/drawing/2014/main" id="{ABC37FC0-01B6-724C-9974-E641A2CDB0E0}"/>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780293" y="530642"/>
              <a:ext cx="703036" cy="703036"/>
            </a:xfrm>
            <a:prstGeom prst="rect">
              <a:avLst/>
            </a:prstGeom>
          </p:spPr>
        </p:pic>
      </p:grpSp>
      <p:grpSp>
        <p:nvGrpSpPr>
          <p:cNvPr id="28" name="Group 27">
            <a:extLst>
              <a:ext uri="{FF2B5EF4-FFF2-40B4-BE49-F238E27FC236}">
                <a16:creationId xmlns:a16="http://schemas.microsoft.com/office/drawing/2014/main" id="{6C82E1FA-BF29-C84B-A1CE-1C4BC01B4144}"/>
              </a:ext>
            </a:extLst>
          </p:cNvPr>
          <p:cNvGrpSpPr/>
          <p:nvPr/>
        </p:nvGrpSpPr>
        <p:grpSpPr>
          <a:xfrm>
            <a:off x="-842559" y="1741580"/>
            <a:ext cx="827568" cy="828000"/>
            <a:chOff x="-842559" y="1741580"/>
            <a:chExt cx="827568" cy="828000"/>
          </a:xfrm>
        </p:grpSpPr>
        <p:sp>
          <p:nvSpPr>
            <p:cNvPr id="29" name="Oval 28">
              <a:extLst>
                <a:ext uri="{FF2B5EF4-FFF2-40B4-BE49-F238E27FC236}">
                  <a16:creationId xmlns:a16="http://schemas.microsoft.com/office/drawing/2014/main" id="{135F47C7-CC9D-6E4E-8F0D-42D840139CD2}"/>
                </a:ext>
              </a:extLst>
            </p:cNvPr>
            <p:cNvSpPr>
              <a:spLocks noChangeAspect="1"/>
            </p:cNvSpPr>
            <p:nvPr/>
          </p:nvSpPr>
          <p:spPr>
            <a:xfrm>
              <a:off x="-842559" y="174158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0" name="Graphic 29" descr="Upward trend">
              <a:extLst>
                <a:ext uri="{FF2B5EF4-FFF2-40B4-BE49-F238E27FC236}">
                  <a16:creationId xmlns:a16="http://schemas.microsoft.com/office/drawing/2014/main" id="{DE552747-4107-DB4A-84C0-6B26C68E78B9}"/>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734943" y="1849412"/>
              <a:ext cx="612336" cy="612336"/>
            </a:xfrm>
            <a:prstGeom prst="rect">
              <a:avLst/>
            </a:prstGeom>
          </p:spPr>
        </p:pic>
      </p:grpSp>
      <p:grpSp>
        <p:nvGrpSpPr>
          <p:cNvPr id="31" name="Group 30">
            <a:extLst>
              <a:ext uri="{FF2B5EF4-FFF2-40B4-BE49-F238E27FC236}">
                <a16:creationId xmlns:a16="http://schemas.microsoft.com/office/drawing/2014/main" id="{966C0A95-035B-A240-A97F-000AF3833F50}"/>
              </a:ext>
            </a:extLst>
          </p:cNvPr>
          <p:cNvGrpSpPr/>
          <p:nvPr/>
        </p:nvGrpSpPr>
        <p:grpSpPr>
          <a:xfrm>
            <a:off x="-842559" y="4288420"/>
            <a:ext cx="827568" cy="828000"/>
            <a:chOff x="-842559" y="4288420"/>
            <a:chExt cx="827568" cy="828000"/>
          </a:xfrm>
        </p:grpSpPr>
        <p:sp>
          <p:nvSpPr>
            <p:cNvPr id="32" name="Oval 31">
              <a:extLst>
                <a:ext uri="{FF2B5EF4-FFF2-40B4-BE49-F238E27FC236}">
                  <a16:creationId xmlns:a16="http://schemas.microsoft.com/office/drawing/2014/main" id="{765FC6E6-F818-204F-9C83-D4B41FD06DDB}"/>
                </a:ext>
              </a:extLst>
            </p:cNvPr>
            <p:cNvSpPr>
              <a:spLocks noChangeAspect="1"/>
            </p:cNvSpPr>
            <p:nvPr/>
          </p:nvSpPr>
          <p:spPr>
            <a:xfrm>
              <a:off x="-842559" y="428842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3" name="Graphic 32" descr="Single gear">
              <a:extLst>
                <a:ext uri="{FF2B5EF4-FFF2-40B4-BE49-F238E27FC236}">
                  <a16:creationId xmlns:a16="http://schemas.microsoft.com/office/drawing/2014/main" id="{177CD30B-4A7F-7449-A353-7D7C0785AC3A}"/>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780293" y="4363185"/>
              <a:ext cx="724649" cy="724649"/>
            </a:xfrm>
            <a:prstGeom prst="rect">
              <a:avLst/>
            </a:prstGeom>
          </p:spPr>
        </p:pic>
      </p:grpSp>
      <p:grpSp>
        <p:nvGrpSpPr>
          <p:cNvPr id="34" name="Group 33">
            <a:extLst>
              <a:ext uri="{FF2B5EF4-FFF2-40B4-BE49-F238E27FC236}">
                <a16:creationId xmlns:a16="http://schemas.microsoft.com/office/drawing/2014/main" id="{74DDCBC1-263E-6046-B918-E716B0BA21A0}"/>
              </a:ext>
            </a:extLst>
          </p:cNvPr>
          <p:cNvGrpSpPr/>
          <p:nvPr/>
        </p:nvGrpSpPr>
        <p:grpSpPr>
          <a:xfrm>
            <a:off x="866458" y="5561840"/>
            <a:ext cx="827568" cy="828000"/>
            <a:chOff x="-842559" y="5561839"/>
            <a:chExt cx="827568" cy="828000"/>
          </a:xfrm>
        </p:grpSpPr>
        <p:sp>
          <p:nvSpPr>
            <p:cNvPr id="35" name="Oval 34">
              <a:extLst>
                <a:ext uri="{FF2B5EF4-FFF2-40B4-BE49-F238E27FC236}">
                  <a16:creationId xmlns:a16="http://schemas.microsoft.com/office/drawing/2014/main" id="{9885C5E1-EA20-F948-94E2-D0509EDD803E}"/>
                </a:ext>
              </a:extLst>
            </p:cNvPr>
            <p:cNvSpPr>
              <a:spLocks noChangeAspect="1"/>
            </p:cNvSpPr>
            <p:nvPr/>
          </p:nvSpPr>
          <p:spPr>
            <a:xfrm>
              <a:off x="-842559" y="5561839"/>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6" name="Graphic 35" descr="Users">
              <a:extLst>
                <a:ext uri="{FF2B5EF4-FFF2-40B4-BE49-F238E27FC236}">
                  <a16:creationId xmlns:a16="http://schemas.microsoft.com/office/drawing/2014/main" id="{216C4879-5CCC-A24F-9805-D98864A383DB}"/>
                </a:ext>
              </a:extLst>
            </p:cNvPr>
            <p:cNvPicPr>
              <a:picLocks noChangeAspect="1"/>
            </p:cNvPicPr>
            <p:nvPr/>
          </p:nvPicPr>
          <p:blipFill>
            <a:blip r:embed="rId9">
              <a:extLst>
                <a:ext uri="{96DAC541-7B7A-43D3-8B79-37D633B846F1}">
                  <asvg:svgBlip xmlns="" xmlns:asvg="http://schemas.microsoft.com/office/drawing/2016/SVG/main" r:embed="rId10"/>
                </a:ext>
              </a:extLst>
            </a:blip>
            <a:stretch>
              <a:fillRect/>
            </a:stretch>
          </p:blipFill>
          <p:spPr>
            <a:xfrm>
              <a:off x="-777564" y="5614879"/>
              <a:ext cx="721920" cy="721920"/>
            </a:xfrm>
            <a:prstGeom prst="rect">
              <a:avLst/>
            </a:prstGeom>
          </p:spPr>
        </p:pic>
      </p:grpSp>
      <p:grpSp>
        <p:nvGrpSpPr>
          <p:cNvPr id="37" name="Group 36">
            <a:extLst>
              <a:ext uri="{FF2B5EF4-FFF2-40B4-BE49-F238E27FC236}">
                <a16:creationId xmlns:a16="http://schemas.microsoft.com/office/drawing/2014/main" id="{977D2DA6-C905-9841-B8F9-EE811590B2DC}"/>
              </a:ext>
            </a:extLst>
          </p:cNvPr>
          <p:cNvGrpSpPr/>
          <p:nvPr/>
        </p:nvGrpSpPr>
        <p:grpSpPr>
          <a:xfrm>
            <a:off x="-842559" y="3015000"/>
            <a:ext cx="827568" cy="828000"/>
            <a:chOff x="-837416" y="3015000"/>
            <a:chExt cx="827568" cy="828000"/>
          </a:xfrm>
        </p:grpSpPr>
        <p:sp>
          <p:nvSpPr>
            <p:cNvPr id="38" name="Oval 37">
              <a:extLst>
                <a:ext uri="{FF2B5EF4-FFF2-40B4-BE49-F238E27FC236}">
                  <a16:creationId xmlns:a16="http://schemas.microsoft.com/office/drawing/2014/main" id="{869C037A-F1E1-D142-A24D-72F457CD5699}"/>
                </a:ext>
              </a:extLst>
            </p:cNvPr>
            <p:cNvSpPr>
              <a:spLocks noChangeAspect="1"/>
            </p:cNvSpPr>
            <p:nvPr/>
          </p:nvSpPr>
          <p:spPr>
            <a:xfrm>
              <a:off x="-837416" y="3015000"/>
              <a:ext cx="827568" cy="82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p>
          </p:txBody>
        </p:sp>
        <p:pic>
          <p:nvPicPr>
            <p:cNvPr id="39" name="Graphic 38" descr="Coffee">
              <a:extLst>
                <a:ext uri="{FF2B5EF4-FFF2-40B4-BE49-F238E27FC236}">
                  <a16:creationId xmlns:a16="http://schemas.microsoft.com/office/drawing/2014/main" id="{9D5AEAE1-3F37-7941-A462-30051C5B4ED5}"/>
                </a:ext>
              </a:extLst>
            </p:cNvPr>
            <p:cNvPicPr>
              <a:picLocks noChangeAspect="1"/>
            </p:cNvPicPr>
            <p:nvPr/>
          </p:nvPicPr>
          <p:blipFill>
            <a:blip r:embed="rId11">
              <a:extLst>
                <a:ext uri="{96DAC541-7B7A-43D3-8B79-37D633B846F1}">
                  <asvg:svgBlip xmlns="" xmlns:asvg="http://schemas.microsoft.com/office/drawing/2016/SVG/main" r:embed="rId12"/>
                </a:ext>
              </a:extLst>
            </a:blip>
            <a:stretch>
              <a:fillRect/>
            </a:stretch>
          </p:blipFill>
          <p:spPr>
            <a:xfrm>
              <a:off x="-698172" y="3065465"/>
              <a:ext cx="620915" cy="620915"/>
            </a:xfrm>
            <a:prstGeom prst="rect">
              <a:avLst/>
            </a:prstGeom>
          </p:spPr>
        </p:pic>
      </p:grpSp>
      <p:sp>
        <p:nvSpPr>
          <p:cNvPr id="40" name="Freeform 39">
            <a:extLst>
              <a:ext uri="{FF2B5EF4-FFF2-40B4-BE49-F238E27FC236}">
                <a16:creationId xmlns:a16="http://schemas.microsoft.com/office/drawing/2014/main" id="{098E8DDA-9A8C-484E-8557-66FEB1E316C9}"/>
              </a:ext>
            </a:extLst>
          </p:cNvPr>
          <p:cNvSpPr/>
          <p:nvPr/>
        </p:nvSpPr>
        <p:spPr>
          <a:xfrm>
            <a:off x="0" y="-5987562"/>
            <a:ext cx="1280242" cy="23926799"/>
          </a:xfrm>
          <a:custGeom>
            <a:avLst/>
            <a:gdLst>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0" fmla="*/ 1280160 w 1280160"/>
              <a:gd name="connsiteY0" fmla="*/ 0 h 23926799"/>
              <a:gd name="connsiteX1" fmla="*/ 1280160 w 1280160"/>
              <a:gd name="connsiteY1" fmla="*/ 11137327 h 23926799"/>
              <a:gd name="connsiteX2" fmla="*/ 659246 w 1280160"/>
              <a:gd name="connsiteY2" fmla="*/ 11963399 h 23926799"/>
              <a:gd name="connsiteX3" fmla="*/ 1280160 w 1280160"/>
              <a:gd name="connsiteY3" fmla="*/ 12789472 h 23926799"/>
              <a:gd name="connsiteX4" fmla="*/ 1280160 w 1280160"/>
              <a:gd name="connsiteY4" fmla="*/ 23926799 h 23926799"/>
              <a:gd name="connsiteX5" fmla="*/ 0 w 1280160"/>
              <a:gd name="connsiteY5" fmla="*/ 23926799 h 23926799"/>
              <a:gd name="connsiteX6" fmla="*/ 0 w 1280160"/>
              <a:gd name="connsiteY6" fmla="*/ 0 h 23926799"/>
              <a:gd name="connsiteX7" fmla="*/ 1280160 w 1280160"/>
              <a:gd name="connsiteY7" fmla="*/ 0 h 23926799"/>
              <a:gd name="connsiteX0" fmla="*/ 1280160 w 1280182"/>
              <a:gd name="connsiteY0" fmla="*/ 0 h 23926799"/>
              <a:gd name="connsiteX1" fmla="*/ 1280160 w 1280182"/>
              <a:gd name="connsiteY1" fmla="*/ 11137327 h 23926799"/>
              <a:gd name="connsiteX2" fmla="*/ 659246 w 1280182"/>
              <a:gd name="connsiteY2" fmla="*/ 11963399 h 23926799"/>
              <a:gd name="connsiteX3" fmla="*/ 1280160 w 1280182"/>
              <a:gd name="connsiteY3" fmla="*/ 12789472 h 23926799"/>
              <a:gd name="connsiteX4" fmla="*/ 1280160 w 1280182"/>
              <a:gd name="connsiteY4" fmla="*/ 23926799 h 23926799"/>
              <a:gd name="connsiteX5" fmla="*/ 0 w 1280182"/>
              <a:gd name="connsiteY5" fmla="*/ 23926799 h 23926799"/>
              <a:gd name="connsiteX6" fmla="*/ 0 w 1280182"/>
              <a:gd name="connsiteY6" fmla="*/ 0 h 23926799"/>
              <a:gd name="connsiteX7" fmla="*/ 1280160 w 1280182"/>
              <a:gd name="connsiteY7" fmla="*/ 0 h 23926799"/>
              <a:gd name="connsiteX0" fmla="*/ 1280160 w 1280231"/>
              <a:gd name="connsiteY0" fmla="*/ 0 h 23926799"/>
              <a:gd name="connsiteX1" fmla="*/ 1280160 w 1280231"/>
              <a:gd name="connsiteY1" fmla="*/ 11137327 h 23926799"/>
              <a:gd name="connsiteX2" fmla="*/ 659246 w 1280231"/>
              <a:gd name="connsiteY2" fmla="*/ 11963399 h 23926799"/>
              <a:gd name="connsiteX3" fmla="*/ 1280160 w 1280231"/>
              <a:gd name="connsiteY3" fmla="*/ 12789472 h 23926799"/>
              <a:gd name="connsiteX4" fmla="*/ 1280160 w 1280231"/>
              <a:gd name="connsiteY4" fmla="*/ 23926799 h 23926799"/>
              <a:gd name="connsiteX5" fmla="*/ 0 w 1280231"/>
              <a:gd name="connsiteY5" fmla="*/ 23926799 h 23926799"/>
              <a:gd name="connsiteX6" fmla="*/ 0 w 1280231"/>
              <a:gd name="connsiteY6" fmla="*/ 0 h 23926799"/>
              <a:gd name="connsiteX7" fmla="*/ 1280160 w 128023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1"/>
              <a:gd name="connsiteY0" fmla="*/ 0 h 23926799"/>
              <a:gd name="connsiteX1" fmla="*/ 1280160 w 1280241"/>
              <a:gd name="connsiteY1" fmla="*/ 11137327 h 23926799"/>
              <a:gd name="connsiteX2" fmla="*/ 742373 w 1280241"/>
              <a:gd name="connsiteY2" fmla="*/ 11966863 h 23926799"/>
              <a:gd name="connsiteX3" fmla="*/ 1280160 w 1280241"/>
              <a:gd name="connsiteY3" fmla="*/ 12789472 h 23926799"/>
              <a:gd name="connsiteX4" fmla="*/ 1280160 w 1280241"/>
              <a:gd name="connsiteY4" fmla="*/ 23926799 h 23926799"/>
              <a:gd name="connsiteX5" fmla="*/ 0 w 1280241"/>
              <a:gd name="connsiteY5" fmla="*/ 23926799 h 23926799"/>
              <a:gd name="connsiteX6" fmla="*/ 0 w 1280241"/>
              <a:gd name="connsiteY6" fmla="*/ 0 h 23926799"/>
              <a:gd name="connsiteX7" fmla="*/ 1280160 w 1280241"/>
              <a:gd name="connsiteY7" fmla="*/ 0 h 23926799"/>
              <a:gd name="connsiteX0" fmla="*/ 1280160 w 1280242"/>
              <a:gd name="connsiteY0" fmla="*/ 0 h 23926799"/>
              <a:gd name="connsiteX1" fmla="*/ 1280160 w 1280242"/>
              <a:gd name="connsiteY1" fmla="*/ 11137327 h 23926799"/>
              <a:gd name="connsiteX2" fmla="*/ 742373 w 1280242"/>
              <a:gd name="connsiteY2" fmla="*/ 11966863 h 23926799"/>
              <a:gd name="connsiteX3" fmla="*/ 1280160 w 1280242"/>
              <a:gd name="connsiteY3" fmla="*/ 12789472 h 23926799"/>
              <a:gd name="connsiteX4" fmla="*/ 1280160 w 1280242"/>
              <a:gd name="connsiteY4" fmla="*/ 23926799 h 23926799"/>
              <a:gd name="connsiteX5" fmla="*/ 0 w 1280242"/>
              <a:gd name="connsiteY5" fmla="*/ 23926799 h 23926799"/>
              <a:gd name="connsiteX6" fmla="*/ 0 w 1280242"/>
              <a:gd name="connsiteY6" fmla="*/ 0 h 23926799"/>
              <a:gd name="connsiteX7" fmla="*/ 1280160 w 1280242"/>
              <a:gd name="connsiteY7" fmla="*/ 0 h 2392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0242" h="23926799">
                <a:moveTo>
                  <a:pt x="1280160" y="0"/>
                </a:moveTo>
                <a:lnTo>
                  <a:pt x="1280160" y="11137327"/>
                </a:lnTo>
                <a:cubicBezTo>
                  <a:pt x="1287934" y="11540842"/>
                  <a:pt x="743219" y="11525247"/>
                  <a:pt x="742373" y="11966863"/>
                </a:cubicBezTo>
                <a:cubicBezTo>
                  <a:pt x="741527" y="12408479"/>
                  <a:pt x="1284472" y="12396353"/>
                  <a:pt x="1280160" y="12789472"/>
                </a:cubicBezTo>
                <a:lnTo>
                  <a:pt x="1280160" y="23926799"/>
                </a:lnTo>
                <a:lnTo>
                  <a:pt x="0" y="23926799"/>
                </a:lnTo>
                <a:lnTo>
                  <a:pt x="0" y="0"/>
                </a:lnTo>
                <a:lnTo>
                  <a:pt x="128016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LT"/>
          </a:p>
        </p:txBody>
      </p:sp>
      <p:pic>
        <p:nvPicPr>
          <p:cNvPr id="41" name="Graphic 40" descr="Lightbulb">
            <a:hlinkClick r:id="" action="ppaction://hlinkshowjump?jump=firstslide"/>
            <a:extLst>
              <a:ext uri="{FF2B5EF4-FFF2-40B4-BE49-F238E27FC236}">
                <a16:creationId xmlns:a16="http://schemas.microsoft.com/office/drawing/2014/main" id="{C312EB5C-7071-F74A-BF1D-1BD63290B4FC}"/>
              </a:ext>
            </a:extLst>
          </p:cNvPr>
          <p:cNvPicPr>
            <a:picLocks noChangeAspect="1"/>
          </p:cNvPicPr>
          <p:nvPr/>
        </p:nvPicPr>
        <p:blipFill>
          <a:blip r:embed="rId13">
            <a:extLst>
              <a:ext uri="{96DAC541-7B7A-43D3-8B79-37D633B846F1}">
                <asvg:svgBlip xmlns="" xmlns:asvg="http://schemas.microsoft.com/office/drawing/2016/SVG/main" r:embed="rId14"/>
              </a:ext>
            </a:extLst>
          </a:blip>
          <a:stretch>
            <a:fillRect/>
          </a:stretch>
        </p:blipFill>
        <p:spPr>
          <a:xfrm>
            <a:off x="277756" y="530641"/>
            <a:ext cx="703036" cy="703036"/>
          </a:xfrm>
          <a:prstGeom prst="rect">
            <a:avLst/>
          </a:prstGeom>
        </p:spPr>
      </p:pic>
      <p:pic>
        <p:nvPicPr>
          <p:cNvPr id="42" name="Graphic 41" descr="Upward trend">
            <a:hlinkClick r:id="rId15" action="ppaction://hlinksldjump"/>
            <a:extLst>
              <a:ext uri="{FF2B5EF4-FFF2-40B4-BE49-F238E27FC236}">
                <a16:creationId xmlns:a16="http://schemas.microsoft.com/office/drawing/2014/main" id="{995DB691-ACC1-2C4F-8852-0A1EFAFA6BCA}"/>
              </a:ext>
            </a:extLst>
          </p:cNvPr>
          <p:cNvPicPr>
            <a:picLocks noChangeAspect="1"/>
          </p:cNvPicPr>
          <p:nvPr/>
        </p:nvPicPr>
        <p:blipFill>
          <a:blip r:embed="rId16">
            <a:extLst>
              <a:ext uri="{96DAC541-7B7A-43D3-8B79-37D633B846F1}">
                <asvg:svgBlip xmlns="" xmlns:asvg="http://schemas.microsoft.com/office/drawing/2016/SVG/main" r:embed="rId17"/>
              </a:ext>
            </a:extLst>
          </a:blip>
          <a:stretch>
            <a:fillRect/>
          </a:stretch>
        </p:blipFill>
        <p:spPr>
          <a:xfrm>
            <a:off x="323106" y="1849411"/>
            <a:ext cx="612336" cy="612336"/>
          </a:xfrm>
          <a:prstGeom prst="rect">
            <a:avLst/>
          </a:prstGeom>
        </p:spPr>
      </p:pic>
      <p:pic>
        <p:nvPicPr>
          <p:cNvPr id="43" name="Graphic 42" descr="Coffee">
            <a:hlinkClick r:id="rId18" action="ppaction://hlinksldjump"/>
            <a:extLst>
              <a:ext uri="{FF2B5EF4-FFF2-40B4-BE49-F238E27FC236}">
                <a16:creationId xmlns:a16="http://schemas.microsoft.com/office/drawing/2014/main" id="{CBB0FFCD-B74D-5447-A402-597DAA5AFFB6}"/>
              </a:ext>
            </a:extLst>
          </p:cNvPr>
          <p:cNvPicPr>
            <a:picLocks noChangeAspect="1"/>
          </p:cNvPicPr>
          <p:nvPr/>
        </p:nvPicPr>
        <p:blipFill>
          <a:blip r:embed="rId19">
            <a:extLst>
              <a:ext uri="{96DAC541-7B7A-43D3-8B79-37D633B846F1}">
                <asvg:svgBlip xmlns="" xmlns:asvg="http://schemas.microsoft.com/office/drawing/2016/SVG/main" r:embed="rId20"/>
              </a:ext>
            </a:extLst>
          </a:blip>
          <a:stretch>
            <a:fillRect/>
          </a:stretch>
        </p:blipFill>
        <p:spPr>
          <a:xfrm>
            <a:off x="359877" y="3065464"/>
            <a:ext cx="620915" cy="620915"/>
          </a:xfrm>
          <a:prstGeom prst="rect">
            <a:avLst/>
          </a:prstGeom>
        </p:spPr>
      </p:pic>
      <p:pic>
        <p:nvPicPr>
          <p:cNvPr id="44" name="Graphic 43" descr="Single gear">
            <a:hlinkClick r:id="rId21" action="ppaction://hlinksldjump"/>
            <a:extLst>
              <a:ext uri="{FF2B5EF4-FFF2-40B4-BE49-F238E27FC236}">
                <a16:creationId xmlns:a16="http://schemas.microsoft.com/office/drawing/2014/main" id="{B155C3AF-F79B-5E43-8335-0882A53312BB}"/>
              </a:ext>
            </a:extLst>
          </p:cNvPr>
          <p:cNvPicPr>
            <a:picLocks noChangeAspect="1"/>
          </p:cNvPicPr>
          <p:nvPr/>
        </p:nvPicPr>
        <p:blipFill>
          <a:blip r:embed="rId22">
            <a:extLst>
              <a:ext uri="{96DAC541-7B7A-43D3-8B79-37D633B846F1}">
                <asvg:svgBlip xmlns="" xmlns:asvg="http://schemas.microsoft.com/office/drawing/2016/SVG/main" r:embed="rId23"/>
              </a:ext>
            </a:extLst>
          </a:blip>
          <a:stretch>
            <a:fillRect/>
          </a:stretch>
        </p:blipFill>
        <p:spPr>
          <a:xfrm>
            <a:off x="277756" y="4363184"/>
            <a:ext cx="724649" cy="724649"/>
          </a:xfrm>
          <a:prstGeom prst="rect">
            <a:avLst/>
          </a:prstGeom>
        </p:spPr>
      </p:pic>
      <p:pic>
        <p:nvPicPr>
          <p:cNvPr id="45" name="Graphic 44" descr="Users">
            <a:hlinkClick r:id="rId24" action="ppaction://hlinksldjump"/>
            <a:extLst>
              <a:ext uri="{FF2B5EF4-FFF2-40B4-BE49-F238E27FC236}">
                <a16:creationId xmlns:a16="http://schemas.microsoft.com/office/drawing/2014/main" id="{923E9E60-3788-D043-B41E-90194CA0681E}"/>
              </a:ext>
            </a:extLst>
          </p:cNvPr>
          <p:cNvPicPr>
            <a:picLocks noChangeAspect="1"/>
          </p:cNvPicPr>
          <p:nvPr/>
        </p:nvPicPr>
        <p:blipFill>
          <a:blip r:embed="rId25">
            <a:extLst>
              <a:ext uri="{96DAC541-7B7A-43D3-8B79-37D633B846F1}">
                <asvg:svgBlip xmlns="" xmlns:asvg="http://schemas.microsoft.com/office/drawing/2016/SVG/main" r:embed="rId26"/>
              </a:ext>
            </a:extLst>
          </a:blip>
          <a:stretch>
            <a:fillRect/>
          </a:stretch>
        </p:blipFill>
        <p:spPr>
          <a:xfrm>
            <a:off x="280485" y="5614878"/>
            <a:ext cx="721920" cy="721920"/>
          </a:xfrm>
          <a:prstGeom prst="rect">
            <a:avLst/>
          </a:prstGeom>
        </p:spPr>
      </p:pic>
      <p:sp>
        <p:nvSpPr>
          <p:cNvPr id="46" name="TextBox 45">
            <a:extLst>
              <a:ext uri="{FF2B5EF4-FFF2-40B4-BE49-F238E27FC236}">
                <a16:creationId xmlns:a16="http://schemas.microsoft.com/office/drawing/2014/main" id="{A80FFA9C-035D-F84E-B5F9-5FBEB4EA6E50}"/>
              </a:ext>
            </a:extLst>
          </p:cNvPr>
          <p:cNvSpPr txBox="1"/>
          <p:nvPr/>
        </p:nvSpPr>
        <p:spPr>
          <a:xfrm>
            <a:off x="5066057" y="583080"/>
            <a:ext cx="2702984" cy="584775"/>
          </a:xfrm>
          <a:prstGeom prst="rect">
            <a:avLst/>
          </a:prstGeom>
          <a:noFill/>
        </p:spPr>
        <p:txBody>
          <a:bodyPr wrap="none" rtlCol="0">
            <a:spAutoFit/>
          </a:bodyPr>
          <a:lstStyle/>
          <a:p>
            <a:pPr algn="ctr"/>
            <a:r>
              <a:rPr lang="en-LT" sz="3200" b="1" spc="300">
                <a:solidFill>
                  <a:schemeClr val="bg1"/>
                </a:solidFill>
                <a:latin typeface="Montserrat" pitchFamily="2" charset="77"/>
              </a:rPr>
              <a:t>THE TEAM</a:t>
            </a:r>
          </a:p>
        </p:txBody>
      </p:sp>
      <p:sp>
        <p:nvSpPr>
          <p:cNvPr id="47" name="TextBox 46">
            <a:extLst>
              <a:ext uri="{FF2B5EF4-FFF2-40B4-BE49-F238E27FC236}">
                <a16:creationId xmlns:a16="http://schemas.microsoft.com/office/drawing/2014/main" id="{E259193F-82B7-F942-B129-9A334DC7FC6C}"/>
              </a:ext>
            </a:extLst>
          </p:cNvPr>
          <p:cNvSpPr txBox="1"/>
          <p:nvPr/>
        </p:nvSpPr>
        <p:spPr>
          <a:xfrm>
            <a:off x="2335177" y="2633577"/>
            <a:ext cx="1883849" cy="400110"/>
          </a:xfrm>
          <a:prstGeom prst="rect">
            <a:avLst/>
          </a:prstGeom>
          <a:noFill/>
        </p:spPr>
        <p:txBody>
          <a:bodyPr wrap="none" rtlCol="0">
            <a:spAutoFit/>
          </a:bodyPr>
          <a:lstStyle/>
          <a:p>
            <a:pPr algn="ctr"/>
            <a:r>
              <a:rPr lang="en-LT" sz="2000" b="1" spc="300" dirty="0">
                <a:solidFill>
                  <a:schemeClr val="bg1"/>
                </a:solidFill>
                <a:latin typeface="Montserrat" pitchFamily="2" charset="77"/>
                <a:hlinkClick r:id="rId27" action="ppaction://hlinksldjump"/>
              </a:rPr>
              <a:t>MEMBER</a:t>
            </a:r>
            <a:r>
              <a:rPr lang="en-LT" sz="2000" b="1" spc="300" dirty="0">
                <a:solidFill>
                  <a:schemeClr val="bg1"/>
                </a:solidFill>
                <a:latin typeface="Montserrat" pitchFamily="2" charset="77"/>
              </a:rPr>
              <a:t> 1</a:t>
            </a:r>
          </a:p>
        </p:txBody>
      </p:sp>
      <p:sp>
        <p:nvSpPr>
          <p:cNvPr id="48" name="TextBox 47">
            <a:extLst>
              <a:ext uri="{FF2B5EF4-FFF2-40B4-BE49-F238E27FC236}">
                <a16:creationId xmlns:a16="http://schemas.microsoft.com/office/drawing/2014/main" id="{14F644E9-73CF-D845-84F0-69E0B1B80C5D}"/>
              </a:ext>
            </a:extLst>
          </p:cNvPr>
          <p:cNvSpPr txBox="1"/>
          <p:nvPr/>
        </p:nvSpPr>
        <p:spPr>
          <a:xfrm>
            <a:off x="2660585" y="2957463"/>
            <a:ext cx="1233030" cy="523220"/>
          </a:xfrm>
          <a:prstGeom prst="rect">
            <a:avLst/>
          </a:prstGeom>
          <a:noFill/>
        </p:spPr>
        <p:txBody>
          <a:bodyPr wrap="none" rtlCol="0">
            <a:spAutoFit/>
          </a:bodyPr>
          <a:lstStyle/>
          <a:p>
            <a:pPr algn="ctr"/>
            <a:r>
              <a:rPr lang="en-LT" sz="1400">
                <a:solidFill>
                  <a:schemeClr val="bg1"/>
                </a:solidFill>
                <a:latin typeface="Montserrat" pitchFamily="2" charset="77"/>
              </a:rPr>
              <a:t>Insert more</a:t>
            </a:r>
          </a:p>
          <a:p>
            <a:pPr algn="ctr"/>
            <a:r>
              <a:rPr lang="en-GB" sz="1400">
                <a:solidFill>
                  <a:schemeClr val="bg1"/>
                </a:solidFill>
                <a:latin typeface="Montserrat" pitchFamily="2" charset="77"/>
              </a:rPr>
              <a:t>info</a:t>
            </a:r>
            <a:r>
              <a:rPr lang="en-LT" sz="1400">
                <a:solidFill>
                  <a:schemeClr val="bg1"/>
                </a:solidFill>
                <a:latin typeface="Montserrat" pitchFamily="2" charset="77"/>
              </a:rPr>
              <a:t> here</a:t>
            </a:r>
          </a:p>
        </p:txBody>
      </p:sp>
      <p:sp>
        <p:nvSpPr>
          <p:cNvPr id="49" name="TextBox 48">
            <a:extLst>
              <a:ext uri="{FF2B5EF4-FFF2-40B4-BE49-F238E27FC236}">
                <a16:creationId xmlns:a16="http://schemas.microsoft.com/office/drawing/2014/main" id="{A4FF2D29-9577-EC48-9172-2DD4504B00E2}"/>
              </a:ext>
            </a:extLst>
          </p:cNvPr>
          <p:cNvSpPr txBox="1"/>
          <p:nvPr/>
        </p:nvSpPr>
        <p:spPr>
          <a:xfrm>
            <a:off x="2310331" y="5112898"/>
            <a:ext cx="1933543" cy="400110"/>
          </a:xfrm>
          <a:prstGeom prst="rect">
            <a:avLst/>
          </a:prstGeom>
          <a:noFill/>
        </p:spPr>
        <p:txBody>
          <a:bodyPr wrap="none" rtlCol="0">
            <a:spAutoFit/>
          </a:bodyPr>
          <a:lstStyle/>
          <a:p>
            <a:pPr algn="ctr"/>
            <a:r>
              <a:rPr lang="en-LT" sz="2000" b="1" spc="300">
                <a:solidFill>
                  <a:schemeClr val="bg1"/>
                </a:solidFill>
                <a:latin typeface="Montserrat" pitchFamily="2" charset="77"/>
              </a:rPr>
              <a:t>MEMBER 2</a:t>
            </a:r>
          </a:p>
        </p:txBody>
      </p:sp>
      <p:sp>
        <p:nvSpPr>
          <p:cNvPr id="50" name="TextBox 49">
            <a:extLst>
              <a:ext uri="{FF2B5EF4-FFF2-40B4-BE49-F238E27FC236}">
                <a16:creationId xmlns:a16="http://schemas.microsoft.com/office/drawing/2014/main" id="{A15B2518-5CF6-754C-ADFD-E0FA4F864C6B}"/>
              </a:ext>
            </a:extLst>
          </p:cNvPr>
          <p:cNvSpPr txBox="1"/>
          <p:nvPr/>
        </p:nvSpPr>
        <p:spPr>
          <a:xfrm>
            <a:off x="2660585" y="5436784"/>
            <a:ext cx="1233030" cy="523220"/>
          </a:xfrm>
          <a:prstGeom prst="rect">
            <a:avLst/>
          </a:prstGeom>
          <a:noFill/>
        </p:spPr>
        <p:txBody>
          <a:bodyPr wrap="none" rtlCol="0">
            <a:spAutoFit/>
          </a:bodyPr>
          <a:lstStyle/>
          <a:p>
            <a:pPr algn="ctr"/>
            <a:r>
              <a:rPr lang="en-LT" sz="1400">
                <a:solidFill>
                  <a:schemeClr val="bg1"/>
                </a:solidFill>
                <a:latin typeface="Montserrat" pitchFamily="2" charset="77"/>
              </a:rPr>
              <a:t>Insert more</a:t>
            </a:r>
          </a:p>
          <a:p>
            <a:pPr algn="ctr"/>
            <a:r>
              <a:rPr lang="en-GB" sz="1400">
                <a:solidFill>
                  <a:schemeClr val="bg1"/>
                </a:solidFill>
                <a:latin typeface="Montserrat" pitchFamily="2" charset="77"/>
              </a:rPr>
              <a:t>info</a:t>
            </a:r>
            <a:r>
              <a:rPr lang="en-LT" sz="1400">
                <a:solidFill>
                  <a:schemeClr val="bg1"/>
                </a:solidFill>
                <a:latin typeface="Montserrat" pitchFamily="2" charset="77"/>
              </a:rPr>
              <a:t> here</a:t>
            </a:r>
          </a:p>
        </p:txBody>
      </p:sp>
      <p:sp>
        <p:nvSpPr>
          <p:cNvPr id="51" name="TextBox 50">
            <a:extLst>
              <a:ext uri="{FF2B5EF4-FFF2-40B4-BE49-F238E27FC236}">
                <a16:creationId xmlns:a16="http://schemas.microsoft.com/office/drawing/2014/main" id="{2726CC9E-7366-104E-ADB1-8ABEA7CD4B6A}"/>
              </a:ext>
            </a:extLst>
          </p:cNvPr>
          <p:cNvSpPr txBox="1"/>
          <p:nvPr/>
        </p:nvSpPr>
        <p:spPr>
          <a:xfrm>
            <a:off x="8585177" y="2633577"/>
            <a:ext cx="1935145" cy="400110"/>
          </a:xfrm>
          <a:prstGeom prst="rect">
            <a:avLst/>
          </a:prstGeom>
          <a:noFill/>
        </p:spPr>
        <p:txBody>
          <a:bodyPr wrap="none" rtlCol="0">
            <a:spAutoFit/>
          </a:bodyPr>
          <a:lstStyle/>
          <a:p>
            <a:pPr algn="ctr"/>
            <a:r>
              <a:rPr lang="en-LT" sz="2000" b="1" spc="300">
                <a:solidFill>
                  <a:schemeClr val="bg1"/>
                </a:solidFill>
                <a:latin typeface="Montserrat" pitchFamily="2" charset="77"/>
              </a:rPr>
              <a:t>MEMBER 3</a:t>
            </a:r>
          </a:p>
        </p:txBody>
      </p:sp>
      <p:sp>
        <p:nvSpPr>
          <p:cNvPr id="52" name="TextBox 51">
            <a:extLst>
              <a:ext uri="{FF2B5EF4-FFF2-40B4-BE49-F238E27FC236}">
                <a16:creationId xmlns:a16="http://schemas.microsoft.com/office/drawing/2014/main" id="{48195A42-27A8-094C-BA83-F911FB70BB86}"/>
              </a:ext>
            </a:extLst>
          </p:cNvPr>
          <p:cNvSpPr txBox="1"/>
          <p:nvPr/>
        </p:nvSpPr>
        <p:spPr>
          <a:xfrm>
            <a:off x="8936233" y="2957463"/>
            <a:ext cx="1233030" cy="523220"/>
          </a:xfrm>
          <a:prstGeom prst="rect">
            <a:avLst/>
          </a:prstGeom>
          <a:noFill/>
        </p:spPr>
        <p:txBody>
          <a:bodyPr wrap="none" rtlCol="0">
            <a:spAutoFit/>
          </a:bodyPr>
          <a:lstStyle/>
          <a:p>
            <a:pPr algn="ctr"/>
            <a:r>
              <a:rPr lang="en-LT" sz="1400">
                <a:solidFill>
                  <a:schemeClr val="bg1"/>
                </a:solidFill>
                <a:latin typeface="Montserrat" pitchFamily="2" charset="77"/>
              </a:rPr>
              <a:t>Insert more</a:t>
            </a:r>
          </a:p>
          <a:p>
            <a:pPr algn="ctr"/>
            <a:r>
              <a:rPr lang="en-GB" sz="1400">
                <a:solidFill>
                  <a:schemeClr val="bg1"/>
                </a:solidFill>
                <a:latin typeface="Montserrat" pitchFamily="2" charset="77"/>
              </a:rPr>
              <a:t>info</a:t>
            </a:r>
            <a:r>
              <a:rPr lang="en-LT" sz="1400">
                <a:solidFill>
                  <a:schemeClr val="bg1"/>
                </a:solidFill>
                <a:latin typeface="Montserrat" pitchFamily="2" charset="77"/>
              </a:rPr>
              <a:t> here</a:t>
            </a:r>
          </a:p>
        </p:txBody>
      </p:sp>
      <p:sp>
        <p:nvSpPr>
          <p:cNvPr id="53" name="TextBox 52">
            <a:extLst>
              <a:ext uri="{FF2B5EF4-FFF2-40B4-BE49-F238E27FC236}">
                <a16:creationId xmlns:a16="http://schemas.microsoft.com/office/drawing/2014/main" id="{7D702226-72CD-D343-946A-ED25CB1CD199}"/>
              </a:ext>
            </a:extLst>
          </p:cNvPr>
          <p:cNvSpPr txBox="1"/>
          <p:nvPr/>
        </p:nvSpPr>
        <p:spPr>
          <a:xfrm>
            <a:off x="8573154" y="5112898"/>
            <a:ext cx="1959191" cy="400110"/>
          </a:xfrm>
          <a:prstGeom prst="rect">
            <a:avLst/>
          </a:prstGeom>
          <a:noFill/>
        </p:spPr>
        <p:txBody>
          <a:bodyPr wrap="none" rtlCol="0">
            <a:spAutoFit/>
          </a:bodyPr>
          <a:lstStyle/>
          <a:p>
            <a:pPr algn="ctr"/>
            <a:r>
              <a:rPr lang="en-LT" sz="2000" b="1" spc="300">
                <a:solidFill>
                  <a:schemeClr val="bg1"/>
                </a:solidFill>
                <a:latin typeface="Montserrat" pitchFamily="2" charset="77"/>
              </a:rPr>
              <a:t>MEMBER 4</a:t>
            </a:r>
          </a:p>
        </p:txBody>
      </p:sp>
      <p:sp>
        <p:nvSpPr>
          <p:cNvPr id="54" name="TextBox 53">
            <a:extLst>
              <a:ext uri="{FF2B5EF4-FFF2-40B4-BE49-F238E27FC236}">
                <a16:creationId xmlns:a16="http://schemas.microsoft.com/office/drawing/2014/main" id="{4BA05247-7A12-6E42-9BAF-C07372449A55}"/>
              </a:ext>
            </a:extLst>
          </p:cNvPr>
          <p:cNvSpPr txBox="1"/>
          <p:nvPr/>
        </p:nvSpPr>
        <p:spPr>
          <a:xfrm>
            <a:off x="8936233" y="5436784"/>
            <a:ext cx="1233030" cy="523220"/>
          </a:xfrm>
          <a:prstGeom prst="rect">
            <a:avLst/>
          </a:prstGeom>
          <a:noFill/>
        </p:spPr>
        <p:txBody>
          <a:bodyPr wrap="none" rtlCol="0">
            <a:spAutoFit/>
          </a:bodyPr>
          <a:lstStyle/>
          <a:p>
            <a:pPr algn="ctr"/>
            <a:r>
              <a:rPr lang="en-LT" sz="1400">
                <a:solidFill>
                  <a:schemeClr val="bg1"/>
                </a:solidFill>
                <a:latin typeface="Montserrat" pitchFamily="2" charset="77"/>
              </a:rPr>
              <a:t>Insert more</a:t>
            </a:r>
          </a:p>
          <a:p>
            <a:pPr algn="ctr"/>
            <a:r>
              <a:rPr lang="en-GB" sz="1400">
                <a:solidFill>
                  <a:schemeClr val="bg1"/>
                </a:solidFill>
                <a:latin typeface="Montserrat" pitchFamily="2" charset="77"/>
              </a:rPr>
              <a:t>info</a:t>
            </a:r>
            <a:r>
              <a:rPr lang="en-LT" sz="1400">
                <a:solidFill>
                  <a:schemeClr val="bg1"/>
                </a:solidFill>
                <a:latin typeface="Montserrat" pitchFamily="2" charset="77"/>
              </a:rPr>
              <a:t> here</a:t>
            </a:r>
          </a:p>
        </p:txBody>
      </p:sp>
      <p:grpSp>
        <p:nvGrpSpPr>
          <p:cNvPr id="55" name="Graphic 43">
            <a:extLst>
              <a:ext uri="{FF2B5EF4-FFF2-40B4-BE49-F238E27FC236}">
                <a16:creationId xmlns:a16="http://schemas.microsoft.com/office/drawing/2014/main" id="{29366E1C-F548-154E-B27E-22315CCFDA92}"/>
              </a:ext>
            </a:extLst>
          </p:cNvPr>
          <p:cNvGrpSpPr/>
          <p:nvPr/>
        </p:nvGrpSpPr>
        <p:grpSpPr>
          <a:xfrm rot="269299" flipV="1">
            <a:off x="7472552" y="2216626"/>
            <a:ext cx="1458826" cy="482830"/>
            <a:chOff x="5270499" y="2952750"/>
            <a:chExt cx="1652160" cy="946643"/>
          </a:xfrm>
          <a:solidFill>
            <a:schemeClr val="bg1"/>
          </a:solidFill>
        </p:grpSpPr>
        <p:sp>
          <p:nvSpPr>
            <p:cNvPr id="56" name="Freeform 55">
              <a:extLst>
                <a:ext uri="{FF2B5EF4-FFF2-40B4-BE49-F238E27FC236}">
                  <a16:creationId xmlns:a16="http://schemas.microsoft.com/office/drawing/2014/main" id="{88FF1349-4160-4444-8F7B-269A91F537F0}"/>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57" name="Freeform 56">
              <a:extLst>
                <a:ext uri="{FF2B5EF4-FFF2-40B4-BE49-F238E27FC236}">
                  <a16:creationId xmlns:a16="http://schemas.microsoft.com/office/drawing/2014/main" id="{73A28CCF-21DD-D84B-8F4C-DE59EB427EB5}"/>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58" name="Graphic 43">
            <a:extLst>
              <a:ext uri="{FF2B5EF4-FFF2-40B4-BE49-F238E27FC236}">
                <a16:creationId xmlns:a16="http://schemas.microsoft.com/office/drawing/2014/main" id="{7800A4E2-2763-B04F-A6DC-7F830C714D7F}"/>
              </a:ext>
            </a:extLst>
          </p:cNvPr>
          <p:cNvGrpSpPr/>
          <p:nvPr/>
        </p:nvGrpSpPr>
        <p:grpSpPr>
          <a:xfrm rot="2571606" flipV="1">
            <a:off x="7406172" y="4110037"/>
            <a:ext cx="1356455" cy="777212"/>
            <a:chOff x="5270499" y="2952750"/>
            <a:chExt cx="1652160" cy="946643"/>
          </a:xfrm>
          <a:solidFill>
            <a:schemeClr val="bg1"/>
          </a:solidFill>
        </p:grpSpPr>
        <p:sp>
          <p:nvSpPr>
            <p:cNvPr id="59" name="Freeform 58">
              <a:extLst>
                <a:ext uri="{FF2B5EF4-FFF2-40B4-BE49-F238E27FC236}">
                  <a16:creationId xmlns:a16="http://schemas.microsoft.com/office/drawing/2014/main" id="{3CFBA856-77EC-2543-8A7C-7290423B49DE}"/>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60" name="Freeform 59">
              <a:extLst>
                <a:ext uri="{FF2B5EF4-FFF2-40B4-BE49-F238E27FC236}">
                  <a16:creationId xmlns:a16="http://schemas.microsoft.com/office/drawing/2014/main" id="{5D33443B-894D-8143-B7F7-AE83C877A1CD}"/>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61" name="Graphic 43">
            <a:extLst>
              <a:ext uri="{FF2B5EF4-FFF2-40B4-BE49-F238E27FC236}">
                <a16:creationId xmlns:a16="http://schemas.microsoft.com/office/drawing/2014/main" id="{013BD26B-9250-E041-8FE6-8304E2F781F6}"/>
              </a:ext>
            </a:extLst>
          </p:cNvPr>
          <p:cNvGrpSpPr/>
          <p:nvPr/>
        </p:nvGrpSpPr>
        <p:grpSpPr>
          <a:xfrm rot="417027" flipH="1" flipV="1">
            <a:off x="3858043" y="2373351"/>
            <a:ext cx="1396237" cy="528243"/>
            <a:chOff x="5270499" y="2952750"/>
            <a:chExt cx="1652160" cy="946643"/>
          </a:xfrm>
          <a:solidFill>
            <a:schemeClr val="bg1"/>
          </a:solidFill>
        </p:grpSpPr>
        <p:sp>
          <p:nvSpPr>
            <p:cNvPr id="62" name="Freeform 61">
              <a:extLst>
                <a:ext uri="{FF2B5EF4-FFF2-40B4-BE49-F238E27FC236}">
                  <a16:creationId xmlns:a16="http://schemas.microsoft.com/office/drawing/2014/main" id="{3F48BD7B-4CE4-014D-9E4F-67BB0571B85B}"/>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63" name="Freeform 62">
              <a:extLst>
                <a:ext uri="{FF2B5EF4-FFF2-40B4-BE49-F238E27FC236}">
                  <a16:creationId xmlns:a16="http://schemas.microsoft.com/office/drawing/2014/main" id="{ACCBAC92-C64A-734A-BCF1-994132224ABC}"/>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grpSp>
        <p:nvGrpSpPr>
          <p:cNvPr id="64" name="Graphic 43">
            <a:extLst>
              <a:ext uri="{FF2B5EF4-FFF2-40B4-BE49-F238E27FC236}">
                <a16:creationId xmlns:a16="http://schemas.microsoft.com/office/drawing/2014/main" id="{87BDF1B6-9F31-524F-B247-79746579CB6F}"/>
              </a:ext>
            </a:extLst>
          </p:cNvPr>
          <p:cNvGrpSpPr/>
          <p:nvPr/>
        </p:nvGrpSpPr>
        <p:grpSpPr>
          <a:xfrm rot="19028394" flipH="1" flipV="1">
            <a:off x="4061834" y="4110037"/>
            <a:ext cx="1356455" cy="777212"/>
            <a:chOff x="5270499" y="2952750"/>
            <a:chExt cx="1652160" cy="946643"/>
          </a:xfrm>
          <a:solidFill>
            <a:schemeClr val="bg1"/>
          </a:solidFill>
        </p:grpSpPr>
        <p:sp>
          <p:nvSpPr>
            <p:cNvPr id="65" name="Freeform 64">
              <a:extLst>
                <a:ext uri="{FF2B5EF4-FFF2-40B4-BE49-F238E27FC236}">
                  <a16:creationId xmlns:a16="http://schemas.microsoft.com/office/drawing/2014/main" id="{94B2EE84-0993-3848-AB9F-03C9E33F88CE}"/>
                </a:ext>
              </a:extLst>
            </p:cNvPr>
            <p:cNvSpPr/>
            <p:nvPr/>
          </p:nvSpPr>
          <p:spPr>
            <a:xfrm>
              <a:off x="5270499" y="2952750"/>
              <a:ext cx="1519201" cy="772908"/>
            </a:xfrm>
            <a:custGeom>
              <a:avLst/>
              <a:gdLst>
                <a:gd name="connsiteX0" fmla="*/ 10315 w 1519201"/>
                <a:gd name="connsiteY0" fmla="*/ 16104 h 772908"/>
                <a:gd name="connsiteX1" fmla="*/ 30066 w 1519201"/>
                <a:gd name="connsiteY1" fmla="*/ 13529 h 772908"/>
                <a:gd name="connsiteX2" fmla="*/ 86285 w 1519201"/>
                <a:gd name="connsiteY2" fmla="*/ 6858 h 772908"/>
                <a:gd name="connsiteX3" fmla="*/ 174511 w 1519201"/>
                <a:gd name="connsiteY3" fmla="*/ 760 h 772908"/>
                <a:gd name="connsiteX4" fmla="*/ 228804 w 1519201"/>
                <a:gd name="connsiteY4" fmla="*/ -97 h 772908"/>
                <a:gd name="connsiteX5" fmla="*/ 288972 w 1519201"/>
                <a:gd name="connsiteY5" fmla="*/ 1621 h 772908"/>
                <a:gd name="connsiteX6" fmla="*/ 423832 w 1519201"/>
                <a:gd name="connsiteY6" fmla="*/ 14091 h 772908"/>
                <a:gd name="connsiteX7" fmla="*/ 572315 w 1519201"/>
                <a:gd name="connsiteY7" fmla="*/ 42341 h 772908"/>
                <a:gd name="connsiteX8" fmla="*/ 727508 w 1519201"/>
                <a:gd name="connsiteY8" fmla="*/ 87953 h 772908"/>
                <a:gd name="connsiteX9" fmla="*/ 882310 w 1519201"/>
                <a:gd name="connsiteY9" fmla="*/ 151050 h 772908"/>
                <a:gd name="connsiteX10" fmla="*/ 1029425 w 1519201"/>
                <a:gd name="connsiteY10" fmla="*/ 230712 h 772908"/>
                <a:gd name="connsiteX11" fmla="*/ 1162689 w 1519201"/>
                <a:gd name="connsiteY11" fmla="*/ 322956 h 772908"/>
                <a:gd name="connsiteX12" fmla="*/ 1222212 w 1519201"/>
                <a:gd name="connsiteY12" fmla="*/ 372438 h 772908"/>
                <a:gd name="connsiteX13" fmla="*/ 1276847 w 1519201"/>
                <a:gd name="connsiteY13" fmla="*/ 422493 h 772908"/>
                <a:gd name="connsiteX14" fmla="*/ 1325797 w 1519201"/>
                <a:gd name="connsiteY14" fmla="*/ 472635 h 772908"/>
                <a:gd name="connsiteX15" fmla="*/ 1368758 w 1519201"/>
                <a:gd name="connsiteY15" fmla="*/ 521967 h 772908"/>
                <a:gd name="connsiteX16" fmla="*/ 1405895 w 1519201"/>
                <a:gd name="connsiteY16" fmla="*/ 569209 h 772908"/>
                <a:gd name="connsiteX17" fmla="*/ 1437308 w 1519201"/>
                <a:gd name="connsiteY17" fmla="*/ 613278 h 772908"/>
                <a:gd name="connsiteX18" fmla="*/ 1463024 w 1519201"/>
                <a:gd name="connsiteY18" fmla="*/ 653227 h 772908"/>
                <a:gd name="connsiteX19" fmla="*/ 1483219 w 1519201"/>
                <a:gd name="connsiteY19" fmla="*/ 688074 h 772908"/>
                <a:gd name="connsiteX20" fmla="*/ 1498641 w 1519201"/>
                <a:gd name="connsiteY20" fmla="*/ 716573 h 772908"/>
                <a:gd name="connsiteX21" fmla="*/ 1509302 w 1519201"/>
                <a:gd name="connsiteY21" fmla="*/ 738016 h 772908"/>
                <a:gd name="connsiteX22" fmla="*/ 1517950 w 1519201"/>
                <a:gd name="connsiteY22" fmla="*/ 755937 h 772908"/>
                <a:gd name="connsiteX23" fmla="*/ 1512252 w 1519201"/>
                <a:gd name="connsiteY23" fmla="*/ 771668 h 772908"/>
                <a:gd name="connsiteX24" fmla="*/ 1497400 w 1519201"/>
                <a:gd name="connsiteY24" fmla="*/ 767972 h 772908"/>
                <a:gd name="connsiteX25" fmla="*/ 1497113 w 1519201"/>
                <a:gd name="connsiteY25" fmla="*/ 767573 h 772908"/>
                <a:gd name="connsiteX26" fmla="*/ 1485389 w 1519201"/>
                <a:gd name="connsiteY26" fmla="*/ 751805 h 772908"/>
                <a:gd name="connsiteX27" fmla="*/ 1452620 w 1519201"/>
                <a:gd name="connsiteY27" fmla="*/ 707338 h 772908"/>
                <a:gd name="connsiteX28" fmla="*/ 1428905 w 1519201"/>
                <a:gd name="connsiteY28" fmla="*/ 676026 h 772908"/>
                <a:gd name="connsiteX29" fmla="*/ 1400024 w 1519201"/>
                <a:gd name="connsiteY29" fmla="*/ 639923 h 772908"/>
                <a:gd name="connsiteX30" fmla="*/ 1328169 w 1519201"/>
                <a:gd name="connsiteY30" fmla="*/ 555893 h 772908"/>
                <a:gd name="connsiteX31" fmla="*/ 1285094 w 1519201"/>
                <a:gd name="connsiteY31" fmla="*/ 509708 h 772908"/>
                <a:gd name="connsiteX32" fmla="*/ 1237119 w 1519201"/>
                <a:gd name="connsiteY32" fmla="*/ 462118 h 772908"/>
                <a:gd name="connsiteX33" fmla="*/ 1127937 w 1519201"/>
                <a:gd name="connsiteY33" fmla="*/ 365120 h 772908"/>
                <a:gd name="connsiteX34" fmla="*/ 1097815 w 1519201"/>
                <a:gd name="connsiteY34" fmla="*/ 341374 h 772908"/>
                <a:gd name="connsiteX35" fmla="*/ 1066744 w 1519201"/>
                <a:gd name="connsiteY35" fmla="*/ 317890 h 772908"/>
                <a:gd name="connsiteX36" fmla="*/ 1034925 w 1519201"/>
                <a:gd name="connsiteY36" fmla="*/ 294543 h 772908"/>
                <a:gd name="connsiteX37" fmla="*/ 1002042 w 1519201"/>
                <a:gd name="connsiteY37" fmla="*/ 271968 h 772908"/>
                <a:gd name="connsiteX38" fmla="*/ 862866 w 1519201"/>
                <a:gd name="connsiteY38" fmla="*/ 188535 h 772908"/>
                <a:gd name="connsiteX39" fmla="*/ 715269 w 1519201"/>
                <a:gd name="connsiteY39" fmla="*/ 119576 h 772908"/>
                <a:gd name="connsiteX40" fmla="*/ 565216 w 1519201"/>
                <a:gd name="connsiteY40" fmla="*/ 69161 h 772908"/>
                <a:gd name="connsiteX41" fmla="*/ 528180 w 1519201"/>
                <a:gd name="connsiteY41" fmla="*/ 59578 h 772908"/>
                <a:gd name="connsiteX42" fmla="*/ 491639 w 1519201"/>
                <a:gd name="connsiteY42" fmla="*/ 50953 h 772908"/>
                <a:gd name="connsiteX43" fmla="*/ 420164 w 1519201"/>
                <a:gd name="connsiteY43" fmla="*/ 37998 h 772908"/>
                <a:gd name="connsiteX44" fmla="*/ 287849 w 1519201"/>
                <a:gd name="connsiteY44" fmla="*/ 23586 h 772908"/>
                <a:gd name="connsiteX45" fmla="*/ 228707 w 1519201"/>
                <a:gd name="connsiteY45" fmla="*/ 21745 h 772908"/>
                <a:gd name="connsiteX46" fmla="*/ 175325 w 1519201"/>
                <a:gd name="connsiteY46" fmla="*/ 22493 h 772908"/>
                <a:gd name="connsiteX47" fmla="*/ 128477 w 1519201"/>
                <a:gd name="connsiteY47" fmla="*/ 25117 h 772908"/>
                <a:gd name="connsiteX48" fmla="*/ 88973 w 1519201"/>
                <a:gd name="connsiteY48" fmla="*/ 28950 h 772908"/>
                <a:gd name="connsiteX49" fmla="*/ 33477 w 1519201"/>
                <a:gd name="connsiteY49" fmla="*/ 36368 h 772908"/>
                <a:gd name="connsiteX50" fmla="*/ 13788 w 1519201"/>
                <a:gd name="connsiteY50" fmla="*/ 39441 h 772908"/>
                <a:gd name="connsiteX51" fmla="*/ 63 w 1519201"/>
                <a:gd name="connsiteY51" fmla="*/ 29646 h 772908"/>
                <a:gd name="connsiteX52" fmla="*/ 10027 w 1519201"/>
                <a:gd name="connsiteY52" fmla="*/ 16156 h 772908"/>
                <a:gd name="connsiteX53" fmla="*/ 10315 w 1519201"/>
                <a:gd name="connsiteY53" fmla="*/ 16120 h 77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19201" h="772908">
                  <a:moveTo>
                    <a:pt x="10315" y="16104"/>
                  </a:moveTo>
                  <a:cubicBezTo>
                    <a:pt x="10315" y="16104"/>
                    <a:pt x="17177" y="15208"/>
                    <a:pt x="30066" y="13529"/>
                  </a:cubicBezTo>
                  <a:cubicBezTo>
                    <a:pt x="43032" y="12036"/>
                    <a:pt x="61620" y="8750"/>
                    <a:pt x="86285" y="6858"/>
                  </a:cubicBezTo>
                  <a:cubicBezTo>
                    <a:pt x="110797" y="4131"/>
                    <a:pt x="140476" y="2552"/>
                    <a:pt x="174511" y="760"/>
                  </a:cubicBezTo>
                  <a:cubicBezTo>
                    <a:pt x="191553" y="478"/>
                    <a:pt x="209697" y="213"/>
                    <a:pt x="228804" y="-97"/>
                  </a:cubicBezTo>
                  <a:cubicBezTo>
                    <a:pt x="247910" y="474"/>
                    <a:pt x="268030" y="626"/>
                    <a:pt x="288972" y="1621"/>
                  </a:cubicBezTo>
                  <a:cubicBezTo>
                    <a:pt x="330844" y="3847"/>
                    <a:pt x="376274" y="6935"/>
                    <a:pt x="423832" y="14091"/>
                  </a:cubicBezTo>
                  <a:cubicBezTo>
                    <a:pt x="471439" y="20649"/>
                    <a:pt x="521326" y="30070"/>
                    <a:pt x="572315" y="42341"/>
                  </a:cubicBezTo>
                  <a:cubicBezTo>
                    <a:pt x="623417" y="54314"/>
                    <a:pt x="675406" y="69933"/>
                    <a:pt x="727508" y="87953"/>
                  </a:cubicBezTo>
                  <a:cubicBezTo>
                    <a:pt x="779814" y="105538"/>
                    <a:pt x="831435" y="127492"/>
                    <a:pt x="882310" y="151050"/>
                  </a:cubicBezTo>
                  <a:cubicBezTo>
                    <a:pt x="933311" y="174485"/>
                    <a:pt x="982109" y="202263"/>
                    <a:pt x="1029425" y="230712"/>
                  </a:cubicBezTo>
                  <a:cubicBezTo>
                    <a:pt x="1076856" y="259125"/>
                    <a:pt x="1120944" y="290997"/>
                    <a:pt x="1162689" y="322956"/>
                  </a:cubicBezTo>
                  <a:cubicBezTo>
                    <a:pt x="1183176" y="339408"/>
                    <a:pt x="1203447" y="355488"/>
                    <a:pt x="1222212" y="372438"/>
                  </a:cubicBezTo>
                  <a:cubicBezTo>
                    <a:pt x="1241445" y="388878"/>
                    <a:pt x="1259424" y="405866"/>
                    <a:pt x="1276847" y="422493"/>
                  </a:cubicBezTo>
                  <a:cubicBezTo>
                    <a:pt x="1294269" y="439095"/>
                    <a:pt x="1309957" y="456480"/>
                    <a:pt x="1325797" y="472635"/>
                  </a:cubicBezTo>
                  <a:cubicBezTo>
                    <a:pt x="1340940" y="489423"/>
                    <a:pt x="1355425" y="505801"/>
                    <a:pt x="1368758" y="521967"/>
                  </a:cubicBezTo>
                  <a:cubicBezTo>
                    <a:pt x="1381698" y="538432"/>
                    <a:pt x="1394879" y="553615"/>
                    <a:pt x="1405895" y="569209"/>
                  </a:cubicBezTo>
                  <a:cubicBezTo>
                    <a:pt x="1416948" y="584754"/>
                    <a:pt x="1427850" y="599177"/>
                    <a:pt x="1437308" y="613278"/>
                  </a:cubicBezTo>
                  <a:cubicBezTo>
                    <a:pt x="1446475" y="627528"/>
                    <a:pt x="1455073" y="640881"/>
                    <a:pt x="1463024" y="653227"/>
                  </a:cubicBezTo>
                  <a:cubicBezTo>
                    <a:pt x="1470697" y="665709"/>
                    <a:pt x="1477104" y="677595"/>
                    <a:pt x="1483219" y="688074"/>
                  </a:cubicBezTo>
                  <a:cubicBezTo>
                    <a:pt x="1489360" y="698553"/>
                    <a:pt x="1494564" y="708061"/>
                    <a:pt x="1498641" y="716573"/>
                  </a:cubicBezTo>
                  <a:cubicBezTo>
                    <a:pt x="1502832" y="725024"/>
                    <a:pt x="1506415" y="732192"/>
                    <a:pt x="1509302" y="738016"/>
                  </a:cubicBezTo>
                  <a:cubicBezTo>
                    <a:pt x="1514950" y="749703"/>
                    <a:pt x="1517950" y="755937"/>
                    <a:pt x="1517950" y="755937"/>
                  </a:cubicBezTo>
                  <a:cubicBezTo>
                    <a:pt x="1520800" y="761824"/>
                    <a:pt x="1518237" y="768880"/>
                    <a:pt x="1512252" y="771668"/>
                  </a:cubicBezTo>
                  <a:cubicBezTo>
                    <a:pt x="1506947" y="774134"/>
                    <a:pt x="1500730" y="772476"/>
                    <a:pt x="1497400" y="767972"/>
                  </a:cubicBezTo>
                  <a:lnTo>
                    <a:pt x="1497113" y="767573"/>
                  </a:lnTo>
                  <a:cubicBezTo>
                    <a:pt x="1497113" y="767573"/>
                    <a:pt x="1493036" y="762098"/>
                    <a:pt x="1485389" y="751805"/>
                  </a:cubicBezTo>
                  <a:cubicBezTo>
                    <a:pt x="1477615" y="741625"/>
                    <a:pt x="1467257" y="726106"/>
                    <a:pt x="1452620" y="707338"/>
                  </a:cubicBezTo>
                  <a:cubicBezTo>
                    <a:pt x="1445454" y="697880"/>
                    <a:pt x="1437527" y="687426"/>
                    <a:pt x="1428905" y="676026"/>
                  </a:cubicBezTo>
                  <a:cubicBezTo>
                    <a:pt x="1419979" y="664863"/>
                    <a:pt x="1410330" y="652804"/>
                    <a:pt x="1400024" y="639923"/>
                  </a:cubicBezTo>
                  <a:cubicBezTo>
                    <a:pt x="1379373" y="614248"/>
                    <a:pt x="1355075" y="586135"/>
                    <a:pt x="1328169" y="555893"/>
                  </a:cubicBezTo>
                  <a:cubicBezTo>
                    <a:pt x="1314596" y="540871"/>
                    <a:pt x="1299743" y="525863"/>
                    <a:pt x="1285094" y="509708"/>
                  </a:cubicBezTo>
                  <a:cubicBezTo>
                    <a:pt x="1269558" y="494401"/>
                    <a:pt x="1254187" y="477874"/>
                    <a:pt x="1237119" y="462118"/>
                  </a:cubicBezTo>
                  <a:cubicBezTo>
                    <a:pt x="1204085" y="429524"/>
                    <a:pt x="1167024" y="397440"/>
                    <a:pt x="1127937" y="365120"/>
                  </a:cubicBezTo>
                  <a:cubicBezTo>
                    <a:pt x="1118163" y="357056"/>
                    <a:pt x="1107919" y="349377"/>
                    <a:pt x="1097815" y="341374"/>
                  </a:cubicBezTo>
                  <a:cubicBezTo>
                    <a:pt x="1087712" y="333335"/>
                    <a:pt x="1077430" y="325432"/>
                    <a:pt x="1066744" y="317890"/>
                  </a:cubicBezTo>
                  <a:cubicBezTo>
                    <a:pt x="1056197" y="310162"/>
                    <a:pt x="1045586" y="302371"/>
                    <a:pt x="1034925" y="294543"/>
                  </a:cubicBezTo>
                  <a:cubicBezTo>
                    <a:pt x="1024010" y="287064"/>
                    <a:pt x="1013058" y="279522"/>
                    <a:pt x="1002042" y="271968"/>
                  </a:cubicBezTo>
                  <a:cubicBezTo>
                    <a:pt x="957512" y="242448"/>
                    <a:pt x="911157" y="213824"/>
                    <a:pt x="862866" y="188535"/>
                  </a:cubicBezTo>
                  <a:cubicBezTo>
                    <a:pt x="814638" y="163209"/>
                    <a:pt x="765421" y="139265"/>
                    <a:pt x="715269" y="119576"/>
                  </a:cubicBezTo>
                  <a:cubicBezTo>
                    <a:pt x="665141" y="99975"/>
                    <a:pt x="615014" y="82116"/>
                    <a:pt x="565216" y="69161"/>
                  </a:cubicBezTo>
                  <a:cubicBezTo>
                    <a:pt x="552871" y="65539"/>
                    <a:pt x="540513" y="62391"/>
                    <a:pt x="528180" y="59578"/>
                  </a:cubicBezTo>
                  <a:cubicBezTo>
                    <a:pt x="515873" y="56678"/>
                    <a:pt x="503692" y="53803"/>
                    <a:pt x="491639" y="50953"/>
                  </a:cubicBezTo>
                  <a:cubicBezTo>
                    <a:pt x="467278" y="46386"/>
                    <a:pt x="443575" y="41171"/>
                    <a:pt x="420164" y="37998"/>
                  </a:cubicBezTo>
                  <a:cubicBezTo>
                    <a:pt x="373569" y="30195"/>
                    <a:pt x="328987" y="26449"/>
                    <a:pt x="287849" y="23586"/>
                  </a:cubicBezTo>
                  <a:cubicBezTo>
                    <a:pt x="267261" y="22465"/>
                    <a:pt x="247484" y="22366"/>
                    <a:pt x="228707" y="21745"/>
                  </a:cubicBezTo>
                  <a:cubicBezTo>
                    <a:pt x="209904" y="21992"/>
                    <a:pt x="192077" y="22257"/>
                    <a:pt x="175325" y="22493"/>
                  </a:cubicBezTo>
                  <a:cubicBezTo>
                    <a:pt x="158586" y="23428"/>
                    <a:pt x="142937" y="24295"/>
                    <a:pt x="128477" y="25117"/>
                  </a:cubicBezTo>
                  <a:cubicBezTo>
                    <a:pt x="113980" y="25950"/>
                    <a:pt x="100900" y="27855"/>
                    <a:pt x="88973" y="28950"/>
                  </a:cubicBezTo>
                  <a:cubicBezTo>
                    <a:pt x="65258" y="31092"/>
                    <a:pt x="46278" y="34464"/>
                    <a:pt x="33477" y="36368"/>
                  </a:cubicBezTo>
                  <a:cubicBezTo>
                    <a:pt x="20625" y="38372"/>
                    <a:pt x="13788" y="39441"/>
                    <a:pt x="13788" y="39441"/>
                  </a:cubicBezTo>
                  <a:cubicBezTo>
                    <a:pt x="7229" y="40460"/>
                    <a:pt x="1101" y="36082"/>
                    <a:pt x="63" y="29646"/>
                  </a:cubicBezTo>
                  <a:cubicBezTo>
                    <a:pt x="-975" y="23224"/>
                    <a:pt x="3483" y="17176"/>
                    <a:pt x="10027" y="16156"/>
                  </a:cubicBezTo>
                  <a:cubicBezTo>
                    <a:pt x="10099" y="16143"/>
                    <a:pt x="10243" y="16120"/>
                    <a:pt x="10315" y="16120"/>
                  </a:cubicBezTo>
                </a:path>
              </a:pathLst>
            </a:custGeom>
            <a:grpFill/>
            <a:ln w="1264" cap="flat">
              <a:noFill/>
              <a:prstDash val="solid"/>
              <a:miter/>
            </a:ln>
          </p:spPr>
          <p:txBody>
            <a:bodyPr rtlCol="0" anchor="ctr"/>
            <a:lstStyle/>
            <a:p>
              <a:endParaRPr lang="en-LT"/>
            </a:p>
          </p:txBody>
        </p:sp>
        <p:sp>
          <p:nvSpPr>
            <p:cNvPr id="66" name="Freeform 65">
              <a:extLst>
                <a:ext uri="{FF2B5EF4-FFF2-40B4-BE49-F238E27FC236}">
                  <a16:creationId xmlns:a16="http://schemas.microsoft.com/office/drawing/2014/main" id="{5E3B0ED9-6FF2-974A-9C7A-30C12D028EF6}"/>
                </a:ext>
              </a:extLst>
            </p:cNvPr>
            <p:cNvSpPr/>
            <p:nvPr/>
          </p:nvSpPr>
          <p:spPr>
            <a:xfrm>
              <a:off x="6642156" y="3574516"/>
              <a:ext cx="280504" cy="324877"/>
            </a:xfrm>
            <a:custGeom>
              <a:avLst/>
              <a:gdLst>
                <a:gd name="connsiteX0" fmla="*/ 244650 w 280504"/>
                <a:gd name="connsiteY0" fmla="*/ 13288 h 324877"/>
                <a:gd name="connsiteX1" fmla="*/ 241308 w 280504"/>
                <a:gd name="connsiteY1" fmla="*/ 49292 h 324877"/>
                <a:gd name="connsiteX2" fmla="*/ 240511 w 280504"/>
                <a:gd name="connsiteY2" fmla="*/ 85321 h 324877"/>
                <a:gd name="connsiteX3" fmla="*/ 245146 w 280504"/>
                <a:gd name="connsiteY3" fmla="*/ 157192 h 324877"/>
                <a:gd name="connsiteX4" fmla="*/ 250679 w 280504"/>
                <a:gd name="connsiteY4" fmla="*/ 192761 h 324877"/>
                <a:gd name="connsiteX5" fmla="*/ 258327 w 280504"/>
                <a:gd name="connsiteY5" fmla="*/ 227906 h 324877"/>
                <a:gd name="connsiteX6" fmla="*/ 279231 w 280504"/>
                <a:gd name="connsiteY6" fmla="*/ 296479 h 324877"/>
                <a:gd name="connsiteX7" fmla="*/ 265759 w 280504"/>
                <a:gd name="connsiteY7" fmla="*/ 323609 h 324877"/>
                <a:gd name="connsiteX8" fmla="*/ 251667 w 280504"/>
                <a:gd name="connsiteY8" fmla="*/ 323638 h 324877"/>
                <a:gd name="connsiteX9" fmla="*/ 248275 w 280504"/>
                <a:gd name="connsiteY9" fmla="*/ 322491 h 324877"/>
                <a:gd name="connsiteX10" fmla="*/ 217140 w 280504"/>
                <a:gd name="connsiteY10" fmla="*/ 312012 h 324877"/>
                <a:gd name="connsiteX11" fmla="*/ 186081 w 280504"/>
                <a:gd name="connsiteY11" fmla="*/ 301409 h 324877"/>
                <a:gd name="connsiteX12" fmla="*/ 155186 w 280504"/>
                <a:gd name="connsiteY12" fmla="*/ 290569 h 324877"/>
                <a:gd name="connsiteX13" fmla="*/ 124419 w 280504"/>
                <a:gd name="connsiteY13" fmla="*/ 279431 h 324877"/>
                <a:gd name="connsiteX14" fmla="*/ 63820 w 280504"/>
                <a:gd name="connsiteY14" fmla="*/ 254490 h 324877"/>
                <a:gd name="connsiteX15" fmla="*/ 5310 w 280504"/>
                <a:gd name="connsiteY15" fmla="*/ 222295 h 324877"/>
                <a:gd name="connsiteX16" fmla="*/ 2145 w 280504"/>
                <a:gd name="connsiteY16" fmla="*/ 204423 h 324877"/>
                <a:gd name="connsiteX17" fmla="*/ 12262 w 280504"/>
                <a:gd name="connsiteY17" fmla="*/ 198425 h 324877"/>
                <a:gd name="connsiteX18" fmla="*/ 12513 w 280504"/>
                <a:gd name="connsiteY18" fmla="*/ 198425 h 324877"/>
                <a:gd name="connsiteX19" fmla="*/ 46738 w 280504"/>
                <a:gd name="connsiteY19" fmla="*/ 201635 h 324877"/>
                <a:gd name="connsiteX20" fmla="*/ 79975 w 280504"/>
                <a:gd name="connsiteY20" fmla="*/ 207982 h 324877"/>
                <a:gd name="connsiteX21" fmla="*/ 144207 w 280504"/>
                <a:gd name="connsiteY21" fmla="*/ 227147 h 324877"/>
                <a:gd name="connsiteX22" fmla="*/ 206148 w 280504"/>
                <a:gd name="connsiteY22" fmla="*/ 252374 h 324877"/>
                <a:gd name="connsiteX23" fmla="*/ 266303 w 280504"/>
                <a:gd name="connsiteY23" fmla="*/ 281571 h 324877"/>
                <a:gd name="connsiteX24" fmla="*/ 235371 w 280504"/>
                <a:gd name="connsiteY24" fmla="*/ 307606 h 324877"/>
                <a:gd name="connsiteX25" fmla="*/ 229483 w 280504"/>
                <a:gd name="connsiteY25" fmla="*/ 270556 h 324877"/>
                <a:gd name="connsiteX26" fmla="*/ 225204 w 280504"/>
                <a:gd name="connsiteY26" fmla="*/ 233420 h 324877"/>
                <a:gd name="connsiteX27" fmla="*/ 221973 w 280504"/>
                <a:gd name="connsiteY27" fmla="*/ 196333 h 324877"/>
                <a:gd name="connsiteX28" fmla="*/ 219745 w 280504"/>
                <a:gd name="connsiteY28" fmla="*/ 159284 h 324877"/>
                <a:gd name="connsiteX29" fmla="*/ 218503 w 280504"/>
                <a:gd name="connsiteY29" fmla="*/ 122272 h 324877"/>
                <a:gd name="connsiteX30" fmla="*/ 218287 w 280504"/>
                <a:gd name="connsiteY30" fmla="*/ 85297 h 324877"/>
                <a:gd name="connsiteX31" fmla="*/ 218036 w 280504"/>
                <a:gd name="connsiteY31" fmla="*/ 48322 h 324877"/>
                <a:gd name="connsiteX32" fmla="*/ 218417 w 280504"/>
                <a:gd name="connsiteY32" fmla="*/ 11472 h 324877"/>
                <a:gd name="connsiteX33" fmla="*/ 218417 w 280504"/>
                <a:gd name="connsiteY33" fmla="*/ 11225 h 324877"/>
                <a:gd name="connsiteX34" fmla="*/ 232091 w 280504"/>
                <a:gd name="connsiteY34" fmla="*/ -88 h 324877"/>
                <a:gd name="connsiteX35" fmla="*/ 244183 w 280504"/>
                <a:gd name="connsiteY35" fmla="*/ 12208 h 324877"/>
                <a:gd name="connsiteX36" fmla="*/ 244664 w 280504"/>
                <a:gd name="connsiteY36" fmla="*/ 13277 h 3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504" h="324877">
                  <a:moveTo>
                    <a:pt x="244650" y="13288"/>
                  </a:moveTo>
                  <a:cubicBezTo>
                    <a:pt x="243003" y="25447"/>
                    <a:pt x="242195" y="37469"/>
                    <a:pt x="241308" y="49292"/>
                  </a:cubicBezTo>
                  <a:cubicBezTo>
                    <a:pt x="240752" y="61289"/>
                    <a:pt x="240562" y="73311"/>
                    <a:pt x="240511" y="85321"/>
                  </a:cubicBezTo>
                  <a:cubicBezTo>
                    <a:pt x="240502" y="109353"/>
                    <a:pt x="242310" y="133359"/>
                    <a:pt x="245146" y="157192"/>
                  </a:cubicBezTo>
                  <a:cubicBezTo>
                    <a:pt x="246689" y="169102"/>
                    <a:pt x="248627" y="180950"/>
                    <a:pt x="250679" y="192761"/>
                  </a:cubicBezTo>
                  <a:cubicBezTo>
                    <a:pt x="252843" y="204571"/>
                    <a:pt x="255592" y="216245"/>
                    <a:pt x="258327" y="227906"/>
                  </a:cubicBezTo>
                  <a:cubicBezTo>
                    <a:pt x="264214" y="251141"/>
                    <a:pt x="271342" y="273990"/>
                    <a:pt x="279231" y="296479"/>
                  </a:cubicBezTo>
                  <a:cubicBezTo>
                    <a:pt x="283131" y="307618"/>
                    <a:pt x="277103" y="319776"/>
                    <a:pt x="265759" y="323609"/>
                  </a:cubicBezTo>
                  <a:cubicBezTo>
                    <a:pt x="261011" y="325215"/>
                    <a:pt x="256086" y="325116"/>
                    <a:pt x="251667" y="323638"/>
                  </a:cubicBezTo>
                  <a:lnTo>
                    <a:pt x="248275" y="322491"/>
                  </a:lnTo>
                  <a:lnTo>
                    <a:pt x="217140" y="312012"/>
                  </a:lnTo>
                  <a:cubicBezTo>
                    <a:pt x="206808" y="308403"/>
                    <a:pt x="196349" y="305130"/>
                    <a:pt x="186081" y="301409"/>
                  </a:cubicBezTo>
                  <a:cubicBezTo>
                    <a:pt x="175812" y="297725"/>
                    <a:pt x="165442" y="294303"/>
                    <a:pt x="155186" y="290569"/>
                  </a:cubicBezTo>
                  <a:lnTo>
                    <a:pt x="124419" y="279431"/>
                  </a:lnTo>
                  <a:cubicBezTo>
                    <a:pt x="103919" y="271988"/>
                    <a:pt x="83737" y="263725"/>
                    <a:pt x="63820" y="254490"/>
                  </a:cubicBezTo>
                  <a:cubicBezTo>
                    <a:pt x="43954" y="245132"/>
                    <a:pt x="24240" y="235188"/>
                    <a:pt x="5310" y="222295"/>
                  </a:cubicBezTo>
                  <a:cubicBezTo>
                    <a:pt x="-387" y="218412"/>
                    <a:pt x="-1793" y="210024"/>
                    <a:pt x="2145" y="204423"/>
                  </a:cubicBezTo>
                  <a:cubicBezTo>
                    <a:pt x="4539" y="201037"/>
                    <a:pt x="8349" y="198425"/>
                    <a:pt x="12262" y="198425"/>
                  </a:cubicBezTo>
                  <a:lnTo>
                    <a:pt x="12513" y="198425"/>
                  </a:lnTo>
                  <a:cubicBezTo>
                    <a:pt x="24200" y="198425"/>
                    <a:pt x="35443" y="200354"/>
                    <a:pt x="46738" y="201635"/>
                  </a:cubicBezTo>
                  <a:cubicBezTo>
                    <a:pt x="57880" y="203364"/>
                    <a:pt x="69035" y="205481"/>
                    <a:pt x="79975" y="207982"/>
                  </a:cubicBezTo>
                  <a:cubicBezTo>
                    <a:pt x="101854" y="212873"/>
                    <a:pt x="123278" y="219419"/>
                    <a:pt x="144207" y="227147"/>
                  </a:cubicBezTo>
                  <a:cubicBezTo>
                    <a:pt x="165086" y="234951"/>
                    <a:pt x="185826" y="243239"/>
                    <a:pt x="206148" y="252374"/>
                  </a:cubicBezTo>
                  <a:cubicBezTo>
                    <a:pt x="226508" y="261447"/>
                    <a:pt x="246538" y="271303"/>
                    <a:pt x="266303" y="281571"/>
                  </a:cubicBezTo>
                  <a:lnTo>
                    <a:pt x="235371" y="307606"/>
                  </a:lnTo>
                  <a:cubicBezTo>
                    <a:pt x="233131" y="295273"/>
                    <a:pt x="231218" y="282927"/>
                    <a:pt x="229483" y="270556"/>
                  </a:cubicBezTo>
                  <a:cubicBezTo>
                    <a:pt x="227825" y="258174"/>
                    <a:pt x="226508" y="245790"/>
                    <a:pt x="225204" y="233420"/>
                  </a:cubicBezTo>
                  <a:cubicBezTo>
                    <a:pt x="223886" y="221062"/>
                    <a:pt x="223000" y="208679"/>
                    <a:pt x="221973" y="196333"/>
                  </a:cubicBezTo>
                  <a:cubicBezTo>
                    <a:pt x="220997" y="183975"/>
                    <a:pt x="220351" y="171629"/>
                    <a:pt x="219745" y="159284"/>
                  </a:cubicBezTo>
                  <a:cubicBezTo>
                    <a:pt x="219099" y="146951"/>
                    <a:pt x="218808" y="134605"/>
                    <a:pt x="218503" y="122272"/>
                  </a:cubicBezTo>
                  <a:lnTo>
                    <a:pt x="218287" y="85297"/>
                  </a:lnTo>
                  <a:cubicBezTo>
                    <a:pt x="218359" y="72964"/>
                    <a:pt x="217577" y="60643"/>
                    <a:pt x="218036" y="48322"/>
                  </a:cubicBezTo>
                  <a:lnTo>
                    <a:pt x="218417" y="11472"/>
                  </a:lnTo>
                  <a:lnTo>
                    <a:pt x="218417" y="11225"/>
                  </a:lnTo>
                  <a:cubicBezTo>
                    <a:pt x="218417" y="4704"/>
                    <a:pt x="225469" y="-349"/>
                    <a:pt x="232091" y="-88"/>
                  </a:cubicBezTo>
                  <a:cubicBezTo>
                    <a:pt x="238725" y="195"/>
                    <a:pt x="244462" y="5687"/>
                    <a:pt x="244183" y="12208"/>
                  </a:cubicBezTo>
                  <a:cubicBezTo>
                    <a:pt x="244154" y="12561"/>
                    <a:pt x="244714" y="12931"/>
                    <a:pt x="244664" y="13277"/>
                  </a:cubicBezTo>
                </a:path>
              </a:pathLst>
            </a:custGeom>
            <a:grpFill/>
            <a:ln w="1264" cap="flat">
              <a:noFill/>
              <a:prstDash val="solid"/>
              <a:miter/>
            </a:ln>
          </p:spPr>
          <p:txBody>
            <a:bodyPr rtlCol="0" anchor="ctr"/>
            <a:lstStyle/>
            <a:p>
              <a:endParaRPr lang="en-LT"/>
            </a:p>
          </p:txBody>
        </p:sp>
      </p:grpSp>
      <p:pic>
        <p:nvPicPr>
          <p:cNvPr id="67" name="Graphic 66">
            <a:extLst>
              <a:ext uri="{FF2B5EF4-FFF2-40B4-BE49-F238E27FC236}">
                <a16:creationId xmlns:a16="http://schemas.microsoft.com/office/drawing/2014/main" id="{9902A311-F44C-D641-A96E-FB81AF4E2ECE}"/>
              </a:ext>
            </a:extLst>
          </p:cNvPr>
          <p:cNvPicPr>
            <a:picLocks noChangeAspect="1"/>
          </p:cNvPicPr>
          <p:nvPr/>
        </p:nvPicPr>
        <p:blipFill>
          <a:blip r:embed="rId28">
            <a:extLst>
              <a:ext uri="{96DAC541-7B7A-43D3-8B79-37D633B846F1}">
                <asvg:svgBlip xmlns="" xmlns:asvg="http://schemas.microsoft.com/office/drawing/2016/SVG/main" r:embed="rId29"/>
              </a:ext>
            </a:extLst>
          </a:blip>
          <a:stretch>
            <a:fillRect/>
          </a:stretch>
        </p:blipFill>
        <p:spPr>
          <a:xfrm rot="21540000">
            <a:off x="5144595" y="1103980"/>
            <a:ext cx="2565887" cy="134841"/>
          </a:xfrm>
          <a:prstGeom prst="rect">
            <a:avLst/>
          </a:prstGeom>
        </p:spPr>
      </p:pic>
      <p:grpSp>
        <p:nvGrpSpPr>
          <p:cNvPr id="68" name="!!lamp">
            <a:extLst>
              <a:ext uri="{FF2B5EF4-FFF2-40B4-BE49-F238E27FC236}">
                <a16:creationId xmlns:a16="http://schemas.microsoft.com/office/drawing/2014/main" id="{C68A2851-622D-B540-B9E6-39AFCA9DC039}"/>
              </a:ext>
            </a:extLst>
          </p:cNvPr>
          <p:cNvGrpSpPr/>
          <p:nvPr/>
        </p:nvGrpSpPr>
        <p:grpSpPr>
          <a:xfrm>
            <a:off x="5016550" y="1928671"/>
            <a:ext cx="2487463" cy="3024801"/>
            <a:chOff x="5016550" y="1928671"/>
            <a:chExt cx="2487463" cy="3024801"/>
          </a:xfrm>
        </p:grpSpPr>
        <p:grpSp>
          <p:nvGrpSpPr>
            <p:cNvPr id="69" name="Group 68">
              <a:extLst>
                <a:ext uri="{FF2B5EF4-FFF2-40B4-BE49-F238E27FC236}">
                  <a16:creationId xmlns:a16="http://schemas.microsoft.com/office/drawing/2014/main" id="{B10E5ABD-F670-F54E-AFB1-E4FB0DB2716C}"/>
                </a:ext>
              </a:extLst>
            </p:cNvPr>
            <p:cNvGrpSpPr/>
            <p:nvPr/>
          </p:nvGrpSpPr>
          <p:grpSpPr>
            <a:xfrm>
              <a:off x="6331255" y="2054460"/>
              <a:ext cx="1172758" cy="2760218"/>
              <a:chOff x="6136179" y="2021920"/>
              <a:chExt cx="1063696" cy="2503528"/>
            </a:xfrm>
          </p:grpSpPr>
          <p:sp>
            <p:nvSpPr>
              <p:cNvPr id="131" name="Freeform 130">
                <a:extLst>
                  <a:ext uri="{FF2B5EF4-FFF2-40B4-BE49-F238E27FC236}">
                    <a16:creationId xmlns:a16="http://schemas.microsoft.com/office/drawing/2014/main" id="{13C4FBBC-8D46-B649-80D2-59E2F89B41BC}"/>
                  </a:ext>
                </a:extLst>
              </p:cNvPr>
              <p:cNvSpPr/>
              <p:nvPr/>
            </p:nvSpPr>
            <p:spPr>
              <a:xfrm>
                <a:off x="6220308" y="2674119"/>
                <a:ext cx="194530" cy="512316"/>
              </a:xfrm>
              <a:custGeom>
                <a:avLst/>
                <a:gdLst>
                  <a:gd name="connsiteX0" fmla="*/ 70802 w 71393"/>
                  <a:gd name="connsiteY0" fmla="*/ 138873 h 188021"/>
                  <a:gd name="connsiteX1" fmla="*/ 64456 w 71393"/>
                  <a:gd name="connsiteY1" fmla="*/ 87599 h 188021"/>
                  <a:gd name="connsiteX2" fmla="*/ 47485 w 71393"/>
                  <a:gd name="connsiteY2" fmla="*/ -12 h 188021"/>
                  <a:gd name="connsiteX3" fmla="*/ 47485 w 71393"/>
                  <a:gd name="connsiteY3" fmla="*/ 12797 h 188021"/>
                  <a:gd name="connsiteX4" fmla="*/ 46433 w 71393"/>
                  <a:gd name="connsiteY4" fmla="*/ 4254 h 188021"/>
                  <a:gd name="connsiteX5" fmla="*/ 26279 w 71393"/>
                  <a:gd name="connsiteY5" fmla="*/ 30960 h 188021"/>
                  <a:gd name="connsiteX6" fmla="*/ 24158 w 71393"/>
                  <a:gd name="connsiteY6" fmla="*/ 27772 h 188021"/>
                  <a:gd name="connsiteX7" fmla="*/ -220 w 71393"/>
                  <a:gd name="connsiteY7" fmla="*/ 100408 h 188021"/>
                  <a:gd name="connsiteX8" fmla="*/ 50657 w 71393"/>
                  <a:gd name="connsiteY8" fmla="*/ 188009 h 188021"/>
                  <a:gd name="connsiteX9" fmla="*/ 70802 w 71393"/>
                  <a:gd name="connsiteY9" fmla="*/ 138873 h 188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393" h="188021">
                    <a:moveTo>
                      <a:pt x="70802" y="138873"/>
                    </a:moveTo>
                    <a:cubicBezTo>
                      <a:pt x="72548" y="123699"/>
                      <a:pt x="67760" y="104126"/>
                      <a:pt x="64456" y="87599"/>
                    </a:cubicBezTo>
                    <a:cubicBezTo>
                      <a:pt x="58655" y="58792"/>
                      <a:pt x="51136" y="31178"/>
                      <a:pt x="47485" y="-12"/>
                    </a:cubicBezTo>
                    <a:cubicBezTo>
                      <a:pt x="46001" y="5087"/>
                      <a:pt x="50169" y="10025"/>
                      <a:pt x="47485" y="12797"/>
                    </a:cubicBezTo>
                    <a:cubicBezTo>
                      <a:pt x="47710" y="9372"/>
                      <a:pt x="45617" y="8275"/>
                      <a:pt x="46433" y="4254"/>
                    </a:cubicBezTo>
                    <a:cubicBezTo>
                      <a:pt x="36943" y="10356"/>
                      <a:pt x="32390" y="21443"/>
                      <a:pt x="26279" y="30960"/>
                    </a:cubicBezTo>
                    <a:cubicBezTo>
                      <a:pt x="26176" y="29305"/>
                      <a:pt x="26420" y="27271"/>
                      <a:pt x="24158" y="27772"/>
                    </a:cubicBezTo>
                    <a:cubicBezTo>
                      <a:pt x="23088" y="59067"/>
                      <a:pt x="2624" y="70873"/>
                      <a:pt x="-220" y="100408"/>
                    </a:cubicBezTo>
                    <a:cubicBezTo>
                      <a:pt x="16198" y="130141"/>
                      <a:pt x="34906" y="157595"/>
                      <a:pt x="50657" y="188009"/>
                    </a:cubicBezTo>
                    <a:cubicBezTo>
                      <a:pt x="50545" y="167471"/>
                      <a:pt x="68690" y="157235"/>
                      <a:pt x="70802" y="138873"/>
                    </a:cubicBezTo>
                    <a:close/>
                  </a:path>
                </a:pathLst>
              </a:custGeom>
              <a:solidFill>
                <a:schemeClr val="bg1"/>
              </a:solidFill>
              <a:ln w="9318" cap="flat">
                <a:noFill/>
                <a:prstDash val="solid"/>
                <a:round/>
              </a:ln>
            </p:spPr>
            <p:txBody>
              <a:bodyPr rtlCol="0" anchor="ctr"/>
              <a:lstStyle/>
              <a:p>
                <a:endParaRPr lang="en-LT"/>
              </a:p>
            </p:txBody>
          </p:sp>
          <p:sp>
            <p:nvSpPr>
              <p:cNvPr id="132" name="Freeform 131">
                <a:extLst>
                  <a:ext uri="{FF2B5EF4-FFF2-40B4-BE49-F238E27FC236}">
                    <a16:creationId xmlns:a16="http://schemas.microsoft.com/office/drawing/2014/main" id="{F198F7D3-9892-1140-9DEF-BCE2D2D1CA59}"/>
                  </a:ext>
                </a:extLst>
              </p:cNvPr>
              <p:cNvSpPr/>
              <p:nvPr/>
            </p:nvSpPr>
            <p:spPr>
              <a:xfrm>
                <a:off x="6405359" y="3212650"/>
                <a:ext cx="10169" cy="72741"/>
              </a:xfrm>
              <a:custGeom>
                <a:avLst/>
                <a:gdLst>
                  <a:gd name="connsiteX0" fmla="*/ 776 w 3732"/>
                  <a:gd name="connsiteY0" fmla="*/ 26684 h 26696"/>
                  <a:gd name="connsiteX1" fmla="*/ 2888 w 3732"/>
                  <a:gd name="connsiteY1" fmla="*/ -12 h 26696"/>
                  <a:gd name="connsiteX2" fmla="*/ 776 w 3732"/>
                  <a:gd name="connsiteY2" fmla="*/ 26684 h 26696"/>
                </a:gdLst>
                <a:ahLst/>
                <a:cxnLst>
                  <a:cxn ang="0">
                    <a:pos x="connsiteX0" y="connsiteY0"/>
                  </a:cxn>
                  <a:cxn ang="0">
                    <a:pos x="connsiteX1" y="connsiteY1"/>
                  </a:cxn>
                  <a:cxn ang="0">
                    <a:pos x="connsiteX2" y="connsiteY2"/>
                  </a:cxn>
                </a:cxnLst>
                <a:rect l="l" t="t" r="r" b="b"/>
                <a:pathLst>
                  <a:path w="3732" h="26696">
                    <a:moveTo>
                      <a:pt x="776" y="26684"/>
                    </a:moveTo>
                    <a:cubicBezTo>
                      <a:pt x="851" y="17839"/>
                      <a:pt x="5066" y="7528"/>
                      <a:pt x="2888" y="-12"/>
                    </a:cubicBezTo>
                    <a:cubicBezTo>
                      <a:pt x="2391" y="8379"/>
                      <a:pt x="-2199" y="18322"/>
                      <a:pt x="776" y="26684"/>
                    </a:cubicBezTo>
                    <a:close/>
                  </a:path>
                </a:pathLst>
              </a:custGeom>
              <a:solidFill>
                <a:schemeClr val="bg1"/>
              </a:solidFill>
              <a:ln w="9318" cap="flat">
                <a:noFill/>
                <a:prstDash val="solid"/>
                <a:round/>
              </a:ln>
            </p:spPr>
            <p:txBody>
              <a:bodyPr rtlCol="0" anchor="ctr"/>
              <a:lstStyle/>
              <a:p>
                <a:endParaRPr lang="en-LT"/>
              </a:p>
            </p:txBody>
          </p:sp>
          <p:sp>
            <p:nvSpPr>
              <p:cNvPr id="133" name="Freeform 132">
                <a:extLst>
                  <a:ext uri="{FF2B5EF4-FFF2-40B4-BE49-F238E27FC236}">
                    <a16:creationId xmlns:a16="http://schemas.microsoft.com/office/drawing/2014/main" id="{7A18A0D2-6C4F-2F4E-BB93-EAAEF0B689B6}"/>
                  </a:ext>
                </a:extLst>
              </p:cNvPr>
              <p:cNvSpPr/>
              <p:nvPr/>
            </p:nvSpPr>
            <p:spPr>
              <a:xfrm>
                <a:off x="6419609" y="3110765"/>
                <a:ext cx="219503" cy="47567"/>
              </a:xfrm>
              <a:custGeom>
                <a:avLst/>
                <a:gdLst>
                  <a:gd name="connsiteX0" fmla="*/ 54910 w 80558"/>
                  <a:gd name="connsiteY0" fmla="*/ 6389 h 17457"/>
                  <a:gd name="connsiteX1" fmla="*/ 59134 w 80558"/>
                  <a:gd name="connsiteY1" fmla="*/ 7458 h 17457"/>
                  <a:gd name="connsiteX2" fmla="*/ 54910 w 80558"/>
                  <a:gd name="connsiteY2" fmla="*/ 7458 h 17457"/>
                  <a:gd name="connsiteX3" fmla="*/ 33695 w 80558"/>
                  <a:gd name="connsiteY3" fmla="*/ 9596 h 17457"/>
                  <a:gd name="connsiteX4" fmla="*/ 31583 w 80558"/>
                  <a:gd name="connsiteY4" fmla="*/ 7458 h 17457"/>
                  <a:gd name="connsiteX5" fmla="*/ 54910 w 80558"/>
                  <a:gd name="connsiteY5" fmla="*/ 6389 h 17457"/>
                  <a:gd name="connsiteX6" fmla="*/ 16733 w 80558"/>
                  <a:gd name="connsiteY6" fmla="*/ 17069 h 17457"/>
                  <a:gd name="connsiteX7" fmla="*/ 17794 w 80558"/>
                  <a:gd name="connsiteY7" fmla="*/ 11734 h 17457"/>
                  <a:gd name="connsiteX8" fmla="*/ 80339 w 80558"/>
                  <a:gd name="connsiteY8" fmla="*/ 2122 h 17457"/>
                  <a:gd name="connsiteX9" fmla="*/ 8266 w 80558"/>
                  <a:gd name="connsiteY9" fmla="*/ 1053 h 17457"/>
                  <a:gd name="connsiteX10" fmla="*/ 8266 w 80558"/>
                  <a:gd name="connsiteY10" fmla="*/ 2122 h 17457"/>
                  <a:gd name="connsiteX11" fmla="*/ 30503 w 80558"/>
                  <a:gd name="connsiteY11" fmla="*/ 5329 h 17457"/>
                  <a:gd name="connsiteX12" fmla="*/ 30503 w 80558"/>
                  <a:gd name="connsiteY12" fmla="*/ 9596 h 17457"/>
                  <a:gd name="connsiteX13" fmla="*/ 14621 w 80558"/>
                  <a:gd name="connsiteY13" fmla="*/ 6389 h 17457"/>
                  <a:gd name="connsiteX14" fmla="*/ -220 w 80558"/>
                  <a:gd name="connsiteY14" fmla="*/ 7458 h 17457"/>
                  <a:gd name="connsiteX15" fmla="*/ 11439 w 80558"/>
                  <a:gd name="connsiteY15" fmla="*/ 11734 h 17457"/>
                  <a:gd name="connsiteX16" fmla="*/ 16733 w 80558"/>
                  <a:gd name="connsiteY16" fmla="*/ 17069 h 1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0558" h="17457">
                    <a:moveTo>
                      <a:pt x="54910" y="6389"/>
                    </a:moveTo>
                    <a:cubicBezTo>
                      <a:pt x="56580" y="6483"/>
                      <a:pt x="58927" y="5878"/>
                      <a:pt x="59134" y="7458"/>
                    </a:cubicBezTo>
                    <a:lnTo>
                      <a:pt x="54910" y="7458"/>
                    </a:lnTo>
                    <a:cubicBezTo>
                      <a:pt x="49503" y="9870"/>
                      <a:pt x="38839" y="6947"/>
                      <a:pt x="33695" y="9596"/>
                    </a:cubicBezTo>
                    <a:cubicBezTo>
                      <a:pt x="32766" y="9113"/>
                      <a:pt x="31818" y="8650"/>
                      <a:pt x="31583" y="7458"/>
                    </a:cubicBezTo>
                    <a:cubicBezTo>
                      <a:pt x="36352" y="1867"/>
                      <a:pt x="46630" y="8432"/>
                      <a:pt x="54910" y="6389"/>
                    </a:cubicBezTo>
                    <a:close/>
                    <a:moveTo>
                      <a:pt x="16733" y="17069"/>
                    </a:moveTo>
                    <a:cubicBezTo>
                      <a:pt x="20262" y="16729"/>
                      <a:pt x="13945" y="12405"/>
                      <a:pt x="17794" y="11734"/>
                    </a:cubicBezTo>
                    <a:cubicBezTo>
                      <a:pt x="42491" y="12405"/>
                      <a:pt x="62992" y="8848"/>
                      <a:pt x="80339" y="2122"/>
                    </a:cubicBezTo>
                    <a:cubicBezTo>
                      <a:pt x="63424" y="7562"/>
                      <a:pt x="30654" y="3570"/>
                      <a:pt x="8266" y="1053"/>
                    </a:cubicBezTo>
                    <a:cubicBezTo>
                      <a:pt x="6173" y="-1463"/>
                      <a:pt x="6173" y="1138"/>
                      <a:pt x="8266" y="2122"/>
                    </a:cubicBezTo>
                    <a:cubicBezTo>
                      <a:pt x="15944" y="2917"/>
                      <a:pt x="24430" y="2917"/>
                      <a:pt x="30503" y="5329"/>
                    </a:cubicBezTo>
                    <a:lnTo>
                      <a:pt x="30503" y="9596"/>
                    </a:lnTo>
                    <a:cubicBezTo>
                      <a:pt x="25097" y="8650"/>
                      <a:pt x="15278" y="12131"/>
                      <a:pt x="14621" y="6389"/>
                    </a:cubicBezTo>
                    <a:cubicBezTo>
                      <a:pt x="10791" y="13068"/>
                      <a:pt x="4558" y="4951"/>
                      <a:pt x="-220" y="7458"/>
                    </a:cubicBezTo>
                    <a:cubicBezTo>
                      <a:pt x="3563" y="8990"/>
                      <a:pt x="6604" y="11251"/>
                      <a:pt x="11439" y="11734"/>
                    </a:cubicBezTo>
                    <a:cubicBezTo>
                      <a:pt x="13025" y="13683"/>
                      <a:pt x="11410" y="18876"/>
                      <a:pt x="16733" y="17069"/>
                    </a:cubicBezTo>
                    <a:close/>
                  </a:path>
                </a:pathLst>
              </a:custGeom>
              <a:solidFill>
                <a:schemeClr val="bg1"/>
              </a:solidFill>
              <a:ln w="9318" cap="flat">
                <a:noFill/>
                <a:prstDash val="solid"/>
                <a:round/>
              </a:ln>
            </p:spPr>
            <p:txBody>
              <a:bodyPr rtlCol="0" anchor="ctr"/>
              <a:lstStyle/>
              <a:p>
                <a:endParaRPr lang="en-LT"/>
              </a:p>
            </p:txBody>
          </p:sp>
          <p:sp>
            <p:nvSpPr>
              <p:cNvPr id="134" name="Freeform 133">
                <a:extLst>
                  <a:ext uri="{FF2B5EF4-FFF2-40B4-BE49-F238E27FC236}">
                    <a16:creationId xmlns:a16="http://schemas.microsoft.com/office/drawing/2014/main" id="{71795DBC-771A-FB42-B90B-EE0DBA011B86}"/>
                  </a:ext>
                </a:extLst>
              </p:cNvPr>
              <p:cNvSpPr/>
              <p:nvPr/>
            </p:nvSpPr>
            <p:spPr>
              <a:xfrm>
                <a:off x="6789253" y="2583847"/>
                <a:ext cx="15087" cy="142108"/>
              </a:xfrm>
              <a:custGeom>
                <a:avLst/>
                <a:gdLst>
                  <a:gd name="connsiteX0" fmla="*/ -220 w 5537"/>
                  <a:gd name="connsiteY0" fmla="*/ 52142 h 52154"/>
                  <a:gd name="connsiteX1" fmla="*/ 5102 w 5537"/>
                  <a:gd name="connsiteY1" fmla="*/ -12 h 52154"/>
                  <a:gd name="connsiteX2" fmla="*/ -220 w 5537"/>
                  <a:gd name="connsiteY2" fmla="*/ 52142 h 52154"/>
                </a:gdLst>
                <a:ahLst/>
                <a:cxnLst>
                  <a:cxn ang="0">
                    <a:pos x="connsiteX0" y="connsiteY0"/>
                  </a:cxn>
                  <a:cxn ang="0">
                    <a:pos x="connsiteX1" y="connsiteY1"/>
                  </a:cxn>
                  <a:cxn ang="0">
                    <a:pos x="connsiteX2" y="connsiteY2"/>
                  </a:cxn>
                </a:cxnLst>
                <a:rect l="l" t="t" r="r" b="b"/>
                <a:pathLst>
                  <a:path w="5537" h="52154">
                    <a:moveTo>
                      <a:pt x="-220" y="52142"/>
                    </a:moveTo>
                    <a:cubicBezTo>
                      <a:pt x="1911" y="34924"/>
                      <a:pt x="6342" y="16988"/>
                      <a:pt x="5102" y="-12"/>
                    </a:cubicBezTo>
                    <a:cubicBezTo>
                      <a:pt x="2408" y="16449"/>
                      <a:pt x="794" y="33988"/>
                      <a:pt x="-220" y="52142"/>
                    </a:cubicBezTo>
                    <a:close/>
                  </a:path>
                </a:pathLst>
              </a:custGeom>
              <a:solidFill>
                <a:schemeClr val="bg1"/>
              </a:solidFill>
              <a:ln w="9318" cap="flat">
                <a:noFill/>
                <a:prstDash val="solid"/>
                <a:round/>
              </a:ln>
            </p:spPr>
            <p:txBody>
              <a:bodyPr rtlCol="0" anchor="ctr"/>
              <a:lstStyle/>
              <a:p>
                <a:endParaRPr lang="en-LT"/>
              </a:p>
            </p:txBody>
          </p:sp>
          <p:sp>
            <p:nvSpPr>
              <p:cNvPr id="135" name="Freeform 134">
                <a:extLst>
                  <a:ext uri="{FF2B5EF4-FFF2-40B4-BE49-F238E27FC236}">
                    <a16:creationId xmlns:a16="http://schemas.microsoft.com/office/drawing/2014/main" id="{DC28C237-F133-D646-8143-77251AFE824F}"/>
                  </a:ext>
                </a:extLst>
              </p:cNvPr>
              <p:cNvSpPr/>
              <p:nvPr/>
            </p:nvSpPr>
            <p:spPr>
              <a:xfrm>
                <a:off x="6845280" y="3780260"/>
                <a:ext cx="8024" cy="20681"/>
              </a:xfrm>
              <a:custGeom>
                <a:avLst/>
                <a:gdLst>
                  <a:gd name="connsiteX0" fmla="*/ 2554 w 2945"/>
                  <a:gd name="connsiteY0" fmla="*/ -12 h 7590"/>
                  <a:gd name="connsiteX1" fmla="*/ 2554 w 2945"/>
                  <a:gd name="connsiteY1" fmla="*/ -12 h 7590"/>
                </a:gdLst>
                <a:ahLst/>
                <a:cxnLst>
                  <a:cxn ang="0">
                    <a:pos x="connsiteX0" y="connsiteY0"/>
                  </a:cxn>
                  <a:cxn ang="0">
                    <a:pos x="connsiteX1" y="connsiteY1"/>
                  </a:cxn>
                </a:cxnLst>
                <a:rect l="l" t="t" r="r" b="b"/>
                <a:pathLst>
                  <a:path w="2945" h="7590">
                    <a:moveTo>
                      <a:pt x="2554" y="-12"/>
                    </a:moveTo>
                    <a:cubicBezTo>
                      <a:pt x="-4355" y="14121"/>
                      <a:pt x="3999" y="5144"/>
                      <a:pt x="2554" y="-12"/>
                    </a:cubicBezTo>
                    <a:close/>
                  </a:path>
                </a:pathLst>
              </a:custGeom>
              <a:solidFill>
                <a:schemeClr val="bg1"/>
              </a:solidFill>
              <a:ln w="9318" cap="flat">
                <a:noFill/>
                <a:prstDash val="solid"/>
                <a:round/>
              </a:ln>
            </p:spPr>
            <p:txBody>
              <a:bodyPr rtlCol="0" anchor="ctr"/>
              <a:lstStyle/>
              <a:p>
                <a:endParaRPr lang="en-LT"/>
              </a:p>
            </p:txBody>
          </p:sp>
          <p:sp>
            <p:nvSpPr>
              <p:cNvPr id="136" name="Freeform 135">
                <a:extLst>
                  <a:ext uri="{FF2B5EF4-FFF2-40B4-BE49-F238E27FC236}">
                    <a16:creationId xmlns:a16="http://schemas.microsoft.com/office/drawing/2014/main" id="{87F36D2C-04C4-DF4B-B090-ED96158EBAD0}"/>
                  </a:ext>
                </a:extLst>
              </p:cNvPr>
              <p:cNvSpPr/>
              <p:nvPr/>
            </p:nvSpPr>
            <p:spPr>
              <a:xfrm>
                <a:off x="7024881" y="3853029"/>
                <a:ext cx="18608" cy="20338"/>
              </a:xfrm>
              <a:custGeom>
                <a:avLst/>
                <a:gdLst>
                  <a:gd name="connsiteX0" fmla="*/ 245 w 6829"/>
                  <a:gd name="connsiteY0" fmla="*/ 7452 h 7464"/>
                  <a:gd name="connsiteX1" fmla="*/ 6610 w 6829"/>
                  <a:gd name="connsiteY1" fmla="*/ -12 h 7464"/>
                  <a:gd name="connsiteX2" fmla="*/ 245 w 6829"/>
                  <a:gd name="connsiteY2" fmla="*/ 7452 h 7464"/>
                </a:gdLst>
                <a:ahLst/>
                <a:cxnLst>
                  <a:cxn ang="0">
                    <a:pos x="connsiteX0" y="connsiteY0"/>
                  </a:cxn>
                  <a:cxn ang="0">
                    <a:pos x="connsiteX1" y="connsiteY1"/>
                  </a:cxn>
                  <a:cxn ang="0">
                    <a:pos x="connsiteX2" y="connsiteY2"/>
                  </a:cxn>
                </a:cxnLst>
                <a:rect l="l" t="t" r="r" b="b"/>
                <a:pathLst>
                  <a:path w="6829" h="7464">
                    <a:moveTo>
                      <a:pt x="245" y="7452"/>
                    </a:moveTo>
                    <a:cubicBezTo>
                      <a:pt x="1710" y="4311"/>
                      <a:pt x="5155" y="3138"/>
                      <a:pt x="6610" y="-12"/>
                    </a:cubicBezTo>
                    <a:cubicBezTo>
                      <a:pt x="3475" y="792"/>
                      <a:pt x="-1820" y="4945"/>
                      <a:pt x="245" y="7452"/>
                    </a:cubicBezTo>
                    <a:close/>
                  </a:path>
                </a:pathLst>
              </a:custGeom>
              <a:solidFill>
                <a:schemeClr val="bg1"/>
              </a:solidFill>
              <a:ln w="9318" cap="flat">
                <a:noFill/>
                <a:prstDash val="solid"/>
                <a:round/>
              </a:ln>
            </p:spPr>
            <p:txBody>
              <a:bodyPr rtlCol="0" anchor="ctr"/>
              <a:lstStyle/>
              <a:p>
                <a:endParaRPr lang="en-LT"/>
              </a:p>
            </p:txBody>
          </p:sp>
          <p:sp>
            <p:nvSpPr>
              <p:cNvPr id="137" name="Freeform 136">
                <a:extLst>
                  <a:ext uri="{FF2B5EF4-FFF2-40B4-BE49-F238E27FC236}">
                    <a16:creationId xmlns:a16="http://schemas.microsoft.com/office/drawing/2014/main" id="{BB75AB56-7ED7-9B49-8CEF-20696B9B888A}"/>
                  </a:ext>
                </a:extLst>
              </p:cNvPr>
              <p:cNvSpPr/>
              <p:nvPr/>
            </p:nvSpPr>
            <p:spPr>
              <a:xfrm>
                <a:off x="7080549" y="3786062"/>
                <a:ext cx="21594" cy="26471"/>
              </a:xfrm>
              <a:custGeom>
                <a:avLst/>
                <a:gdLst>
                  <a:gd name="connsiteX0" fmla="*/ 7366 w 7925"/>
                  <a:gd name="connsiteY0" fmla="*/ -12 h 9715"/>
                  <a:gd name="connsiteX1" fmla="*/ -49 w 7925"/>
                  <a:gd name="connsiteY1" fmla="*/ 9599 h 9715"/>
                  <a:gd name="connsiteX2" fmla="*/ 7366 w 7925"/>
                  <a:gd name="connsiteY2" fmla="*/ -12 h 9715"/>
                </a:gdLst>
                <a:ahLst/>
                <a:cxnLst>
                  <a:cxn ang="0">
                    <a:pos x="connsiteX0" y="connsiteY0"/>
                  </a:cxn>
                  <a:cxn ang="0">
                    <a:pos x="connsiteX1" y="connsiteY1"/>
                  </a:cxn>
                  <a:cxn ang="0">
                    <a:pos x="connsiteX2" y="connsiteY2"/>
                  </a:cxn>
                </a:cxnLst>
                <a:rect l="l" t="t" r="r" b="b"/>
                <a:pathLst>
                  <a:path w="7925" h="9715">
                    <a:moveTo>
                      <a:pt x="7366" y="-12"/>
                    </a:moveTo>
                    <a:cubicBezTo>
                      <a:pt x="4175" y="1359"/>
                      <a:pt x="-1251" y="10791"/>
                      <a:pt x="-49" y="9599"/>
                    </a:cubicBezTo>
                    <a:cubicBezTo>
                      <a:pt x="2372" y="6998"/>
                      <a:pt x="9310" y="3403"/>
                      <a:pt x="7366" y="-12"/>
                    </a:cubicBezTo>
                    <a:close/>
                  </a:path>
                </a:pathLst>
              </a:custGeom>
              <a:solidFill>
                <a:schemeClr val="bg1"/>
              </a:solidFill>
              <a:ln w="9318" cap="flat">
                <a:noFill/>
                <a:prstDash val="solid"/>
                <a:round/>
              </a:ln>
            </p:spPr>
            <p:txBody>
              <a:bodyPr rtlCol="0" anchor="ctr"/>
              <a:lstStyle/>
              <a:p>
                <a:endParaRPr lang="en-LT"/>
              </a:p>
            </p:txBody>
          </p:sp>
          <p:sp>
            <p:nvSpPr>
              <p:cNvPr id="138" name="Freeform 137">
                <a:extLst>
                  <a:ext uri="{FF2B5EF4-FFF2-40B4-BE49-F238E27FC236}">
                    <a16:creationId xmlns:a16="http://schemas.microsoft.com/office/drawing/2014/main" id="{73FFC82C-B594-B646-AB2B-D13AAC74D196}"/>
                  </a:ext>
                </a:extLst>
              </p:cNvPr>
              <p:cNvSpPr/>
              <p:nvPr/>
            </p:nvSpPr>
            <p:spPr>
              <a:xfrm>
                <a:off x="6893002" y="3981115"/>
                <a:ext cx="14725" cy="11891"/>
              </a:xfrm>
              <a:custGeom>
                <a:avLst/>
                <a:gdLst>
                  <a:gd name="connsiteX0" fmla="*/ 4133 w 5404"/>
                  <a:gd name="connsiteY0" fmla="*/ 4254 h 4364"/>
                  <a:gd name="connsiteX1" fmla="*/ 5184 w 5404"/>
                  <a:gd name="connsiteY1" fmla="*/ 1057 h 4364"/>
                  <a:gd name="connsiteX2" fmla="*/ -129 w 5404"/>
                  <a:gd name="connsiteY2" fmla="*/ -12 h 4364"/>
                  <a:gd name="connsiteX3" fmla="*/ 4133 w 5404"/>
                  <a:gd name="connsiteY3" fmla="*/ 4254 h 4364"/>
                </a:gdLst>
                <a:ahLst/>
                <a:cxnLst>
                  <a:cxn ang="0">
                    <a:pos x="connsiteX0" y="connsiteY0"/>
                  </a:cxn>
                  <a:cxn ang="0">
                    <a:pos x="connsiteX1" y="connsiteY1"/>
                  </a:cxn>
                  <a:cxn ang="0">
                    <a:pos x="connsiteX2" y="connsiteY2"/>
                  </a:cxn>
                  <a:cxn ang="0">
                    <a:pos x="connsiteX3" y="connsiteY3"/>
                  </a:cxn>
                </a:cxnLst>
                <a:rect l="l" t="t" r="r" b="b"/>
                <a:pathLst>
                  <a:path w="5404" h="4364">
                    <a:moveTo>
                      <a:pt x="4133" y="4254"/>
                    </a:moveTo>
                    <a:cubicBezTo>
                      <a:pt x="4076" y="2760"/>
                      <a:pt x="4630" y="1918"/>
                      <a:pt x="5184" y="1057"/>
                    </a:cubicBezTo>
                    <a:cubicBezTo>
                      <a:pt x="2725" y="1369"/>
                      <a:pt x="1110" y="877"/>
                      <a:pt x="-129" y="-12"/>
                    </a:cubicBezTo>
                    <a:cubicBezTo>
                      <a:pt x="-608" y="3327"/>
                      <a:pt x="800" y="4756"/>
                      <a:pt x="4133" y="4254"/>
                    </a:cubicBezTo>
                    <a:close/>
                  </a:path>
                </a:pathLst>
              </a:custGeom>
              <a:solidFill>
                <a:schemeClr val="bg1"/>
              </a:solidFill>
              <a:ln w="9318" cap="flat">
                <a:noFill/>
                <a:prstDash val="solid"/>
                <a:round/>
              </a:ln>
            </p:spPr>
            <p:txBody>
              <a:bodyPr rtlCol="0" anchor="ctr"/>
              <a:lstStyle/>
              <a:p>
                <a:endParaRPr lang="en-LT"/>
              </a:p>
            </p:txBody>
          </p:sp>
          <p:sp>
            <p:nvSpPr>
              <p:cNvPr id="139" name="Freeform 138">
                <a:extLst>
                  <a:ext uri="{FF2B5EF4-FFF2-40B4-BE49-F238E27FC236}">
                    <a16:creationId xmlns:a16="http://schemas.microsoft.com/office/drawing/2014/main" id="{A75BCF07-DC89-484C-B682-CE47439D8857}"/>
                  </a:ext>
                </a:extLst>
              </p:cNvPr>
              <p:cNvSpPr/>
              <p:nvPr/>
            </p:nvSpPr>
            <p:spPr>
              <a:xfrm>
                <a:off x="6883882" y="3835527"/>
                <a:ext cx="9232" cy="26240"/>
              </a:xfrm>
              <a:custGeom>
                <a:avLst/>
                <a:gdLst>
                  <a:gd name="connsiteX0" fmla="*/ 2157 w 3388"/>
                  <a:gd name="connsiteY0" fmla="*/ -12 h 9630"/>
                  <a:gd name="connsiteX1" fmla="*/ 1106 w 3388"/>
                  <a:gd name="connsiteY1" fmla="*/ 9618 h 9630"/>
                  <a:gd name="connsiteX2" fmla="*/ 2157 w 3388"/>
                  <a:gd name="connsiteY2" fmla="*/ -12 h 9630"/>
                </a:gdLst>
                <a:ahLst/>
                <a:cxnLst>
                  <a:cxn ang="0">
                    <a:pos x="connsiteX0" y="connsiteY0"/>
                  </a:cxn>
                  <a:cxn ang="0">
                    <a:pos x="connsiteX1" y="connsiteY1"/>
                  </a:cxn>
                  <a:cxn ang="0">
                    <a:pos x="connsiteX2" y="connsiteY2"/>
                  </a:cxn>
                </a:cxnLst>
                <a:rect l="l" t="t" r="r" b="b"/>
                <a:pathLst>
                  <a:path w="3388" h="9630">
                    <a:moveTo>
                      <a:pt x="2157" y="-12"/>
                    </a:moveTo>
                    <a:cubicBezTo>
                      <a:pt x="1697" y="2438"/>
                      <a:pt x="-2217" y="6865"/>
                      <a:pt x="1106" y="9618"/>
                    </a:cubicBezTo>
                    <a:cubicBezTo>
                      <a:pt x="186" y="5749"/>
                      <a:pt x="5246" y="2485"/>
                      <a:pt x="2157" y="-12"/>
                    </a:cubicBezTo>
                    <a:close/>
                  </a:path>
                </a:pathLst>
              </a:custGeom>
              <a:solidFill>
                <a:schemeClr val="bg1"/>
              </a:solidFill>
              <a:ln w="9318" cap="flat">
                <a:noFill/>
                <a:prstDash val="solid"/>
                <a:round/>
              </a:ln>
            </p:spPr>
            <p:txBody>
              <a:bodyPr rtlCol="0" anchor="ctr"/>
              <a:lstStyle/>
              <a:p>
                <a:endParaRPr lang="en-LT"/>
              </a:p>
            </p:txBody>
          </p:sp>
          <p:sp>
            <p:nvSpPr>
              <p:cNvPr id="140" name="Freeform 139">
                <a:extLst>
                  <a:ext uri="{FF2B5EF4-FFF2-40B4-BE49-F238E27FC236}">
                    <a16:creationId xmlns:a16="http://schemas.microsoft.com/office/drawing/2014/main" id="{9480959F-8E35-D448-B78D-6253ED88BBE3}"/>
                  </a:ext>
                </a:extLst>
              </p:cNvPr>
              <p:cNvSpPr/>
              <p:nvPr/>
            </p:nvSpPr>
            <p:spPr>
              <a:xfrm>
                <a:off x="6382571" y="3372366"/>
                <a:ext cx="26114" cy="26986"/>
              </a:xfrm>
              <a:custGeom>
                <a:avLst/>
                <a:gdLst>
                  <a:gd name="connsiteX0" fmla="*/ -220 w 9584"/>
                  <a:gd name="connsiteY0" fmla="*/ 9893 h 9904"/>
                  <a:gd name="connsiteX1" fmla="*/ 9364 w 9584"/>
                  <a:gd name="connsiteY1" fmla="*/ -12 h 9904"/>
                  <a:gd name="connsiteX2" fmla="*/ -220 w 9584"/>
                  <a:gd name="connsiteY2" fmla="*/ 9893 h 9904"/>
                </a:gdLst>
                <a:ahLst/>
                <a:cxnLst>
                  <a:cxn ang="0">
                    <a:pos x="connsiteX0" y="connsiteY0"/>
                  </a:cxn>
                  <a:cxn ang="0">
                    <a:pos x="connsiteX1" y="connsiteY1"/>
                  </a:cxn>
                  <a:cxn ang="0">
                    <a:pos x="connsiteX2" y="connsiteY2"/>
                  </a:cxn>
                </a:cxnLst>
                <a:rect l="l" t="t" r="r" b="b"/>
                <a:pathLst>
                  <a:path w="9584" h="9904">
                    <a:moveTo>
                      <a:pt x="-220" y="9893"/>
                    </a:moveTo>
                    <a:cubicBezTo>
                      <a:pt x="3000" y="6563"/>
                      <a:pt x="6191" y="3233"/>
                      <a:pt x="9364" y="-12"/>
                    </a:cubicBezTo>
                    <a:cubicBezTo>
                      <a:pt x="5590" y="2958"/>
                      <a:pt x="2099" y="6118"/>
                      <a:pt x="-220" y="9893"/>
                    </a:cubicBezTo>
                    <a:close/>
                  </a:path>
                </a:pathLst>
              </a:custGeom>
              <a:solidFill>
                <a:schemeClr val="bg1"/>
              </a:solidFill>
              <a:ln w="9318" cap="flat">
                <a:noFill/>
                <a:prstDash val="solid"/>
                <a:round/>
              </a:ln>
            </p:spPr>
            <p:txBody>
              <a:bodyPr rtlCol="0" anchor="ctr"/>
              <a:lstStyle/>
              <a:p>
                <a:endParaRPr lang="en-LT"/>
              </a:p>
            </p:txBody>
          </p:sp>
          <p:sp>
            <p:nvSpPr>
              <p:cNvPr id="141" name="Freeform 140">
                <a:extLst>
                  <a:ext uri="{FF2B5EF4-FFF2-40B4-BE49-F238E27FC236}">
                    <a16:creationId xmlns:a16="http://schemas.microsoft.com/office/drawing/2014/main" id="{2A350D5B-CE9C-1A4D-BBCF-D7A8D3A30D8B}"/>
                  </a:ext>
                </a:extLst>
              </p:cNvPr>
              <p:cNvSpPr/>
              <p:nvPr/>
            </p:nvSpPr>
            <p:spPr>
              <a:xfrm>
                <a:off x="6786468" y="2725955"/>
                <a:ext cx="2782" cy="54389"/>
              </a:xfrm>
              <a:custGeom>
                <a:avLst/>
                <a:gdLst>
                  <a:gd name="connsiteX0" fmla="*/ -71 w 1021"/>
                  <a:gd name="connsiteY0" fmla="*/ 19949 h 19961"/>
                  <a:gd name="connsiteX1" fmla="*/ 802 w 1021"/>
                  <a:gd name="connsiteY1" fmla="*/ -12 h 19961"/>
                  <a:gd name="connsiteX2" fmla="*/ -71 w 1021"/>
                  <a:gd name="connsiteY2" fmla="*/ 19949 h 19961"/>
                </a:gdLst>
                <a:ahLst/>
                <a:cxnLst>
                  <a:cxn ang="0">
                    <a:pos x="connsiteX0" y="connsiteY0"/>
                  </a:cxn>
                  <a:cxn ang="0">
                    <a:pos x="connsiteX1" y="connsiteY1"/>
                  </a:cxn>
                  <a:cxn ang="0">
                    <a:pos x="connsiteX2" y="connsiteY2"/>
                  </a:cxn>
                </a:cxnLst>
                <a:rect l="l" t="t" r="r" b="b"/>
                <a:pathLst>
                  <a:path w="1021" h="19961">
                    <a:moveTo>
                      <a:pt x="-71" y="19949"/>
                    </a:moveTo>
                    <a:cubicBezTo>
                      <a:pt x="145" y="13213"/>
                      <a:pt x="436" y="6563"/>
                      <a:pt x="802" y="-12"/>
                    </a:cubicBezTo>
                    <a:cubicBezTo>
                      <a:pt x="-43" y="6790"/>
                      <a:pt x="-465" y="13469"/>
                      <a:pt x="-71" y="19949"/>
                    </a:cubicBezTo>
                    <a:close/>
                  </a:path>
                </a:pathLst>
              </a:custGeom>
              <a:solidFill>
                <a:schemeClr val="bg1"/>
              </a:solidFill>
              <a:ln w="9318" cap="flat">
                <a:noFill/>
                <a:prstDash val="solid"/>
                <a:round/>
              </a:ln>
            </p:spPr>
            <p:txBody>
              <a:bodyPr rtlCol="0" anchor="ctr"/>
              <a:lstStyle/>
              <a:p>
                <a:endParaRPr lang="en-LT"/>
              </a:p>
            </p:txBody>
          </p:sp>
          <p:sp>
            <p:nvSpPr>
              <p:cNvPr id="142" name="Freeform 141">
                <a:extLst>
                  <a:ext uri="{FF2B5EF4-FFF2-40B4-BE49-F238E27FC236}">
                    <a16:creationId xmlns:a16="http://schemas.microsoft.com/office/drawing/2014/main" id="{53C20D1E-A4B3-794E-BD01-D109C8883B22}"/>
                  </a:ext>
                </a:extLst>
              </p:cNvPr>
              <p:cNvSpPr/>
              <p:nvPr/>
            </p:nvSpPr>
            <p:spPr>
              <a:xfrm>
                <a:off x="6552159" y="3547341"/>
                <a:ext cx="6101" cy="29101"/>
              </a:xfrm>
              <a:custGeom>
                <a:avLst/>
                <a:gdLst>
                  <a:gd name="connsiteX0" fmla="*/ 2020 w 2239"/>
                  <a:gd name="connsiteY0" fmla="*/ 10668 h 10680"/>
                  <a:gd name="connsiteX1" fmla="*/ -101 w 2239"/>
                  <a:gd name="connsiteY1" fmla="*/ -12 h 10680"/>
                  <a:gd name="connsiteX2" fmla="*/ 2020 w 2239"/>
                  <a:gd name="connsiteY2" fmla="*/ 10668 h 10680"/>
                </a:gdLst>
                <a:ahLst/>
                <a:cxnLst>
                  <a:cxn ang="0">
                    <a:pos x="connsiteX0" y="connsiteY0"/>
                  </a:cxn>
                  <a:cxn ang="0">
                    <a:pos x="connsiteX1" y="connsiteY1"/>
                  </a:cxn>
                  <a:cxn ang="0">
                    <a:pos x="connsiteX2" y="connsiteY2"/>
                  </a:cxn>
                </a:cxnLst>
                <a:rect l="l" t="t" r="r" b="b"/>
                <a:pathLst>
                  <a:path w="2239" h="10680">
                    <a:moveTo>
                      <a:pt x="2020" y="10668"/>
                    </a:moveTo>
                    <a:cubicBezTo>
                      <a:pt x="1935" y="6487"/>
                      <a:pt x="1494" y="2646"/>
                      <a:pt x="-101" y="-12"/>
                    </a:cubicBezTo>
                    <a:cubicBezTo>
                      <a:pt x="452" y="3687"/>
                      <a:pt x="-1678" y="10139"/>
                      <a:pt x="2020" y="10668"/>
                    </a:cubicBezTo>
                    <a:close/>
                  </a:path>
                </a:pathLst>
              </a:custGeom>
              <a:solidFill>
                <a:schemeClr val="bg1"/>
              </a:solidFill>
              <a:ln w="9318" cap="flat">
                <a:noFill/>
                <a:prstDash val="solid"/>
                <a:round/>
              </a:ln>
            </p:spPr>
            <p:txBody>
              <a:bodyPr rtlCol="0" anchor="ctr"/>
              <a:lstStyle/>
              <a:p>
                <a:endParaRPr lang="en-LT"/>
              </a:p>
            </p:txBody>
          </p:sp>
          <p:sp>
            <p:nvSpPr>
              <p:cNvPr id="143" name="Freeform 142">
                <a:extLst>
                  <a:ext uri="{FF2B5EF4-FFF2-40B4-BE49-F238E27FC236}">
                    <a16:creationId xmlns:a16="http://schemas.microsoft.com/office/drawing/2014/main" id="{0AD9FD80-B732-3946-B999-EE76E9AC5AF2}"/>
                  </a:ext>
                </a:extLst>
              </p:cNvPr>
              <p:cNvSpPr/>
              <p:nvPr/>
            </p:nvSpPr>
            <p:spPr>
              <a:xfrm>
                <a:off x="6612608" y="2639217"/>
                <a:ext cx="17858" cy="205669"/>
              </a:xfrm>
              <a:custGeom>
                <a:avLst/>
                <a:gdLst>
                  <a:gd name="connsiteX0" fmla="*/ 1031 w 6554"/>
                  <a:gd name="connsiteY0" fmla="*/ 72623 h 75481"/>
                  <a:gd name="connsiteX1" fmla="*/ 6334 w 6554"/>
                  <a:gd name="connsiteY1" fmla="*/ -12 h 75481"/>
                  <a:gd name="connsiteX2" fmla="*/ -39 w 6554"/>
                  <a:gd name="connsiteY2" fmla="*/ 71554 h 75481"/>
                  <a:gd name="connsiteX3" fmla="*/ 1031 w 6554"/>
                  <a:gd name="connsiteY3" fmla="*/ 72623 h 75481"/>
                </a:gdLst>
                <a:ahLst/>
                <a:cxnLst>
                  <a:cxn ang="0">
                    <a:pos x="connsiteX0" y="connsiteY0"/>
                  </a:cxn>
                  <a:cxn ang="0">
                    <a:pos x="connsiteX1" y="connsiteY1"/>
                  </a:cxn>
                  <a:cxn ang="0">
                    <a:pos x="connsiteX2" y="connsiteY2"/>
                  </a:cxn>
                  <a:cxn ang="0">
                    <a:pos x="connsiteX3" y="connsiteY3"/>
                  </a:cxn>
                </a:cxnLst>
                <a:rect l="l" t="t" r="r" b="b"/>
                <a:pathLst>
                  <a:path w="6554" h="75481">
                    <a:moveTo>
                      <a:pt x="1031" y="72623"/>
                    </a:moveTo>
                    <a:cubicBezTo>
                      <a:pt x="26" y="46314"/>
                      <a:pt x="5856" y="21216"/>
                      <a:pt x="6334" y="-12"/>
                    </a:cubicBezTo>
                    <a:cubicBezTo>
                      <a:pt x="-1494" y="18104"/>
                      <a:pt x="-20" y="45558"/>
                      <a:pt x="-39" y="71554"/>
                    </a:cubicBezTo>
                    <a:cubicBezTo>
                      <a:pt x="-884" y="75206"/>
                      <a:pt x="1538" y="77647"/>
                      <a:pt x="1031" y="72623"/>
                    </a:cubicBezTo>
                    <a:close/>
                  </a:path>
                </a:pathLst>
              </a:custGeom>
              <a:solidFill>
                <a:schemeClr val="bg1"/>
              </a:solidFill>
              <a:ln w="9318" cap="flat">
                <a:noFill/>
                <a:prstDash val="solid"/>
                <a:round/>
              </a:ln>
            </p:spPr>
            <p:txBody>
              <a:bodyPr rtlCol="0" anchor="ctr"/>
              <a:lstStyle/>
              <a:p>
                <a:endParaRPr lang="en-LT"/>
              </a:p>
            </p:txBody>
          </p:sp>
          <p:sp>
            <p:nvSpPr>
              <p:cNvPr id="144" name="Freeform 143">
                <a:extLst>
                  <a:ext uri="{FF2B5EF4-FFF2-40B4-BE49-F238E27FC236}">
                    <a16:creationId xmlns:a16="http://schemas.microsoft.com/office/drawing/2014/main" id="{B1F1C945-1C7D-0743-BABE-4640C521D409}"/>
                  </a:ext>
                </a:extLst>
              </p:cNvPr>
              <p:cNvSpPr/>
              <p:nvPr/>
            </p:nvSpPr>
            <p:spPr>
              <a:xfrm>
                <a:off x="6657513" y="2586787"/>
                <a:ext cx="8150" cy="26188"/>
              </a:xfrm>
              <a:custGeom>
                <a:avLst/>
                <a:gdLst>
                  <a:gd name="connsiteX0" fmla="*/ 1494 w 2991"/>
                  <a:gd name="connsiteY0" fmla="*/ -12 h 9611"/>
                  <a:gd name="connsiteX1" fmla="*/ 1494 w 2991"/>
                  <a:gd name="connsiteY1" fmla="*/ 9599 h 9611"/>
                  <a:gd name="connsiteX2" fmla="*/ 1494 w 2991"/>
                  <a:gd name="connsiteY2" fmla="*/ -12 h 9611"/>
                </a:gdLst>
                <a:ahLst/>
                <a:cxnLst>
                  <a:cxn ang="0">
                    <a:pos x="connsiteX0" y="connsiteY0"/>
                  </a:cxn>
                  <a:cxn ang="0">
                    <a:pos x="connsiteX1" y="connsiteY1"/>
                  </a:cxn>
                  <a:cxn ang="0">
                    <a:pos x="connsiteX2" y="connsiteY2"/>
                  </a:cxn>
                </a:cxnLst>
                <a:rect l="l" t="t" r="r" b="b"/>
                <a:pathLst>
                  <a:path w="2991" h="9611">
                    <a:moveTo>
                      <a:pt x="1494" y="-12"/>
                    </a:moveTo>
                    <a:cubicBezTo>
                      <a:pt x="-1312" y="1918"/>
                      <a:pt x="-205" y="6667"/>
                      <a:pt x="1494" y="9599"/>
                    </a:cubicBezTo>
                    <a:cubicBezTo>
                      <a:pt x="1936" y="7461"/>
                      <a:pt x="4132" y="1681"/>
                      <a:pt x="1494" y="-12"/>
                    </a:cubicBezTo>
                    <a:close/>
                  </a:path>
                </a:pathLst>
              </a:custGeom>
              <a:solidFill>
                <a:schemeClr val="bg1"/>
              </a:solidFill>
              <a:ln w="9318" cap="flat">
                <a:noFill/>
                <a:prstDash val="solid"/>
                <a:round/>
              </a:ln>
            </p:spPr>
            <p:txBody>
              <a:bodyPr rtlCol="0" anchor="ctr"/>
              <a:lstStyle/>
              <a:p>
                <a:endParaRPr lang="en-LT"/>
              </a:p>
            </p:txBody>
          </p:sp>
          <p:sp>
            <p:nvSpPr>
              <p:cNvPr id="145" name="Freeform 144">
                <a:extLst>
                  <a:ext uri="{FF2B5EF4-FFF2-40B4-BE49-F238E27FC236}">
                    <a16:creationId xmlns:a16="http://schemas.microsoft.com/office/drawing/2014/main" id="{A53ADC5C-68EC-BF48-B0A1-852C993298F6}"/>
                  </a:ext>
                </a:extLst>
              </p:cNvPr>
              <p:cNvSpPr/>
              <p:nvPr/>
            </p:nvSpPr>
            <p:spPr>
              <a:xfrm>
                <a:off x="6679063" y="2755625"/>
                <a:ext cx="7561" cy="36231"/>
              </a:xfrm>
              <a:custGeom>
                <a:avLst/>
                <a:gdLst>
                  <a:gd name="connsiteX0" fmla="*/ 2081 w 2775"/>
                  <a:gd name="connsiteY0" fmla="*/ -12 h 13297"/>
                  <a:gd name="connsiteX1" fmla="*/ -31 w 2775"/>
                  <a:gd name="connsiteY1" fmla="*/ 5323 h 13297"/>
                  <a:gd name="connsiteX2" fmla="*/ 2081 w 2775"/>
                  <a:gd name="connsiteY2" fmla="*/ -12 h 13297"/>
                </a:gdLst>
                <a:ahLst/>
                <a:cxnLst>
                  <a:cxn ang="0">
                    <a:pos x="connsiteX0" y="connsiteY0"/>
                  </a:cxn>
                  <a:cxn ang="0">
                    <a:pos x="connsiteX1" y="connsiteY1"/>
                  </a:cxn>
                  <a:cxn ang="0">
                    <a:pos x="connsiteX2" y="connsiteY2"/>
                  </a:cxn>
                </a:cxnLst>
                <a:rect l="l" t="t" r="r" b="b"/>
                <a:pathLst>
                  <a:path w="2775" h="13297">
                    <a:moveTo>
                      <a:pt x="2081" y="-12"/>
                    </a:moveTo>
                    <a:cubicBezTo>
                      <a:pt x="1490" y="1889"/>
                      <a:pt x="1518" y="4425"/>
                      <a:pt x="-31" y="5323"/>
                    </a:cubicBezTo>
                    <a:cubicBezTo>
                      <a:pt x="-1280" y="25956"/>
                      <a:pt x="4146" y="-31"/>
                      <a:pt x="2081" y="-12"/>
                    </a:cubicBezTo>
                    <a:close/>
                  </a:path>
                </a:pathLst>
              </a:custGeom>
              <a:solidFill>
                <a:schemeClr val="bg1"/>
              </a:solidFill>
              <a:ln w="9318" cap="flat">
                <a:noFill/>
                <a:prstDash val="solid"/>
                <a:round/>
              </a:ln>
            </p:spPr>
            <p:txBody>
              <a:bodyPr rtlCol="0" anchor="ctr"/>
              <a:lstStyle/>
              <a:p>
                <a:endParaRPr lang="en-LT"/>
              </a:p>
            </p:txBody>
          </p:sp>
          <p:sp>
            <p:nvSpPr>
              <p:cNvPr id="146" name="Freeform 145">
                <a:extLst>
                  <a:ext uri="{FF2B5EF4-FFF2-40B4-BE49-F238E27FC236}">
                    <a16:creationId xmlns:a16="http://schemas.microsoft.com/office/drawing/2014/main" id="{F91FA8BA-8624-C940-87B7-BF26998A27D5}"/>
                  </a:ext>
                </a:extLst>
              </p:cNvPr>
              <p:cNvSpPr/>
              <p:nvPr/>
            </p:nvSpPr>
            <p:spPr>
              <a:xfrm>
                <a:off x="6522933" y="2775276"/>
                <a:ext cx="29948" cy="44850"/>
              </a:xfrm>
              <a:custGeom>
                <a:avLst/>
                <a:gdLst>
                  <a:gd name="connsiteX0" fmla="*/ 8503 w 10991"/>
                  <a:gd name="connsiteY0" fmla="*/ 16294 h 16460"/>
                  <a:gd name="connsiteX1" fmla="*/ 8503 w 10991"/>
                  <a:gd name="connsiteY1" fmla="*/ 1318 h 16460"/>
                  <a:gd name="connsiteX2" fmla="*/ 1087 w 10991"/>
                  <a:gd name="connsiteY2" fmla="*/ 15215 h 16460"/>
                  <a:gd name="connsiteX3" fmla="*/ 8503 w 10991"/>
                  <a:gd name="connsiteY3" fmla="*/ 16294 h 16460"/>
                </a:gdLst>
                <a:ahLst/>
                <a:cxnLst>
                  <a:cxn ang="0">
                    <a:pos x="connsiteX0" y="connsiteY0"/>
                  </a:cxn>
                  <a:cxn ang="0">
                    <a:pos x="connsiteX1" y="connsiteY1"/>
                  </a:cxn>
                  <a:cxn ang="0">
                    <a:pos x="connsiteX2" y="connsiteY2"/>
                  </a:cxn>
                  <a:cxn ang="0">
                    <a:pos x="connsiteX3" y="connsiteY3"/>
                  </a:cxn>
                </a:cxnLst>
                <a:rect l="l" t="t" r="r" b="b"/>
                <a:pathLst>
                  <a:path w="10991" h="16460">
                    <a:moveTo>
                      <a:pt x="8503" y="16294"/>
                    </a:moveTo>
                    <a:cubicBezTo>
                      <a:pt x="11901" y="13730"/>
                      <a:pt x="11131" y="4071"/>
                      <a:pt x="8503" y="1318"/>
                    </a:cubicBezTo>
                    <a:cubicBezTo>
                      <a:pt x="-405" y="-4235"/>
                      <a:pt x="-1691" y="9000"/>
                      <a:pt x="1087" y="15215"/>
                    </a:cubicBezTo>
                    <a:cubicBezTo>
                      <a:pt x="3575" y="15556"/>
                      <a:pt x="5058" y="16899"/>
                      <a:pt x="8503" y="16294"/>
                    </a:cubicBezTo>
                    <a:close/>
                  </a:path>
                </a:pathLst>
              </a:custGeom>
              <a:solidFill>
                <a:schemeClr val="bg1"/>
              </a:solidFill>
              <a:ln w="9318" cap="flat">
                <a:noFill/>
                <a:prstDash val="solid"/>
                <a:round/>
              </a:ln>
            </p:spPr>
            <p:txBody>
              <a:bodyPr rtlCol="0" anchor="ctr"/>
              <a:lstStyle/>
              <a:p>
                <a:endParaRPr lang="en-LT"/>
              </a:p>
            </p:txBody>
          </p:sp>
          <p:sp>
            <p:nvSpPr>
              <p:cNvPr id="147" name="Freeform 146">
                <a:extLst>
                  <a:ext uri="{FF2B5EF4-FFF2-40B4-BE49-F238E27FC236}">
                    <a16:creationId xmlns:a16="http://schemas.microsoft.com/office/drawing/2014/main" id="{D9CA2D52-9152-DE4B-8BF4-9007945FA026}"/>
                  </a:ext>
                </a:extLst>
              </p:cNvPr>
              <p:cNvSpPr/>
              <p:nvPr/>
            </p:nvSpPr>
            <p:spPr>
              <a:xfrm>
                <a:off x="6408686" y="3326148"/>
                <a:ext cx="51357" cy="46218"/>
              </a:xfrm>
              <a:custGeom>
                <a:avLst/>
                <a:gdLst>
                  <a:gd name="connsiteX0" fmla="*/ 18629 w 18848"/>
                  <a:gd name="connsiteY0" fmla="*/ -12 h 16962"/>
                  <a:gd name="connsiteX1" fmla="*/ -220 w 18848"/>
                  <a:gd name="connsiteY1" fmla="*/ 16950 h 16962"/>
                  <a:gd name="connsiteX2" fmla="*/ 18629 w 18848"/>
                  <a:gd name="connsiteY2" fmla="*/ -12 h 16962"/>
                </a:gdLst>
                <a:ahLst/>
                <a:cxnLst>
                  <a:cxn ang="0">
                    <a:pos x="connsiteX0" y="connsiteY0"/>
                  </a:cxn>
                  <a:cxn ang="0">
                    <a:pos x="connsiteX1" y="connsiteY1"/>
                  </a:cxn>
                  <a:cxn ang="0">
                    <a:pos x="connsiteX2" y="connsiteY2"/>
                  </a:cxn>
                </a:cxnLst>
                <a:rect l="l" t="t" r="r" b="b"/>
                <a:pathLst>
                  <a:path w="18848" h="16962">
                    <a:moveTo>
                      <a:pt x="18629" y="-12"/>
                    </a:moveTo>
                    <a:cubicBezTo>
                      <a:pt x="12349" y="4491"/>
                      <a:pt x="6097" y="10507"/>
                      <a:pt x="-220" y="16950"/>
                    </a:cubicBezTo>
                    <a:cubicBezTo>
                      <a:pt x="6867" y="11397"/>
                      <a:pt x="14978" y="6553"/>
                      <a:pt x="18629" y="-12"/>
                    </a:cubicBezTo>
                    <a:close/>
                  </a:path>
                </a:pathLst>
              </a:custGeom>
              <a:solidFill>
                <a:schemeClr val="bg1"/>
              </a:solidFill>
              <a:ln w="9318" cap="flat">
                <a:noFill/>
                <a:prstDash val="solid"/>
                <a:round/>
              </a:ln>
            </p:spPr>
            <p:txBody>
              <a:bodyPr rtlCol="0" anchor="ctr"/>
              <a:lstStyle/>
              <a:p>
                <a:endParaRPr lang="en-LT"/>
              </a:p>
            </p:txBody>
          </p:sp>
          <p:sp>
            <p:nvSpPr>
              <p:cNvPr id="148" name="Freeform 147">
                <a:extLst>
                  <a:ext uri="{FF2B5EF4-FFF2-40B4-BE49-F238E27FC236}">
                    <a16:creationId xmlns:a16="http://schemas.microsoft.com/office/drawing/2014/main" id="{9F732CB5-D4A4-394A-AF9D-4D64FC239870}"/>
                  </a:ext>
                </a:extLst>
              </p:cNvPr>
              <p:cNvSpPr/>
              <p:nvPr/>
            </p:nvSpPr>
            <p:spPr>
              <a:xfrm>
                <a:off x="6382086" y="3136945"/>
                <a:ext cx="326315" cy="285274"/>
              </a:xfrm>
              <a:custGeom>
                <a:avLst/>
                <a:gdLst>
                  <a:gd name="connsiteX0" fmla="*/ -220 w 119758"/>
                  <a:gd name="connsiteY0" fmla="*/ 104684 h 104696"/>
                  <a:gd name="connsiteX1" fmla="*/ 119539 w 119758"/>
                  <a:gd name="connsiteY1" fmla="*/ -12 h 104696"/>
                  <a:gd name="connsiteX2" fmla="*/ -220 w 119758"/>
                  <a:gd name="connsiteY2" fmla="*/ 104684 h 104696"/>
                </a:gdLst>
                <a:ahLst/>
                <a:cxnLst>
                  <a:cxn ang="0">
                    <a:pos x="connsiteX0" y="connsiteY0"/>
                  </a:cxn>
                  <a:cxn ang="0">
                    <a:pos x="connsiteX1" y="connsiteY1"/>
                  </a:cxn>
                  <a:cxn ang="0">
                    <a:pos x="connsiteX2" y="connsiteY2"/>
                  </a:cxn>
                </a:cxnLst>
                <a:rect l="l" t="t" r="r" b="b"/>
                <a:pathLst>
                  <a:path w="119758" h="104696">
                    <a:moveTo>
                      <a:pt x="-220" y="104684"/>
                    </a:moveTo>
                    <a:cubicBezTo>
                      <a:pt x="35910" y="66663"/>
                      <a:pt x="81465" y="32465"/>
                      <a:pt x="119539" y="-12"/>
                    </a:cubicBezTo>
                    <a:cubicBezTo>
                      <a:pt x="77542" y="32077"/>
                      <a:pt x="32550" y="66852"/>
                      <a:pt x="-220" y="104684"/>
                    </a:cubicBezTo>
                    <a:close/>
                  </a:path>
                </a:pathLst>
              </a:custGeom>
              <a:solidFill>
                <a:schemeClr val="bg1"/>
              </a:solidFill>
              <a:ln w="9318" cap="flat">
                <a:noFill/>
                <a:prstDash val="solid"/>
                <a:round/>
              </a:ln>
            </p:spPr>
            <p:txBody>
              <a:bodyPr rtlCol="0" anchor="ctr"/>
              <a:lstStyle/>
              <a:p>
                <a:endParaRPr lang="en-LT"/>
              </a:p>
            </p:txBody>
          </p:sp>
          <p:sp>
            <p:nvSpPr>
              <p:cNvPr id="149" name="Freeform 148">
                <a:extLst>
                  <a:ext uri="{FF2B5EF4-FFF2-40B4-BE49-F238E27FC236}">
                    <a16:creationId xmlns:a16="http://schemas.microsoft.com/office/drawing/2014/main" id="{BD933611-D511-BB46-B63C-05E2917E344D}"/>
                  </a:ext>
                </a:extLst>
              </p:cNvPr>
              <p:cNvSpPr/>
              <p:nvPr/>
            </p:nvSpPr>
            <p:spPr>
              <a:xfrm>
                <a:off x="6521759" y="2856090"/>
                <a:ext cx="36613" cy="48321"/>
              </a:xfrm>
              <a:custGeom>
                <a:avLst/>
                <a:gdLst>
                  <a:gd name="connsiteX0" fmla="*/ 11056 w 13437"/>
                  <a:gd name="connsiteY0" fmla="*/ 17580 h 17734"/>
                  <a:gd name="connsiteX1" fmla="*/ 2570 w 13437"/>
                  <a:gd name="connsiteY1" fmla="*/ 16520 h 17734"/>
                  <a:gd name="connsiteX2" fmla="*/ 11056 w 13437"/>
                  <a:gd name="connsiteY2" fmla="*/ 17580 h 17734"/>
                </a:gdLst>
                <a:ahLst/>
                <a:cxnLst>
                  <a:cxn ang="0">
                    <a:pos x="connsiteX0" y="connsiteY0"/>
                  </a:cxn>
                  <a:cxn ang="0">
                    <a:pos x="connsiteX1" y="connsiteY1"/>
                  </a:cxn>
                  <a:cxn ang="0">
                    <a:pos x="connsiteX2" y="connsiteY2"/>
                  </a:cxn>
                </a:cxnLst>
                <a:rect l="l" t="t" r="r" b="b"/>
                <a:pathLst>
                  <a:path w="13437" h="17734">
                    <a:moveTo>
                      <a:pt x="11056" y="17580"/>
                    </a:moveTo>
                    <a:cubicBezTo>
                      <a:pt x="21391" y="-3753"/>
                      <a:pt x="-9342" y="-7518"/>
                      <a:pt x="2570" y="16520"/>
                    </a:cubicBezTo>
                    <a:cubicBezTo>
                      <a:pt x="5114" y="17182"/>
                      <a:pt x="7404" y="18072"/>
                      <a:pt x="11056" y="17580"/>
                    </a:cubicBezTo>
                    <a:close/>
                  </a:path>
                </a:pathLst>
              </a:custGeom>
              <a:solidFill>
                <a:schemeClr val="bg1"/>
              </a:solidFill>
              <a:ln w="9318" cap="flat">
                <a:noFill/>
                <a:prstDash val="solid"/>
                <a:round/>
              </a:ln>
            </p:spPr>
            <p:txBody>
              <a:bodyPr rtlCol="0" anchor="ctr"/>
              <a:lstStyle/>
              <a:p>
                <a:endParaRPr lang="en-LT"/>
              </a:p>
            </p:txBody>
          </p:sp>
          <p:sp>
            <p:nvSpPr>
              <p:cNvPr id="150" name="Freeform 149">
                <a:extLst>
                  <a:ext uri="{FF2B5EF4-FFF2-40B4-BE49-F238E27FC236}">
                    <a16:creationId xmlns:a16="http://schemas.microsoft.com/office/drawing/2014/main" id="{EC118E65-6861-F44C-A17E-929C84A74E3A}"/>
                  </a:ext>
                </a:extLst>
              </p:cNvPr>
              <p:cNvSpPr/>
              <p:nvPr/>
            </p:nvSpPr>
            <p:spPr>
              <a:xfrm>
                <a:off x="6706273" y="2473288"/>
                <a:ext cx="13477" cy="58177"/>
              </a:xfrm>
              <a:custGeom>
                <a:avLst/>
                <a:gdLst>
                  <a:gd name="connsiteX0" fmla="*/ 2693 w 4946"/>
                  <a:gd name="connsiteY0" fmla="*/ -12 h 21351"/>
                  <a:gd name="connsiteX1" fmla="*/ 562 w 4946"/>
                  <a:gd name="connsiteY1" fmla="*/ 21339 h 21351"/>
                  <a:gd name="connsiteX2" fmla="*/ 2693 w 4946"/>
                  <a:gd name="connsiteY2" fmla="*/ -12 h 21351"/>
                </a:gdLst>
                <a:ahLst/>
                <a:cxnLst>
                  <a:cxn ang="0">
                    <a:pos x="connsiteX0" y="connsiteY0"/>
                  </a:cxn>
                  <a:cxn ang="0">
                    <a:pos x="connsiteX1" y="connsiteY1"/>
                  </a:cxn>
                  <a:cxn ang="0">
                    <a:pos x="connsiteX2" y="connsiteY2"/>
                  </a:cxn>
                </a:cxnLst>
                <a:rect l="l" t="t" r="r" b="b"/>
                <a:pathLst>
                  <a:path w="4946" h="21351">
                    <a:moveTo>
                      <a:pt x="2693" y="-12"/>
                    </a:moveTo>
                    <a:cubicBezTo>
                      <a:pt x="2852" y="7282"/>
                      <a:pt x="-2085" y="15096"/>
                      <a:pt x="562" y="21339"/>
                    </a:cubicBezTo>
                    <a:cubicBezTo>
                      <a:pt x="3068" y="15162"/>
                      <a:pt x="7255" y="4169"/>
                      <a:pt x="2693" y="-12"/>
                    </a:cubicBezTo>
                    <a:close/>
                  </a:path>
                </a:pathLst>
              </a:custGeom>
              <a:solidFill>
                <a:schemeClr val="bg1"/>
              </a:solidFill>
              <a:ln w="9318" cap="flat">
                <a:noFill/>
                <a:prstDash val="solid"/>
                <a:round/>
              </a:ln>
            </p:spPr>
            <p:txBody>
              <a:bodyPr rtlCol="0" anchor="ctr"/>
              <a:lstStyle/>
              <a:p>
                <a:endParaRPr lang="en-LT"/>
              </a:p>
            </p:txBody>
          </p:sp>
          <p:sp>
            <p:nvSpPr>
              <p:cNvPr id="151" name="Freeform 150">
                <a:extLst>
                  <a:ext uri="{FF2B5EF4-FFF2-40B4-BE49-F238E27FC236}">
                    <a16:creationId xmlns:a16="http://schemas.microsoft.com/office/drawing/2014/main" id="{16EFF530-FC02-B14B-8C72-B19BD353DCE6}"/>
                  </a:ext>
                </a:extLst>
              </p:cNvPr>
              <p:cNvSpPr/>
              <p:nvPr/>
            </p:nvSpPr>
            <p:spPr>
              <a:xfrm>
                <a:off x="6512020" y="3629169"/>
                <a:ext cx="71556" cy="11390"/>
              </a:xfrm>
              <a:custGeom>
                <a:avLst/>
                <a:gdLst>
                  <a:gd name="connsiteX0" fmla="*/ 15691 w 26261"/>
                  <a:gd name="connsiteY0" fmla="*/ 3086 h 4180"/>
                  <a:gd name="connsiteX1" fmla="*/ -220 w 26261"/>
                  <a:gd name="connsiteY1" fmla="*/ 4146 h 4180"/>
                  <a:gd name="connsiteX2" fmla="*/ 19915 w 26261"/>
                  <a:gd name="connsiteY2" fmla="*/ 4146 h 4180"/>
                  <a:gd name="connsiteX3" fmla="*/ 15691 w 26261"/>
                  <a:gd name="connsiteY3" fmla="*/ 3086 h 4180"/>
                </a:gdLst>
                <a:ahLst/>
                <a:cxnLst>
                  <a:cxn ang="0">
                    <a:pos x="connsiteX0" y="connsiteY0"/>
                  </a:cxn>
                  <a:cxn ang="0">
                    <a:pos x="connsiteX1" y="connsiteY1"/>
                  </a:cxn>
                  <a:cxn ang="0">
                    <a:pos x="connsiteX2" y="connsiteY2"/>
                  </a:cxn>
                  <a:cxn ang="0">
                    <a:pos x="connsiteX3" y="connsiteY3"/>
                  </a:cxn>
                </a:cxnLst>
                <a:rect l="l" t="t" r="r" b="b"/>
                <a:pathLst>
                  <a:path w="26261" h="4180">
                    <a:moveTo>
                      <a:pt x="15691" y="3086"/>
                    </a:moveTo>
                    <a:cubicBezTo>
                      <a:pt x="11561" y="731"/>
                      <a:pt x="1526" y="-2997"/>
                      <a:pt x="-220" y="4146"/>
                    </a:cubicBezTo>
                    <a:lnTo>
                      <a:pt x="19915" y="4146"/>
                    </a:lnTo>
                    <a:cubicBezTo>
                      <a:pt x="32484" y="4411"/>
                      <a:pt x="22975" y="2263"/>
                      <a:pt x="15691" y="3086"/>
                    </a:cubicBezTo>
                    <a:close/>
                  </a:path>
                </a:pathLst>
              </a:custGeom>
              <a:solidFill>
                <a:schemeClr val="bg1"/>
              </a:solidFill>
              <a:ln w="9318" cap="flat">
                <a:noFill/>
                <a:prstDash val="solid"/>
                <a:round/>
              </a:ln>
            </p:spPr>
            <p:txBody>
              <a:bodyPr rtlCol="0" anchor="ctr"/>
              <a:lstStyle/>
              <a:p>
                <a:endParaRPr lang="en-LT"/>
              </a:p>
            </p:txBody>
          </p:sp>
          <p:sp>
            <p:nvSpPr>
              <p:cNvPr id="152" name="Freeform 151">
                <a:extLst>
                  <a:ext uri="{FF2B5EF4-FFF2-40B4-BE49-F238E27FC236}">
                    <a16:creationId xmlns:a16="http://schemas.microsoft.com/office/drawing/2014/main" id="{001D3BDE-3676-6F46-97D6-271A6E7E8508}"/>
                  </a:ext>
                </a:extLst>
              </p:cNvPr>
              <p:cNvSpPr/>
              <p:nvPr/>
            </p:nvSpPr>
            <p:spPr>
              <a:xfrm>
                <a:off x="6528723" y="2950044"/>
                <a:ext cx="29831" cy="42242"/>
              </a:xfrm>
              <a:custGeom>
                <a:avLst/>
                <a:gdLst>
                  <a:gd name="connsiteX0" fmla="*/ 8499 w 10948"/>
                  <a:gd name="connsiteY0" fmla="*/ 15158 h 15503"/>
                  <a:gd name="connsiteX1" fmla="*/ 7429 w 10948"/>
                  <a:gd name="connsiteY1" fmla="*/ 211 h 15503"/>
                  <a:gd name="connsiteX2" fmla="*/ 8499 w 10948"/>
                  <a:gd name="connsiteY2" fmla="*/ 15158 h 15503"/>
                </a:gdLst>
                <a:ahLst/>
                <a:cxnLst>
                  <a:cxn ang="0">
                    <a:pos x="connsiteX0" y="connsiteY0"/>
                  </a:cxn>
                  <a:cxn ang="0">
                    <a:pos x="connsiteX1" y="connsiteY1"/>
                  </a:cxn>
                  <a:cxn ang="0">
                    <a:pos x="connsiteX2" y="connsiteY2"/>
                  </a:cxn>
                </a:cxnLst>
                <a:rect l="l" t="t" r="r" b="b"/>
                <a:pathLst>
                  <a:path w="10948" h="15503">
                    <a:moveTo>
                      <a:pt x="8499" y="15158"/>
                    </a:moveTo>
                    <a:cubicBezTo>
                      <a:pt x="12339" y="12027"/>
                      <a:pt x="10715" y="2529"/>
                      <a:pt x="7429" y="211"/>
                    </a:cubicBezTo>
                    <a:cubicBezTo>
                      <a:pt x="-3985" y="-2371"/>
                      <a:pt x="-1789" y="18337"/>
                      <a:pt x="8499" y="15158"/>
                    </a:cubicBezTo>
                    <a:close/>
                  </a:path>
                </a:pathLst>
              </a:custGeom>
              <a:solidFill>
                <a:schemeClr val="bg1"/>
              </a:solidFill>
              <a:ln w="9318" cap="flat">
                <a:noFill/>
                <a:prstDash val="solid"/>
                <a:round/>
              </a:ln>
            </p:spPr>
            <p:txBody>
              <a:bodyPr rtlCol="0" anchor="ctr"/>
              <a:lstStyle/>
              <a:p>
                <a:endParaRPr lang="en-LT"/>
              </a:p>
            </p:txBody>
          </p:sp>
          <p:sp>
            <p:nvSpPr>
              <p:cNvPr id="153" name="Freeform 152">
                <a:extLst>
                  <a:ext uri="{FF2B5EF4-FFF2-40B4-BE49-F238E27FC236}">
                    <a16:creationId xmlns:a16="http://schemas.microsoft.com/office/drawing/2014/main" id="{1A59A8ED-63F9-9648-9BF8-25EC366DF9BB}"/>
                  </a:ext>
                </a:extLst>
              </p:cNvPr>
              <p:cNvSpPr/>
              <p:nvPr/>
            </p:nvSpPr>
            <p:spPr>
              <a:xfrm>
                <a:off x="6505595" y="3544428"/>
                <a:ext cx="8343" cy="29152"/>
              </a:xfrm>
              <a:custGeom>
                <a:avLst/>
                <a:gdLst>
                  <a:gd name="connsiteX0" fmla="*/ 1086 w 3062"/>
                  <a:gd name="connsiteY0" fmla="*/ -12 h 10699"/>
                  <a:gd name="connsiteX1" fmla="*/ 2138 w 3062"/>
                  <a:gd name="connsiteY1" fmla="*/ 10687 h 10699"/>
                  <a:gd name="connsiteX2" fmla="*/ 1086 w 3062"/>
                  <a:gd name="connsiteY2" fmla="*/ -12 h 10699"/>
                </a:gdLst>
                <a:ahLst/>
                <a:cxnLst>
                  <a:cxn ang="0">
                    <a:pos x="connsiteX0" y="connsiteY0"/>
                  </a:cxn>
                  <a:cxn ang="0">
                    <a:pos x="connsiteX1" y="connsiteY1"/>
                  </a:cxn>
                  <a:cxn ang="0">
                    <a:pos x="connsiteX2" y="connsiteY2"/>
                  </a:cxn>
                </a:cxnLst>
                <a:rect l="l" t="t" r="r" b="b"/>
                <a:pathLst>
                  <a:path w="3062" h="10699">
                    <a:moveTo>
                      <a:pt x="1086" y="-12"/>
                    </a:moveTo>
                    <a:cubicBezTo>
                      <a:pt x="2063" y="3469"/>
                      <a:pt x="-3035" y="9845"/>
                      <a:pt x="2138" y="10687"/>
                    </a:cubicBezTo>
                    <a:cubicBezTo>
                      <a:pt x="3809" y="9259"/>
                      <a:pt x="2119" y="2230"/>
                      <a:pt x="1086" y="-12"/>
                    </a:cubicBezTo>
                    <a:close/>
                  </a:path>
                </a:pathLst>
              </a:custGeom>
              <a:solidFill>
                <a:schemeClr val="bg1"/>
              </a:solidFill>
              <a:ln w="9318" cap="flat">
                <a:noFill/>
                <a:prstDash val="solid"/>
                <a:round/>
              </a:ln>
            </p:spPr>
            <p:txBody>
              <a:bodyPr rtlCol="0" anchor="ctr"/>
              <a:lstStyle/>
              <a:p>
                <a:endParaRPr lang="en-LT"/>
              </a:p>
            </p:txBody>
          </p:sp>
          <p:sp>
            <p:nvSpPr>
              <p:cNvPr id="154" name="Freeform 153">
                <a:extLst>
                  <a:ext uri="{FF2B5EF4-FFF2-40B4-BE49-F238E27FC236}">
                    <a16:creationId xmlns:a16="http://schemas.microsoft.com/office/drawing/2014/main" id="{968F9508-1480-B14C-884B-704A3F3A2A1D}"/>
                  </a:ext>
                </a:extLst>
              </p:cNvPr>
              <p:cNvSpPr/>
              <p:nvPr/>
            </p:nvSpPr>
            <p:spPr>
              <a:xfrm>
                <a:off x="6676687" y="3340712"/>
                <a:ext cx="17313" cy="84419"/>
              </a:xfrm>
              <a:custGeom>
                <a:avLst/>
                <a:gdLst>
                  <a:gd name="connsiteX0" fmla="*/ 6135 w 6354"/>
                  <a:gd name="connsiteY0" fmla="*/ 30970 h 30982"/>
                  <a:gd name="connsiteX1" fmla="*/ -220 w 6354"/>
                  <a:gd name="connsiteY1" fmla="*/ -12 h 30982"/>
                  <a:gd name="connsiteX2" fmla="*/ 6135 w 6354"/>
                  <a:gd name="connsiteY2" fmla="*/ 30970 h 30982"/>
                </a:gdLst>
                <a:ahLst/>
                <a:cxnLst>
                  <a:cxn ang="0">
                    <a:pos x="connsiteX0" y="connsiteY0"/>
                  </a:cxn>
                  <a:cxn ang="0">
                    <a:pos x="connsiteX1" y="connsiteY1"/>
                  </a:cxn>
                  <a:cxn ang="0">
                    <a:pos x="connsiteX2" y="connsiteY2"/>
                  </a:cxn>
                </a:cxnLst>
                <a:rect l="l" t="t" r="r" b="b"/>
                <a:pathLst>
                  <a:path w="6354" h="30982">
                    <a:moveTo>
                      <a:pt x="6135" y="30970"/>
                    </a:moveTo>
                    <a:cubicBezTo>
                      <a:pt x="4258" y="20393"/>
                      <a:pt x="3563" y="8615"/>
                      <a:pt x="-220" y="-12"/>
                    </a:cubicBezTo>
                    <a:cubicBezTo>
                      <a:pt x="784" y="10716"/>
                      <a:pt x="3366" y="25559"/>
                      <a:pt x="6135" y="30970"/>
                    </a:cubicBezTo>
                    <a:close/>
                  </a:path>
                </a:pathLst>
              </a:custGeom>
              <a:solidFill>
                <a:schemeClr val="bg1"/>
              </a:solidFill>
              <a:ln w="9318" cap="flat">
                <a:noFill/>
                <a:prstDash val="solid"/>
                <a:round/>
              </a:ln>
            </p:spPr>
            <p:txBody>
              <a:bodyPr rtlCol="0" anchor="ctr"/>
              <a:lstStyle/>
              <a:p>
                <a:endParaRPr lang="en-LT"/>
              </a:p>
            </p:txBody>
          </p:sp>
          <p:sp>
            <p:nvSpPr>
              <p:cNvPr id="155" name="Freeform 154">
                <a:extLst>
                  <a:ext uri="{FF2B5EF4-FFF2-40B4-BE49-F238E27FC236}">
                    <a16:creationId xmlns:a16="http://schemas.microsoft.com/office/drawing/2014/main" id="{918BFE9C-AD4C-CF4D-B7D8-2248A2F6B7D7}"/>
                  </a:ext>
                </a:extLst>
              </p:cNvPr>
              <p:cNvSpPr/>
              <p:nvPr/>
            </p:nvSpPr>
            <p:spPr>
              <a:xfrm>
                <a:off x="6740068" y="3489161"/>
                <a:ext cx="9158" cy="69855"/>
              </a:xfrm>
              <a:custGeom>
                <a:avLst/>
                <a:gdLst>
                  <a:gd name="connsiteX0" fmla="*/ 887 w 3361"/>
                  <a:gd name="connsiteY0" fmla="*/ 25625 h 25637"/>
                  <a:gd name="connsiteX1" fmla="*/ -174 w 3361"/>
                  <a:gd name="connsiteY1" fmla="*/ -12 h 25637"/>
                  <a:gd name="connsiteX2" fmla="*/ 887 w 3361"/>
                  <a:gd name="connsiteY2" fmla="*/ 25625 h 25637"/>
                </a:gdLst>
                <a:ahLst/>
                <a:cxnLst>
                  <a:cxn ang="0">
                    <a:pos x="connsiteX0" y="connsiteY0"/>
                  </a:cxn>
                  <a:cxn ang="0">
                    <a:pos x="connsiteX1" y="connsiteY1"/>
                  </a:cxn>
                  <a:cxn ang="0">
                    <a:pos x="connsiteX2" y="connsiteY2"/>
                  </a:cxn>
                </a:cxnLst>
                <a:rect l="l" t="t" r="r" b="b"/>
                <a:pathLst>
                  <a:path w="3361" h="25637">
                    <a:moveTo>
                      <a:pt x="887" y="25625"/>
                    </a:moveTo>
                    <a:cubicBezTo>
                      <a:pt x="6003" y="19883"/>
                      <a:pt x="972" y="6468"/>
                      <a:pt x="-174" y="-12"/>
                    </a:cubicBezTo>
                    <a:cubicBezTo>
                      <a:pt x="-568" y="9297"/>
                      <a:pt x="1704" y="15871"/>
                      <a:pt x="887" y="25625"/>
                    </a:cubicBezTo>
                    <a:close/>
                  </a:path>
                </a:pathLst>
              </a:custGeom>
              <a:solidFill>
                <a:schemeClr val="bg1"/>
              </a:solidFill>
              <a:ln w="9318" cap="flat">
                <a:noFill/>
                <a:prstDash val="solid"/>
                <a:round/>
              </a:ln>
            </p:spPr>
            <p:txBody>
              <a:bodyPr rtlCol="0" anchor="ctr"/>
              <a:lstStyle/>
              <a:p>
                <a:endParaRPr lang="en-LT"/>
              </a:p>
            </p:txBody>
          </p:sp>
          <p:sp>
            <p:nvSpPr>
              <p:cNvPr id="156" name="Freeform 155">
                <a:extLst>
                  <a:ext uri="{FF2B5EF4-FFF2-40B4-BE49-F238E27FC236}">
                    <a16:creationId xmlns:a16="http://schemas.microsoft.com/office/drawing/2014/main" id="{918E0F5E-158A-FE42-94F3-368076B92C60}"/>
                  </a:ext>
                </a:extLst>
              </p:cNvPr>
              <p:cNvSpPr/>
              <p:nvPr/>
            </p:nvSpPr>
            <p:spPr>
              <a:xfrm>
                <a:off x="6616017" y="2021920"/>
                <a:ext cx="29139" cy="125288"/>
              </a:xfrm>
              <a:custGeom>
                <a:avLst/>
                <a:gdLst>
                  <a:gd name="connsiteX0" fmla="*/ 5084 w 10694"/>
                  <a:gd name="connsiteY0" fmla="*/ 39565 h 45981"/>
                  <a:gd name="connsiteX1" fmla="*/ 9317 w 10694"/>
                  <a:gd name="connsiteY1" fmla="*/ 45969 h 45981"/>
                  <a:gd name="connsiteX2" fmla="*/ 10368 w 10694"/>
                  <a:gd name="connsiteY2" fmla="*/ 1118 h 45981"/>
                  <a:gd name="connsiteX3" fmla="*/ -220 w 10694"/>
                  <a:gd name="connsiteY3" fmla="*/ 49 h 45981"/>
                  <a:gd name="connsiteX4" fmla="*/ 8256 w 10694"/>
                  <a:gd name="connsiteY4" fmla="*/ 36367 h 45981"/>
                  <a:gd name="connsiteX5" fmla="*/ 5084 w 10694"/>
                  <a:gd name="connsiteY5" fmla="*/ 39565 h 4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94" h="45981">
                    <a:moveTo>
                      <a:pt x="5084" y="39565"/>
                    </a:moveTo>
                    <a:cubicBezTo>
                      <a:pt x="6341" y="41844"/>
                      <a:pt x="6370" y="45392"/>
                      <a:pt x="9317" y="45969"/>
                    </a:cubicBezTo>
                    <a:cubicBezTo>
                      <a:pt x="11410" y="32801"/>
                      <a:pt x="9937" y="15990"/>
                      <a:pt x="10368" y="1118"/>
                    </a:cubicBezTo>
                    <a:cubicBezTo>
                      <a:pt x="8378" y="-764"/>
                      <a:pt x="3366" y="343"/>
                      <a:pt x="-220" y="49"/>
                    </a:cubicBezTo>
                    <a:cubicBezTo>
                      <a:pt x="3103" y="11657"/>
                      <a:pt x="3563" y="26159"/>
                      <a:pt x="8256" y="36367"/>
                    </a:cubicBezTo>
                    <a:cubicBezTo>
                      <a:pt x="8679" y="38931"/>
                      <a:pt x="3422" y="35790"/>
                      <a:pt x="5084" y="39565"/>
                    </a:cubicBezTo>
                    <a:close/>
                  </a:path>
                </a:pathLst>
              </a:custGeom>
              <a:solidFill>
                <a:schemeClr val="bg1"/>
              </a:solidFill>
              <a:ln w="9318" cap="flat">
                <a:noFill/>
                <a:prstDash val="solid"/>
                <a:round/>
              </a:ln>
            </p:spPr>
            <p:txBody>
              <a:bodyPr rtlCol="0" anchor="ctr"/>
              <a:lstStyle/>
              <a:p>
                <a:endParaRPr lang="en-LT"/>
              </a:p>
            </p:txBody>
          </p:sp>
          <p:sp>
            <p:nvSpPr>
              <p:cNvPr id="157" name="Freeform 156">
                <a:extLst>
                  <a:ext uri="{FF2B5EF4-FFF2-40B4-BE49-F238E27FC236}">
                    <a16:creationId xmlns:a16="http://schemas.microsoft.com/office/drawing/2014/main" id="{FC98009F-EF18-834E-9228-326D90A6F346}"/>
                  </a:ext>
                </a:extLst>
              </p:cNvPr>
              <p:cNvSpPr/>
              <p:nvPr/>
            </p:nvSpPr>
            <p:spPr>
              <a:xfrm>
                <a:off x="6605769" y="2025002"/>
                <a:ext cx="21809" cy="87332"/>
              </a:xfrm>
              <a:custGeom>
                <a:avLst/>
                <a:gdLst>
                  <a:gd name="connsiteX0" fmla="*/ 1411 w 8004"/>
                  <a:gd name="connsiteY0" fmla="*/ -12 h 32051"/>
                  <a:gd name="connsiteX1" fmla="*/ 7784 w 8004"/>
                  <a:gd name="connsiteY1" fmla="*/ 32039 h 32051"/>
                  <a:gd name="connsiteX2" fmla="*/ 1411 w 8004"/>
                  <a:gd name="connsiteY2" fmla="*/ -12 h 32051"/>
                </a:gdLst>
                <a:ahLst/>
                <a:cxnLst>
                  <a:cxn ang="0">
                    <a:pos x="connsiteX0" y="connsiteY0"/>
                  </a:cxn>
                  <a:cxn ang="0">
                    <a:pos x="connsiteX1" y="connsiteY1"/>
                  </a:cxn>
                  <a:cxn ang="0">
                    <a:pos x="connsiteX2" y="connsiteY2"/>
                  </a:cxn>
                </a:cxnLst>
                <a:rect l="l" t="t" r="r" b="b"/>
                <a:pathLst>
                  <a:path w="8004" h="32051">
                    <a:moveTo>
                      <a:pt x="1411" y="-12"/>
                    </a:moveTo>
                    <a:cubicBezTo>
                      <a:pt x="-3058" y="9420"/>
                      <a:pt x="2518" y="25474"/>
                      <a:pt x="7784" y="32039"/>
                    </a:cubicBezTo>
                    <a:cubicBezTo>
                      <a:pt x="7521" y="19476"/>
                      <a:pt x="5024" y="9183"/>
                      <a:pt x="1411" y="-12"/>
                    </a:cubicBezTo>
                    <a:close/>
                  </a:path>
                </a:pathLst>
              </a:custGeom>
              <a:solidFill>
                <a:schemeClr val="bg1"/>
              </a:solidFill>
              <a:ln w="9318" cap="flat">
                <a:noFill/>
                <a:prstDash val="solid"/>
                <a:round/>
              </a:ln>
            </p:spPr>
            <p:txBody>
              <a:bodyPr rtlCol="0" anchor="ctr"/>
              <a:lstStyle/>
              <a:p>
                <a:endParaRPr lang="en-LT"/>
              </a:p>
            </p:txBody>
          </p:sp>
          <p:sp>
            <p:nvSpPr>
              <p:cNvPr id="158" name="Freeform 157">
                <a:extLst>
                  <a:ext uri="{FF2B5EF4-FFF2-40B4-BE49-F238E27FC236}">
                    <a16:creationId xmlns:a16="http://schemas.microsoft.com/office/drawing/2014/main" id="{9098132C-9655-1E4D-B2A8-CF323A5CBB48}"/>
                  </a:ext>
                </a:extLst>
              </p:cNvPr>
              <p:cNvSpPr/>
              <p:nvPr/>
            </p:nvSpPr>
            <p:spPr>
              <a:xfrm>
                <a:off x="6393582" y="2031792"/>
                <a:ext cx="167569" cy="229015"/>
              </a:xfrm>
              <a:custGeom>
                <a:avLst/>
                <a:gdLst>
                  <a:gd name="connsiteX0" fmla="*/ 44307 w 61498"/>
                  <a:gd name="connsiteY0" fmla="*/ 22073 h 84049"/>
                  <a:gd name="connsiteX1" fmla="*/ 26284 w 61498"/>
                  <a:gd name="connsiteY1" fmla="*/ 28477 h 84049"/>
                  <a:gd name="connsiteX2" fmla="*/ 47480 w 61498"/>
                  <a:gd name="connsiteY2" fmla="*/ 19935 h 84049"/>
                  <a:gd name="connsiteX3" fmla="*/ 61279 w 61498"/>
                  <a:gd name="connsiteY3" fmla="*/ 3900 h 84049"/>
                  <a:gd name="connsiteX4" fmla="*/ 2967 w 61498"/>
                  <a:gd name="connsiteY4" fmla="*/ 84037 h 84049"/>
                  <a:gd name="connsiteX5" fmla="*/ 44307 w 61498"/>
                  <a:gd name="connsiteY5" fmla="*/ 22073 h 84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98" h="84049">
                    <a:moveTo>
                      <a:pt x="44307" y="22073"/>
                    </a:moveTo>
                    <a:cubicBezTo>
                      <a:pt x="37098" y="22281"/>
                      <a:pt x="28772" y="27058"/>
                      <a:pt x="26284" y="28477"/>
                    </a:cubicBezTo>
                    <a:cubicBezTo>
                      <a:pt x="31616" y="23870"/>
                      <a:pt x="36075" y="18383"/>
                      <a:pt x="47480" y="19935"/>
                    </a:cubicBezTo>
                    <a:cubicBezTo>
                      <a:pt x="50868" y="13370"/>
                      <a:pt x="57158" y="9737"/>
                      <a:pt x="61279" y="3900"/>
                    </a:cubicBezTo>
                    <a:cubicBezTo>
                      <a:pt x="17263" y="-15087"/>
                      <a:pt x="-9846" y="38827"/>
                      <a:pt x="2967" y="84037"/>
                    </a:cubicBezTo>
                    <a:cubicBezTo>
                      <a:pt x="16099" y="62704"/>
                      <a:pt x="28509" y="40681"/>
                      <a:pt x="44307" y="22073"/>
                    </a:cubicBezTo>
                    <a:close/>
                  </a:path>
                </a:pathLst>
              </a:custGeom>
              <a:solidFill>
                <a:schemeClr val="bg1"/>
              </a:solidFill>
              <a:ln w="9318" cap="flat">
                <a:noFill/>
                <a:prstDash val="solid"/>
                <a:round/>
              </a:ln>
            </p:spPr>
            <p:txBody>
              <a:bodyPr rtlCol="0" anchor="ctr"/>
              <a:lstStyle/>
              <a:p>
                <a:endParaRPr lang="en-LT"/>
              </a:p>
            </p:txBody>
          </p:sp>
          <p:sp>
            <p:nvSpPr>
              <p:cNvPr id="159" name="Freeform 158">
                <a:extLst>
                  <a:ext uri="{FF2B5EF4-FFF2-40B4-BE49-F238E27FC236}">
                    <a16:creationId xmlns:a16="http://schemas.microsoft.com/office/drawing/2014/main" id="{A99EC6B2-E380-7144-B17A-CA2D8F1C74D9}"/>
                  </a:ext>
                </a:extLst>
              </p:cNvPr>
              <p:cNvSpPr/>
              <p:nvPr/>
            </p:nvSpPr>
            <p:spPr>
              <a:xfrm>
                <a:off x="6647785" y="2027915"/>
                <a:ext cx="48741" cy="142648"/>
              </a:xfrm>
              <a:custGeom>
                <a:avLst/>
                <a:gdLst>
                  <a:gd name="connsiteX0" fmla="*/ 2962 w 17888"/>
                  <a:gd name="connsiteY0" fmla="*/ 52341 h 52352"/>
                  <a:gd name="connsiteX1" fmla="*/ 9317 w 17888"/>
                  <a:gd name="connsiteY1" fmla="*/ 7461 h 52352"/>
                  <a:gd name="connsiteX2" fmla="*/ 6154 w 17888"/>
                  <a:gd name="connsiteY2" fmla="*/ 49133 h 52352"/>
                  <a:gd name="connsiteX3" fmla="*/ -220 w 17888"/>
                  <a:gd name="connsiteY3" fmla="*/ -12 h 52352"/>
                  <a:gd name="connsiteX4" fmla="*/ 2962 w 17888"/>
                  <a:gd name="connsiteY4" fmla="*/ 52341 h 52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88" h="52352">
                    <a:moveTo>
                      <a:pt x="2962" y="52341"/>
                    </a:moveTo>
                    <a:cubicBezTo>
                      <a:pt x="8069" y="40383"/>
                      <a:pt x="5572" y="20772"/>
                      <a:pt x="9317" y="7461"/>
                    </a:cubicBezTo>
                    <a:cubicBezTo>
                      <a:pt x="10040" y="23165"/>
                      <a:pt x="8735" y="36788"/>
                      <a:pt x="6154" y="49133"/>
                    </a:cubicBezTo>
                    <a:cubicBezTo>
                      <a:pt x="25378" y="41405"/>
                      <a:pt x="18657" y="2258"/>
                      <a:pt x="-220" y="-12"/>
                    </a:cubicBezTo>
                    <a:cubicBezTo>
                      <a:pt x="4624" y="15900"/>
                      <a:pt x="-4472" y="44120"/>
                      <a:pt x="2962" y="52341"/>
                    </a:cubicBezTo>
                    <a:close/>
                  </a:path>
                </a:pathLst>
              </a:custGeom>
              <a:solidFill>
                <a:schemeClr val="bg1"/>
              </a:solidFill>
              <a:ln w="9318" cap="flat">
                <a:noFill/>
                <a:prstDash val="solid"/>
                <a:round/>
              </a:ln>
            </p:spPr>
            <p:txBody>
              <a:bodyPr rtlCol="0" anchor="ctr"/>
              <a:lstStyle/>
              <a:p>
                <a:endParaRPr lang="en-LT"/>
              </a:p>
            </p:txBody>
          </p:sp>
          <p:sp>
            <p:nvSpPr>
              <p:cNvPr id="160" name="Freeform 159">
                <a:extLst>
                  <a:ext uri="{FF2B5EF4-FFF2-40B4-BE49-F238E27FC236}">
                    <a16:creationId xmlns:a16="http://schemas.microsoft.com/office/drawing/2014/main" id="{9497DB0B-1430-B445-B72B-6369AD886DD7}"/>
                  </a:ext>
                </a:extLst>
              </p:cNvPr>
              <p:cNvSpPr/>
              <p:nvPr/>
            </p:nvSpPr>
            <p:spPr>
              <a:xfrm>
                <a:off x="6593614" y="2033740"/>
                <a:ext cx="8390" cy="26215"/>
              </a:xfrm>
              <a:custGeom>
                <a:avLst/>
                <a:gdLst>
                  <a:gd name="connsiteX0" fmla="*/ 1647 w 3079"/>
                  <a:gd name="connsiteY0" fmla="*/ -12 h 9621"/>
                  <a:gd name="connsiteX1" fmla="*/ 2698 w 3079"/>
                  <a:gd name="connsiteY1" fmla="*/ 9609 h 9621"/>
                  <a:gd name="connsiteX2" fmla="*/ 1647 w 3079"/>
                  <a:gd name="connsiteY2" fmla="*/ -12 h 9621"/>
                </a:gdLst>
                <a:ahLst/>
                <a:cxnLst>
                  <a:cxn ang="0">
                    <a:pos x="connsiteX0" y="connsiteY0"/>
                  </a:cxn>
                  <a:cxn ang="0">
                    <a:pos x="connsiteX1" y="connsiteY1"/>
                  </a:cxn>
                  <a:cxn ang="0">
                    <a:pos x="connsiteX2" y="connsiteY2"/>
                  </a:cxn>
                </a:cxnLst>
                <a:rect l="l" t="t" r="r" b="b"/>
                <a:pathLst>
                  <a:path w="3079" h="9621">
                    <a:moveTo>
                      <a:pt x="1647" y="-12"/>
                    </a:moveTo>
                    <a:cubicBezTo>
                      <a:pt x="-1788" y="2419"/>
                      <a:pt x="89" y="7452"/>
                      <a:pt x="2698" y="9609"/>
                    </a:cubicBezTo>
                    <a:cubicBezTo>
                      <a:pt x="2032" y="6704"/>
                      <a:pt x="4041" y="1123"/>
                      <a:pt x="1647" y="-12"/>
                    </a:cubicBezTo>
                    <a:close/>
                  </a:path>
                </a:pathLst>
              </a:custGeom>
              <a:solidFill>
                <a:schemeClr val="bg1"/>
              </a:solidFill>
              <a:ln w="9318" cap="flat">
                <a:noFill/>
                <a:prstDash val="solid"/>
                <a:round/>
              </a:ln>
            </p:spPr>
            <p:txBody>
              <a:bodyPr rtlCol="0" anchor="ctr"/>
              <a:lstStyle/>
              <a:p>
                <a:endParaRPr lang="en-LT"/>
              </a:p>
            </p:txBody>
          </p:sp>
          <p:sp>
            <p:nvSpPr>
              <p:cNvPr id="161" name="Freeform 160">
                <a:extLst>
                  <a:ext uri="{FF2B5EF4-FFF2-40B4-BE49-F238E27FC236}">
                    <a16:creationId xmlns:a16="http://schemas.microsoft.com/office/drawing/2014/main" id="{1B974A26-2CF1-3749-B764-EDA73A8B7158}"/>
                  </a:ext>
                </a:extLst>
              </p:cNvPr>
              <p:cNvSpPr/>
              <p:nvPr/>
            </p:nvSpPr>
            <p:spPr>
              <a:xfrm>
                <a:off x="6409443" y="2045367"/>
                <a:ext cx="166135" cy="250345"/>
              </a:xfrm>
              <a:custGeom>
                <a:avLst/>
                <a:gdLst>
                  <a:gd name="connsiteX0" fmla="*/ 10926 w 60972"/>
                  <a:gd name="connsiteY0" fmla="*/ 59814 h 91877"/>
                  <a:gd name="connsiteX1" fmla="*/ 4562 w 60972"/>
                  <a:gd name="connsiteY1" fmla="*/ 91865 h 91877"/>
                  <a:gd name="connsiteX2" fmla="*/ 60752 w 60972"/>
                  <a:gd name="connsiteY2" fmla="*/ 3204 h 91877"/>
                  <a:gd name="connsiteX3" fmla="*/ 55458 w 60972"/>
                  <a:gd name="connsiteY3" fmla="*/ -12 h 91877"/>
                  <a:gd name="connsiteX4" fmla="*/ 10926 w 60972"/>
                  <a:gd name="connsiteY4" fmla="*/ 59814 h 918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72" h="91877">
                    <a:moveTo>
                      <a:pt x="10926" y="59814"/>
                    </a:moveTo>
                    <a:cubicBezTo>
                      <a:pt x="4121" y="71270"/>
                      <a:pt x="-6468" y="83408"/>
                      <a:pt x="4562" y="91865"/>
                    </a:cubicBezTo>
                    <a:cubicBezTo>
                      <a:pt x="19769" y="59474"/>
                      <a:pt x="45790" y="32285"/>
                      <a:pt x="60752" y="3204"/>
                    </a:cubicBezTo>
                    <a:cubicBezTo>
                      <a:pt x="60020" y="1085"/>
                      <a:pt x="57927" y="357"/>
                      <a:pt x="55458" y="-12"/>
                    </a:cubicBezTo>
                    <a:cubicBezTo>
                      <a:pt x="41218" y="15616"/>
                      <a:pt x="24378" y="37157"/>
                      <a:pt x="10926" y="59814"/>
                    </a:cubicBezTo>
                    <a:close/>
                  </a:path>
                </a:pathLst>
              </a:custGeom>
              <a:solidFill>
                <a:schemeClr val="bg1"/>
              </a:solidFill>
              <a:ln w="9318" cap="flat">
                <a:noFill/>
                <a:prstDash val="solid"/>
                <a:round/>
              </a:ln>
            </p:spPr>
            <p:txBody>
              <a:bodyPr rtlCol="0" anchor="ctr"/>
              <a:lstStyle/>
              <a:p>
                <a:endParaRPr lang="en-LT"/>
              </a:p>
            </p:txBody>
          </p:sp>
          <p:sp>
            <p:nvSpPr>
              <p:cNvPr id="162" name="Freeform 161">
                <a:extLst>
                  <a:ext uri="{FF2B5EF4-FFF2-40B4-BE49-F238E27FC236}">
                    <a16:creationId xmlns:a16="http://schemas.microsoft.com/office/drawing/2014/main" id="{B010B3ED-E947-3641-B9DE-FA3222DF2A43}"/>
                  </a:ext>
                </a:extLst>
              </p:cNvPr>
              <p:cNvSpPr/>
              <p:nvPr/>
            </p:nvSpPr>
            <p:spPr>
              <a:xfrm>
                <a:off x="6427939" y="2062893"/>
                <a:ext cx="209277" cy="346878"/>
              </a:xfrm>
              <a:custGeom>
                <a:avLst/>
                <a:gdLst>
                  <a:gd name="connsiteX0" fmla="*/ -104 w 76805"/>
                  <a:gd name="connsiteY0" fmla="*/ 90777 h 127305"/>
                  <a:gd name="connsiteX1" fmla="*/ 60310 w 76805"/>
                  <a:gd name="connsiteY1" fmla="*/ 10659 h 127305"/>
                  <a:gd name="connsiteX2" fmla="*/ 13676 w 76805"/>
                  <a:gd name="connsiteY2" fmla="*/ 77959 h 127305"/>
                  <a:gd name="connsiteX3" fmla="*/ 11564 w 76805"/>
                  <a:gd name="connsiteY3" fmla="*/ 76890 h 127305"/>
                  <a:gd name="connsiteX4" fmla="*/ 2017 w 76805"/>
                  <a:gd name="connsiteY4" fmla="*/ 98251 h 127305"/>
                  <a:gd name="connsiteX5" fmla="*/ 15797 w 76805"/>
                  <a:gd name="connsiteY5" fmla="*/ 79018 h 127305"/>
                  <a:gd name="connsiteX6" fmla="*/ 17928 w 76805"/>
                  <a:gd name="connsiteY6" fmla="*/ 80097 h 127305"/>
                  <a:gd name="connsiteX7" fmla="*/ 60310 w 76805"/>
                  <a:gd name="connsiteY7" fmla="*/ 22399 h 127305"/>
                  <a:gd name="connsiteX8" fmla="*/ 56077 w 76805"/>
                  <a:gd name="connsiteY8" fmla="*/ 32011 h 127305"/>
                  <a:gd name="connsiteX9" fmla="*/ 59259 w 76805"/>
                  <a:gd name="connsiteY9" fmla="*/ 33098 h 127305"/>
                  <a:gd name="connsiteX10" fmla="*/ 7330 w 76805"/>
                  <a:gd name="connsiteY10" fmla="*/ 110010 h 127305"/>
                  <a:gd name="connsiteX11" fmla="*/ 29587 w 76805"/>
                  <a:gd name="connsiteY11" fmla="*/ 127095 h 127305"/>
                  <a:gd name="connsiteX12" fmla="*/ 67735 w 76805"/>
                  <a:gd name="connsiteY12" fmla="*/ 29873 h 127305"/>
                  <a:gd name="connsiteX13" fmla="*/ 57147 w 76805"/>
                  <a:gd name="connsiteY13" fmla="*/ -12 h 127305"/>
                  <a:gd name="connsiteX14" fmla="*/ 11564 w 76805"/>
                  <a:gd name="connsiteY14" fmla="*/ 66209 h 127305"/>
                  <a:gd name="connsiteX15" fmla="*/ -104 w 76805"/>
                  <a:gd name="connsiteY15" fmla="*/ 90777 h 127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805" h="127305">
                    <a:moveTo>
                      <a:pt x="-104" y="90777"/>
                    </a:moveTo>
                    <a:cubicBezTo>
                      <a:pt x="19130" y="63154"/>
                      <a:pt x="37068" y="34215"/>
                      <a:pt x="60310" y="10659"/>
                    </a:cubicBezTo>
                    <a:cubicBezTo>
                      <a:pt x="45976" y="33647"/>
                      <a:pt x="22678" y="53116"/>
                      <a:pt x="13676" y="77959"/>
                    </a:cubicBezTo>
                    <a:cubicBezTo>
                      <a:pt x="13741" y="75963"/>
                      <a:pt x="12869" y="75698"/>
                      <a:pt x="11564" y="76890"/>
                    </a:cubicBezTo>
                    <a:cubicBezTo>
                      <a:pt x="9386" y="85026"/>
                      <a:pt x="2073" y="87977"/>
                      <a:pt x="2017" y="98251"/>
                    </a:cubicBezTo>
                    <a:cubicBezTo>
                      <a:pt x="8588" y="93975"/>
                      <a:pt x="14549" y="85309"/>
                      <a:pt x="15797" y="79018"/>
                    </a:cubicBezTo>
                    <a:cubicBezTo>
                      <a:pt x="15750" y="81014"/>
                      <a:pt x="16614" y="81289"/>
                      <a:pt x="17928" y="80097"/>
                    </a:cubicBezTo>
                    <a:cubicBezTo>
                      <a:pt x="29521" y="58319"/>
                      <a:pt x="47901" y="43363"/>
                      <a:pt x="60310" y="22399"/>
                    </a:cubicBezTo>
                    <a:cubicBezTo>
                      <a:pt x="59672" y="26363"/>
                      <a:pt x="57335" y="28662"/>
                      <a:pt x="56077" y="32011"/>
                    </a:cubicBezTo>
                    <a:cubicBezTo>
                      <a:pt x="55767" y="35359"/>
                      <a:pt x="59137" y="29305"/>
                      <a:pt x="59259" y="33098"/>
                    </a:cubicBezTo>
                    <a:cubicBezTo>
                      <a:pt x="43921" y="60713"/>
                      <a:pt x="20725" y="80428"/>
                      <a:pt x="7330" y="110010"/>
                    </a:cubicBezTo>
                    <a:cubicBezTo>
                      <a:pt x="13122" y="120170"/>
                      <a:pt x="18501" y="125913"/>
                      <a:pt x="29587" y="127095"/>
                    </a:cubicBezTo>
                    <a:cubicBezTo>
                      <a:pt x="70213" y="131466"/>
                      <a:pt x="89016" y="62378"/>
                      <a:pt x="67735" y="29873"/>
                    </a:cubicBezTo>
                    <a:cubicBezTo>
                      <a:pt x="66628" y="17470"/>
                      <a:pt x="61577" y="9041"/>
                      <a:pt x="57147" y="-12"/>
                    </a:cubicBezTo>
                    <a:cubicBezTo>
                      <a:pt x="39969" y="19627"/>
                      <a:pt x="25212" y="43770"/>
                      <a:pt x="11564" y="66209"/>
                    </a:cubicBezTo>
                    <a:cubicBezTo>
                      <a:pt x="6880" y="73900"/>
                      <a:pt x="-1287" y="81014"/>
                      <a:pt x="-104" y="90777"/>
                    </a:cubicBezTo>
                    <a:close/>
                  </a:path>
                </a:pathLst>
              </a:custGeom>
              <a:solidFill>
                <a:schemeClr val="bg1"/>
              </a:solidFill>
              <a:ln w="9318" cap="flat">
                <a:noFill/>
                <a:prstDash val="solid"/>
                <a:round/>
              </a:ln>
            </p:spPr>
            <p:txBody>
              <a:bodyPr rtlCol="0" anchor="ctr"/>
              <a:lstStyle/>
              <a:p>
                <a:endParaRPr lang="en-LT"/>
              </a:p>
            </p:txBody>
          </p:sp>
          <p:sp>
            <p:nvSpPr>
              <p:cNvPr id="163" name="Freeform 162">
                <a:extLst>
                  <a:ext uri="{FF2B5EF4-FFF2-40B4-BE49-F238E27FC236}">
                    <a16:creationId xmlns:a16="http://schemas.microsoft.com/office/drawing/2014/main" id="{EA1DD9B9-6D4E-C44C-A522-84F5C939EB6A}"/>
                  </a:ext>
                </a:extLst>
              </p:cNvPr>
              <p:cNvSpPr/>
              <p:nvPr/>
            </p:nvSpPr>
            <p:spPr>
              <a:xfrm>
                <a:off x="6517036" y="2470351"/>
                <a:ext cx="9060" cy="37815"/>
              </a:xfrm>
              <a:custGeom>
                <a:avLst/>
                <a:gdLst>
                  <a:gd name="connsiteX0" fmla="*/ 2172 w 3325"/>
                  <a:gd name="connsiteY0" fmla="*/ 13866 h 13878"/>
                  <a:gd name="connsiteX1" fmla="*/ 50 w 3325"/>
                  <a:gd name="connsiteY1" fmla="*/ -12 h 13878"/>
                  <a:gd name="connsiteX2" fmla="*/ 2172 w 3325"/>
                  <a:gd name="connsiteY2" fmla="*/ 13866 h 13878"/>
                </a:gdLst>
                <a:ahLst/>
                <a:cxnLst>
                  <a:cxn ang="0">
                    <a:pos x="connsiteX0" y="connsiteY0"/>
                  </a:cxn>
                  <a:cxn ang="0">
                    <a:pos x="connsiteX1" y="connsiteY1"/>
                  </a:cxn>
                  <a:cxn ang="0">
                    <a:pos x="connsiteX2" y="connsiteY2"/>
                  </a:cxn>
                </a:cxnLst>
                <a:rect l="l" t="t" r="r" b="b"/>
                <a:pathLst>
                  <a:path w="3325" h="13878">
                    <a:moveTo>
                      <a:pt x="2172" y="13866"/>
                    </a:moveTo>
                    <a:cubicBezTo>
                      <a:pt x="4753" y="10176"/>
                      <a:pt x="1299" y="3412"/>
                      <a:pt x="50" y="-12"/>
                    </a:cubicBezTo>
                    <a:cubicBezTo>
                      <a:pt x="1205" y="4169"/>
                      <a:pt x="-2400" y="13137"/>
                      <a:pt x="2172" y="13866"/>
                    </a:cubicBezTo>
                    <a:close/>
                  </a:path>
                </a:pathLst>
              </a:custGeom>
              <a:solidFill>
                <a:schemeClr val="bg1"/>
              </a:solidFill>
              <a:ln w="9318" cap="flat">
                <a:noFill/>
                <a:prstDash val="solid"/>
                <a:round/>
              </a:ln>
            </p:spPr>
            <p:txBody>
              <a:bodyPr rtlCol="0" anchor="ctr"/>
              <a:lstStyle/>
              <a:p>
                <a:endParaRPr lang="en-LT"/>
              </a:p>
            </p:txBody>
          </p:sp>
          <p:sp>
            <p:nvSpPr>
              <p:cNvPr id="164" name="Freeform 163">
                <a:extLst>
                  <a:ext uri="{FF2B5EF4-FFF2-40B4-BE49-F238E27FC236}">
                    <a16:creationId xmlns:a16="http://schemas.microsoft.com/office/drawing/2014/main" id="{B3966A7B-9D59-C447-AC57-B5BF207145FE}"/>
                  </a:ext>
                </a:extLst>
              </p:cNvPr>
              <p:cNvSpPr/>
              <p:nvPr/>
            </p:nvSpPr>
            <p:spPr>
              <a:xfrm>
                <a:off x="6506265" y="3124814"/>
                <a:ext cx="75068" cy="12128"/>
              </a:xfrm>
              <a:custGeom>
                <a:avLst/>
                <a:gdLst>
                  <a:gd name="connsiteX0" fmla="*/ 1892 w 27550"/>
                  <a:gd name="connsiteY0" fmla="*/ 4440 h 4451"/>
                  <a:gd name="connsiteX1" fmla="*/ 23107 w 27550"/>
                  <a:gd name="connsiteY1" fmla="*/ 2302 h 4451"/>
                  <a:gd name="connsiteX2" fmla="*/ 27331 w 27550"/>
                  <a:gd name="connsiteY2" fmla="*/ 2302 h 4451"/>
                  <a:gd name="connsiteX3" fmla="*/ 23107 w 27550"/>
                  <a:gd name="connsiteY3" fmla="*/ 1233 h 4451"/>
                  <a:gd name="connsiteX4" fmla="*/ -220 w 27550"/>
                  <a:gd name="connsiteY4" fmla="*/ 2302 h 4451"/>
                  <a:gd name="connsiteX5" fmla="*/ 1892 w 27550"/>
                  <a:gd name="connsiteY5" fmla="*/ 4440 h 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50" h="4451">
                    <a:moveTo>
                      <a:pt x="1892" y="4440"/>
                    </a:moveTo>
                    <a:cubicBezTo>
                      <a:pt x="7036" y="1791"/>
                      <a:pt x="17700" y="4714"/>
                      <a:pt x="23107" y="2302"/>
                    </a:cubicBezTo>
                    <a:lnTo>
                      <a:pt x="27331" y="2302"/>
                    </a:lnTo>
                    <a:cubicBezTo>
                      <a:pt x="27124" y="722"/>
                      <a:pt x="24777" y="1327"/>
                      <a:pt x="23107" y="1233"/>
                    </a:cubicBezTo>
                    <a:cubicBezTo>
                      <a:pt x="14827" y="3276"/>
                      <a:pt x="4549" y="-3289"/>
                      <a:pt x="-220" y="2302"/>
                    </a:cubicBezTo>
                    <a:cubicBezTo>
                      <a:pt x="15" y="3494"/>
                      <a:pt x="963" y="3957"/>
                      <a:pt x="1892" y="4440"/>
                    </a:cubicBezTo>
                    <a:close/>
                  </a:path>
                </a:pathLst>
              </a:custGeom>
              <a:solidFill>
                <a:schemeClr val="bg1"/>
              </a:solidFill>
              <a:ln w="9318" cap="flat">
                <a:noFill/>
                <a:prstDash val="solid"/>
                <a:round/>
              </a:ln>
            </p:spPr>
            <p:txBody>
              <a:bodyPr rtlCol="0" anchor="ctr"/>
              <a:lstStyle/>
              <a:p>
                <a:endParaRPr lang="en-LT"/>
              </a:p>
            </p:txBody>
          </p:sp>
          <p:sp>
            <p:nvSpPr>
              <p:cNvPr id="165" name="Freeform 164">
                <a:extLst>
                  <a:ext uri="{FF2B5EF4-FFF2-40B4-BE49-F238E27FC236}">
                    <a16:creationId xmlns:a16="http://schemas.microsoft.com/office/drawing/2014/main" id="{49E63730-D4AB-5E43-85B9-A47C8348C9BD}"/>
                  </a:ext>
                </a:extLst>
              </p:cNvPr>
              <p:cNvSpPr/>
              <p:nvPr/>
            </p:nvSpPr>
            <p:spPr>
              <a:xfrm>
                <a:off x="6939495" y="3564714"/>
                <a:ext cx="60643" cy="433851"/>
              </a:xfrm>
              <a:custGeom>
                <a:avLst/>
                <a:gdLst>
                  <a:gd name="connsiteX0" fmla="*/ 22037 w 22256"/>
                  <a:gd name="connsiteY0" fmla="*/ 1085 h 159224"/>
                  <a:gd name="connsiteX1" fmla="*/ 20976 w 22256"/>
                  <a:gd name="connsiteY1" fmla="*/ 25 h 159224"/>
                  <a:gd name="connsiteX2" fmla="*/ 15682 w 22256"/>
                  <a:gd name="connsiteY2" fmla="*/ 8587 h 159224"/>
                  <a:gd name="connsiteX3" fmla="*/ 8266 w 22256"/>
                  <a:gd name="connsiteY3" fmla="*/ 84429 h 159224"/>
                  <a:gd name="connsiteX4" fmla="*/ -220 w 22256"/>
                  <a:gd name="connsiteY4" fmla="*/ 159212 h 159224"/>
                  <a:gd name="connsiteX5" fmla="*/ 9317 w 22256"/>
                  <a:gd name="connsiteY5" fmla="*/ 126082 h 159224"/>
                  <a:gd name="connsiteX6" fmla="*/ 22037 w 22256"/>
                  <a:gd name="connsiteY6" fmla="*/ 1085 h 15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56" h="159224">
                    <a:moveTo>
                      <a:pt x="22037" y="1085"/>
                    </a:moveTo>
                    <a:cubicBezTo>
                      <a:pt x="21980" y="451"/>
                      <a:pt x="21886" y="-173"/>
                      <a:pt x="20976" y="25"/>
                    </a:cubicBezTo>
                    <a:cubicBezTo>
                      <a:pt x="19098" y="3005"/>
                      <a:pt x="16414" y="5209"/>
                      <a:pt x="15682" y="8587"/>
                    </a:cubicBezTo>
                    <a:cubicBezTo>
                      <a:pt x="11129" y="29636"/>
                      <a:pt x="10735" y="57761"/>
                      <a:pt x="8266" y="84429"/>
                    </a:cubicBezTo>
                    <a:cubicBezTo>
                      <a:pt x="5788" y="110833"/>
                      <a:pt x="2305" y="137151"/>
                      <a:pt x="-220" y="159212"/>
                    </a:cubicBezTo>
                    <a:cubicBezTo>
                      <a:pt x="9317" y="153877"/>
                      <a:pt x="7543" y="138513"/>
                      <a:pt x="9317" y="126082"/>
                    </a:cubicBezTo>
                    <a:cubicBezTo>
                      <a:pt x="15062" y="85877"/>
                      <a:pt x="15503" y="37904"/>
                      <a:pt x="22037" y="1085"/>
                    </a:cubicBezTo>
                    <a:close/>
                  </a:path>
                </a:pathLst>
              </a:custGeom>
              <a:solidFill>
                <a:schemeClr val="bg1"/>
              </a:solidFill>
              <a:ln w="9318" cap="flat">
                <a:noFill/>
                <a:prstDash val="solid"/>
                <a:round/>
              </a:ln>
            </p:spPr>
            <p:txBody>
              <a:bodyPr rtlCol="0" anchor="ctr"/>
              <a:lstStyle/>
              <a:p>
                <a:endParaRPr lang="en-LT"/>
              </a:p>
            </p:txBody>
          </p:sp>
          <p:sp>
            <p:nvSpPr>
              <p:cNvPr id="166" name="Freeform 165">
                <a:extLst>
                  <a:ext uri="{FF2B5EF4-FFF2-40B4-BE49-F238E27FC236}">
                    <a16:creationId xmlns:a16="http://schemas.microsoft.com/office/drawing/2014/main" id="{CF055391-4371-4243-9BDD-DA4DEE591383}"/>
                  </a:ext>
                </a:extLst>
              </p:cNvPr>
              <p:cNvSpPr/>
              <p:nvPr/>
            </p:nvSpPr>
            <p:spPr>
              <a:xfrm>
                <a:off x="6425364" y="3803410"/>
                <a:ext cx="106861" cy="116509"/>
              </a:xfrm>
              <a:custGeom>
                <a:avLst/>
                <a:gdLst>
                  <a:gd name="connsiteX0" fmla="*/ 36896 w 39218"/>
                  <a:gd name="connsiteY0" fmla="*/ 25 h 42759"/>
                  <a:gd name="connsiteX1" fmla="*/ 16742 w 39218"/>
                  <a:gd name="connsiteY1" fmla="*/ 19258 h 42759"/>
                  <a:gd name="connsiteX2" fmla="*/ -220 w 39218"/>
                  <a:gd name="connsiteY2" fmla="*/ 42748 h 42759"/>
                  <a:gd name="connsiteX3" fmla="*/ 19925 w 39218"/>
                  <a:gd name="connsiteY3" fmla="*/ 23534 h 42759"/>
                  <a:gd name="connsiteX4" fmla="*/ 38999 w 39218"/>
                  <a:gd name="connsiteY4" fmla="*/ 1094 h 42759"/>
                  <a:gd name="connsiteX5" fmla="*/ 36896 w 39218"/>
                  <a:gd name="connsiteY5" fmla="*/ 25 h 4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218" h="42759">
                    <a:moveTo>
                      <a:pt x="36896" y="25"/>
                    </a:moveTo>
                    <a:cubicBezTo>
                      <a:pt x="31208" y="7452"/>
                      <a:pt x="23623" y="12967"/>
                      <a:pt x="16742" y="19258"/>
                    </a:cubicBezTo>
                    <a:cubicBezTo>
                      <a:pt x="10209" y="25256"/>
                      <a:pt x="-4" y="30970"/>
                      <a:pt x="-220" y="42748"/>
                    </a:cubicBezTo>
                    <a:cubicBezTo>
                      <a:pt x="6942" y="39087"/>
                      <a:pt x="13081" y="30431"/>
                      <a:pt x="19925" y="23534"/>
                    </a:cubicBezTo>
                    <a:cubicBezTo>
                      <a:pt x="26561" y="16827"/>
                      <a:pt x="37121" y="11198"/>
                      <a:pt x="38999" y="1094"/>
                    </a:cubicBezTo>
                    <a:cubicBezTo>
                      <a:pt x="38774" y="271"/>
                      <a:pt x="38126" y="-145"/>
                      <a:pt x="36896" y="25"/>
                    </a:cubicBezTo>
                    <a:close/>
                  </a:path>
                </a:pathLst>
              </a:custGeom>
              <a:solidFill>
                <a:schemeClr val="bg1"/>
              </a:solidFill>
              <a:ln w="9318" cap="flat">
                <a:noFill/>
                <a:prstDash val="solid"/>
                <a:round/>
              </a:ln>
            </p:spPr>
            <p:txBody>
              <a:bodyPr rtlCol="0" anchor="ctr"/>
              <a:lstStyle/>
              <a:p>
                <a:endParaRPr lang="en-LT"/>
              </a:p>
            </p:txBody>
          </p:sp>
          <p:sp>
            <p:nvSpPr>
              <p:cNvPr id="167" name="Freeform 166">
                <a:extLst>
                  <a:ext uri="{FF2B5EF4-FFF2-40B4-BE49-F238E27FC236}">
                    <a16:creationId xmlns:a16="http://schemas.microsoft.com/office/drawing/2014/main" id="{71153FFF-0F62-8E4B-8C1D-F5E370973717}"/>
                  </a:ext>
                </a:extLst>
              </p:cNvPr>
              <p:cNvSpPr/>
              <p:nvPr/>
            </p:nvSpPr>
            <p:spPr>
              <a:xfrm>
                <a:off x="6427601" y="3832614"/>
                <a:ext cx="100149" cy="133961"/>
              </a:xfrm>
              <a:custGeom>
                <a:avLst/>
                <a:gdLst>
                  <a:gd name="connsiteX0" fmla="*/ 36075 w 36755"/>
                  <a:gd name="connsiteY0" fmla="*/ -12 h 49164"/>
                  <a:gd name="connsiteX1" fmla="*/ 18052 w 36755"/>
                  <a:gd name="connsiteY1" fmla="*/ 18161 h 49164"/>
                  <a:gd name="connsiteX2" fmla="*/ 1080 w 36755"/>
                  <a:gd name="connsiteY2" fmla="*/ 49152 h 49164"/>
                  <a:gd name="connsiteX3" fmla="*/ 36075 w 36755"/>
                  <a:gd name="connsiteY3" fmla="*/ -12 h 49164"/>
                </a:gdLst>
                <a:ahLst/>
                <a:cxnLst>
                  <a:cxn ang="0">
                    <a:pos x="connsiteX0" y="connsiteY0"/>
                  </a:cxn>
                  <a:cxn ang="0">
                    <a:pos x="connsiteX1" y="connsiteY1"/>
                  </a:cxn>
                  <a:cxn ang="0">
                    <a:pos x="connsiteX2" y="connsiteY2"/>
                  </a:cxn>
                  <a:cxn ang="0">
                    <a:pos x="connsiteX3" y="connsiteY3"/>
                  </a:cxn>
                </a:cxnLst>
                <a:rect l="l" t="t" r="r" b="b"/>
                <a:pathLst>
                  <a:path w="36755" h="49164">
                    <a:moveTo>
                      <a:pt x="36075" y="-12"/>
                    </a:moveTo>
                    <a:cubicBezTo>
                      <a:pt x="30499" y="4311"/>
                      <a:pt x="24970" y="11170"/>
                      <a:pt x="18052" y="18161"/>
                    </a:cubicBezTo>
                    <a:cubicBezTo>
                      <a:pt x="9519" y="26713"/>
                      <a:pt x="-4571" y="33212"/>
                      <a:pt x="1080" y="49152"/>
                    </a:cubicBezTo>
                    <a:cubicBezTo>
                      <a:pt x="10711" y="35690"/>
                      <a:pt x="40590" y="27706"/>
                      <a:pt x="36075" y="-12"/>
                    </a:cubicBezTo>
                    <a:close/>
                  </a:path>
                </a:pathLst>
              </a:custGeom>
              <a:solidFill>
                <a:schemeClr val="bg1"/>
              </a:solidFill>
              <a:ln w="9318" cap="flat">
                <a:noFill/>
                <a:prstDash val="solid"/>
                <a:round/>
              </a:ln>
            </p:spPr>
            <p:txBody>
              <a:bodyPr rtlCol="0" anchor="ctr"/>
              <a:lstStyle/>
              <a:p>
                <a:endParaRPr lang="en-LT"/>
              </a:p>
            </p:txBody>
          </p:sp>
          <p:sp>
            <p:nvSpPr>
              <p:cNvPr id="168" name="Freeform 167">
                <a:extLst>
                  <a:ext uri="{FF2B5EF4-FFF2-40B4-BE49-F238E27FC236}">
                    <a16:creationId xmlns:a16="http://schemas.microsoft.com/office/drawing/2014/main" id="{ECAD150F-ED7C-7E41-BD60-5F36C86A290C}"/>
                  </a:ext>
                </a:extLst>
              </p:cNvPr>
              <p:cNvSpPr/>
              <p:nvPr/>
            </p:nvSpPr>
            <p:spPr>
              <a:xfrm>
                <a:off x="6431143" y="3887958"/>
                <a:ext cx="95757" cy="110607"/>
              </a:xfrm>
              <a:custGeom>
                <a:avLst/>
                <a:gdLst>
                  <a:gd name="connsiteX0" fmla="*/ 33695 w 35143"/>
                  <a:gd name="connsiteY0" fmla="*/ -12 h 40593"/>
                  <a:gd name="connsiteX1" fmla="*/ 14621 w 35143"/>
                  <a:gd name="connsiteY1" fmla="*/ 18132 h 40593"/>
                  <a:gd name="connsiteX2" fmla="*/ -220 w 35143"/>
                  <a:gd name="connsiteY2" fmla="*/ 40581 h 40593"/>
                  <a:gd name="connsiteX3" fmla="*/ 34775 w 35143"/>
                  <a:gd name="connsiteY3" fmla="*/ 10649 h 40593"/>
                  <a:gd name="connsiteX4" fmla="*/ 33695 w 35143"/>
                  <a:gd name="connsiteY4" fmla="*/ -12 h 40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3" h="40593">
                    <a:moveTo>
                      <a:pt x="33695" y="-12"/>
                    </a:moveTo>
                    <a:cubicBezTo>
                      <a:pt x="28551" y="7253"/>
                      <a:pt x="20957" y="12002"/>
                      <a:pt x="14621" y="18132"/>
                    </a:cubicBezTo>
                    <a:cubicBezTo>
                      <a:pt x="8810" y="23771"/>
                      <a:pt x="-41" y="29863"/>
                      <a:pt x="-220" y="40581"/>
                    </a:cubicBezTo>
                    <a:cubicBezTo>
                      <a:pt x="10875" y="34281"/>
                      <a:pt x="23623" y="20441"/>
                      <a:pt x="34775" y="10649"/>
                    </a:cubicBezTo>
                    <a:cubicBezTo>
                      <a:pt x="34089" y="7395"/>
                      <a:pt x="36117" y="1464"/>
                      <a:pt x="33695" y="-12"/>
                    </a:cubicBezTo>
                    <a:close/>
                  </a:path>
                </a:pathLst>
              </a:custGeom>
              <a:solidFill>
                <a:schemeClr val="bg1"/>
              </a:solidFill>
              <a:ln w="9318" cap="flat">
                <a:noFill/>
                <a:prstDash val="solid"/>
                <a:round/>
              </a:ln>
            </p:spPr>
            <p:txBody>
              <a:bodyPr rtlCol="0" anchor="ctr"/>
              <a:lstStyle/>
              <a:p>
                <a:endParaRPr lang="en-LT"/>
              </a:p>
            </p:txBody>
          </p:sp>
          <p:sp>
            <p:nvSpPr>
              <p:cNvPr id="169" name="Freeform 168">
                <a:extLst>
                  <a:ext uri="{FF2B5EF4-FFF2-40B4-BE49-F238E27FC236}">
                    <a16:creationId xmlns:a16="http://schemas.microsoft.com/office/drawing/2014/main" id="{F15EA06A-85A6-164D-999F-92268552D5E9}"/>
                  </a:ext>
                </a:extLst>
              </p:cNvPr>
              <p:cNvSpPr/>
              <p:nvPr/>
            </p:nvSpPr>
            <p:spPr>
              <a:xfrm>
                <a:off x="6434034" y="3928633"/>
                <a:ext cx="90024" cy="116484"/>
              </a:xfrm>
              <a:custGeom>
                <a:avLst/>
                <a:gdLst>
                  <a:gd name="connsiteX0" fmla="*/ 31583 w 33039"/>
                  <a:gd name="connsiteY0" fmla="*/ -12 h 42750"/>
                  <a:gd name="connsiteX1" fmla="*/ -220 w 33039"/>
                  <a:gd name="connsiteY1" fmla="*/ 28851 h 42750"/>
                  <a:gd name="connsiteX2" fmla="*/ -220 w 33039"/>
                  <a:gd name="connsiteY2" fmla="*/ 42738 h 42750"/>
                  <a:gd name="connsiteX3" fmla="*/ 32634 w 33039"/>
                  <a:gd name="connsiteY3" fmla="*/ 13913 h 42750"/>
                  <a:gd name="connsiteX4" fmla="*/ 31583 w 33039"/>
                  <a:gd name="connsiteY4" fmla="*/ -12 h 42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39" h="42750">
                    <a:moveTo>
                      <a:pt x="31583" y="-12"/>
                    </a:moveTo>
                    <a:cubicBezTo>
                      <a:pt x="21483" y="10110"/>
                      <a:pt x="10829" y="19665"/>
                      <a:pt x="-220" y="28851"/>
                    </a:cubicBezTo>
                    <a:lnTo>
                      <a:pt x="-220" y="42738"/>
                    </a:lnTo>
                    <a:cubicBezTo>
                      <a:pt x="11880" y="34262"/>
                      <a:pt x="20807" y="22588"/>
                      <a:pt x="32634" y="13913"/>
                    </a:cubicBezTo>
                    <a:cubicBezTo>
                      <a:pt x="31968" y="9599"/>
                      <a:pt x="34033" y="2523"/>
                      <a:pt x="31583" y="-12"/>
                    </a:cubicBezTo>
                    <a:close/>
                  </a:path>
                </a:pathLst>
              </a:custGeom>
              <a:solidFill>
                <a:schemeClr val="bg1"/>
              </a:solidFill>
              <a:ln w="9318" cap="flat">
                <a:noFill/>
                <a:prstDash val="solid"/>
                <a:round/>
              </a:ln>
            </p:spPr>
            <p:txBody>
              <a:bodyPr rtlCol="0" anchor="ctr"/>
              <a:lstStyle/>
              <a:p>
                <a:endParaRPr lang="en-LT"/>
              </a:p>
            </p:txBody>
          </p:sp>
          <p:sp>
            <p:nvSpPr>
              <p:cNvPr id="170" name="Freeform 169">
                <a:extLst>
                  <a:ext uri="{FF2B5EF4-FFF2-40B4-BE49-F238E27FC236}">
                    <a16:creationId xmlns:a16="http://schemas.microsoft.com/office/drawing/2014/main" id="{0CCD2675-1082-E347-B4F0-E2EC9C3372E0}"/>
                  </a:ext>
                </a:extLst>
              </p:cNvPr>
              <p:cNvSpPr/>
              <p:nvPr/>
            </p:nvSpPr>
            <p:spPr>
              <a:xfrm>
                <a:off x="6436925" y="3975290"/>
                <a:ext cx="89572" cy="98931"/>
              </a:xfrm>
              <a:custGeom>
                <a:avLst/>
                <a:gdLst>
                  <a:gd name="connsiteX0" fmla="*/ 32653 w 32873"/>
                  <a:gd name="connsiteY0" fmla="*/ 2126 h 36308"/>
                  <a:gd name="connsiteX1" fmla="*/ 30522 w 32873"/>
                  <a:gd name="connsiteY1" fmla="*/ -12 h 36308"/>
                  <a:gd name="connsiteX2" fmla="*/ -220 w 32873"/>
                  <a:gd name="connsiteY2" fmla="*/ 36296 h 36308"/>
                  <a:gd name="connsiteX3" fmla="*/ 32653 w 32873"/>
                  <a:gd name="connsiteY3" fmla="*/ 2126 h 36308"/>
                </a:gdLst>
                <a:ahLst/>
                <a:cxnLst>
                  <a:cxn ang="0">
                    <a:pos x="connsiteX0" y="connsiteY0"/>
                  </a:cxn>
                  <a:cxn ang="0">
                    <a:pos x="connsiteX1" y="connsiteY1"/>
                  </a:cxn>
                  <a:cxn ang="0">
                    <a:pos x="connsiteX2" y="connsiteY2"/>
                  </a:cxn>
                  <a:cxn ang="0">
                    <a:pos x="connsiteX3" y="connsiteY3"/>
                  </a:cxn>
                </a:cxnLst>
                <a:rect l="l" t="t" r="r" b="b"/>
                <a:pathLst>
                  <a:path w="32873" h="36308">
                    <a:moveTo>
                      <a:pt x="32653" y="2126"/>
                    </a:moveTo>
                    <a:cubicBezTo>
                      <a:pt x="31245" y="2088"/>
                      <a:pt x="31667" y="234"/>
                      <a:pt x="30522" y="-12"/>
                    </a:cubicBezTo>
                    <a:cubicBezTo>
                      <a:pt x="21698" y="13516"/>
                      <a:pt x="3037" y="17139"/>
                      <a:pt x="-220" y="36296"/>
                    </a:cubicBezTo>
                    <a:cubicBezTo>
                      <a:pt x="11936" y="26117"/>
                      <a:pt x="24017" y="15824"/>
                      <a:pt x="32653" y="2126"/>
                    </a:cubicBezTo>
                    <a:close/>
                  </a:path>
                </a:pathLst>
              </a:custGeom>
              <a:solidFill>
                <a:schemeClr val="bg1"/>
              </a:solidFill>
              <a:ln w="9318" cap="flat">
                <a:noFill/>
                <a:prstDash val="solid"/>
                <a:round/>
              </a:ln>
            </p:spPr>
            <p:txBody>
              <a:bodyPr rtlCol="0" anchor="ctr"/>
              <a:lstStyle/>
              <a:p>
                <a:endParaRPr lang="en-LT"/>
              </a:p>
            </p:txBody>
          </p:sp>
          <p:sp>
            <p:nvSpPr>
              <p:cNvPr id="171" name="Freeform 170">
                <a:extLst>
                  <a:ext uri="{FF2B5EF4-FFF2-40B4-BE49-F238E27FC236}">
                    <a16:creationId xmlns:a16="http://schemas.microsoft.com/office/drawing/2014/main" id="{48124BF6-8C69-214E-9A3D-8644365BF45D}"/>
                  </a:ext>
                </a:extLst>
              </p:cNvPr>
              <p:cNvSpPr/>
              <p:nvPr/>
            </p:nvSpPr>
            <p:spPr>
              <a:xfrm>
                <a:off x="6437985" y="4004393"/>
                <a:ext cx="94348" cy="521055"/>
              </a:xfrm>
              <a:custGeom>
                <a:avLst/>
                <a:gdLst>
                  <a:gd name="connsiteX0" fmla="*/ 32264 w 34626"/>
                  <a:gd name="connsiteY0" fmla="*/ -12 h 191228"/>
                  <a:gd name="connsiteX1" fmla="*/ 30133 w 34626"/>
                  <a:gd name="connsiteY1" fmla="*/ -12 h 191228"/>
                  <a:gd name="connsiteX2" fmla="*/ 452 w 34626"/>
                  <a:gd name="connsiteY2" fmla="*/ 30951 h 191228"/>
                  <a:gd name="connsiteX3" fmla="*/ 5746 w 34626"/>
                  <a:gd name="connsiteY3" fmla="*/ 86511 h 191228"/>
                  <a:gd name="connsiteX4" fmla="*/ 11050 w 34626"/>
                  <a:gd name="connsiteY4" fmla="*/ 142042 h 191228"/>
                  <a:gd name="connsiteX5" fmla="*/ 24839 w 34626"/>
                  <a:gd name="connsiteY5" fmla="*/ 191207 h 191228"/>
                  <a:gd name="connsiteX6" fmla="*/ 32264 w 34626"/>
                  <a:gd name="connsiteY6" fmla="*/ 163413 h 191228"/>
                  <a:gd name="connsiteX7" fmla="*/ 32264 w 34626"/>
                  <a:gd name="connsiteY7" fmla="*/ -12 h 19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26" h="191228">
                    <a:moveTo>
                      <a:pt x="32264" y="-12"/>
                    </a:moveTo>
                    <a:lnTo>
                      <a:pt x="30133" y="-12"/>
                    </a:lnTo>
                    <a:cubicBezTo>
                      <a:pt x="23910" y="11009"/>
                      <a:pt x="3624" y="17849"/>
                      <a:pt x="452" y="30951"/>
                    </a:cubicBezTo>
                    <a:cubicBezTo>
                      <a:pt x="-2374" y="42701"/>
                      <a:pt x="4554" y="66540"/>
                      <a:pt x="5746" y="86511"/>
                    </a:cubicBezTo>
                    <a:cubicBezTo>
                      <a:pt x="6994" y="107333"/>
                      <a:pt x="9773" y="128297"/>
                      <a:pt x="11050" y="142042"/>
                    </a:cubicBezTo>
                    <a:cubicBezTo>
                      <a:pt x="12627" y="159023"/>
                      <a:pt x="10308" y="191841"/>
                      <a:pt x="24839" y="191207"/>
                    </a:cubicBezTo>
                    <a:cubicBezTo>
                      <a:pt x="34188" y="190791"/>
                      <a:pt x="32602" y="173743"/>
                      <a:pt x="32264" y="163413"/>
                    </a:cubicBezTo>
                    <a:cubicBezTo>
                      <a:pt x="30527" y="113368"/>
                      <a:pt x="37859" y="51972"/>
                      <a:pt x="32264" y="-12"/>
                    </a:cubicBezTo>
                    <a:close/>
                  </a:path>
                </a:pathLst>
              </a:custGeom>
              <a:solidFill>
                <a:schemeClr val="bg1"/>
              </a:solidFill>
              <a:ln w="9318" cap="flat">
                <a:noFill/>
                <a:prstDash val="solid"/>
                <a:round/>
              </a:ln>
            </p:spPr>
            <p:txBody>
              <a:bodyPr rtlCol="0" anchor="ctr"/>
              <a:lstStyle/>
              <a:p>
                <a:endParaRPr lang="en-LT"/>
              </a:p>
            </p:txBody>
          </p:sp>
          <p:sp>
            <p:nvSpPr>
              <p:cNvPr id="172" name="Freeform 171">
                <a:extLst>
                  <a:ext uri="{FF2B5EF4-FFF2-40B4-BE49-F238E27FC236}">
                    <a16:creationId xmlns:a16="http://schemas.microsoft.com/office/drawing/2014/main" id="{B3416BFE-93AB-0342-ADE8-E720BF72D307}"/>
                  </a:ext>
                </a:extLst>
              </p:cNvPr>
              <p:cNvSpPr/>
              <p:nvPr/>
            </p:nvSpPr>
            <p:spPr>
              <a:xfrm>
                <a:off x="6512020" y="2156001"/>
                <a:ext cx="72229" cy="96070"/>
              </a:xfrm>
              <a:custGeom>
                <a:avLst/>
                <a:gdLst>
                  <a:gd name="connsiteX0" fmla="*/ -220 w 26508"/>
                  <a:gd name="connsiteY0" fmla="*/ 35246 h 35258"/>
                  <a:gd name="connsiteX1" fmla="*/ 26289 w 26508"/>
                  <a:gd name="connsiteY1" fmla="*/ -12 h 35258"/>
                  <a:gd name="connsiteX2" fmla="*/ -220 w 26508"/>
                  <a:gd name="connsiteY2" fmla="*/ 35246 h 35258"/>
                </a:gdLst>
                <a:ahLst/>
                <a:cxnLst>
                  <a:cxn ang="0">
                    <a:pos x="connsiteX0" y="connsiteY0"/>
                  </a:cxn>
                  <a:cxn ang="0">
                    <a:pos x="connsiteX1" y="connsiteY1"/>
                  </a:cxn>
                  <a:cxn ang="0">
                    <a:pos x="connsiteX2" y="connsiteY2"/>
                  </a:cxn>
                </a:cxnLst>
                <a:rect l="l" t="t" r="r" b="b"/>
                <a:pathLst>
                  <a:path w="26508" h="35258">
                    <a:moveTo>
                      <a:pt x="-220" y="35246"/>
                    </a:moveTo>
                    <a:cubicBezTo>
                      <a:pt x="8256" y="23137"/>
                      <a:pt x="18432" y="12731"/>
                      <a:pt x="26289" y="-12"/>
                    </a:cubicBezTo>
                    <a:cubicBezTo>
                      <a:pt x="15287" y="8814"/>
                      <a:pt x="5281" y="24395"/>
                      <a:pt x="-220" y="35246"/>
                    </a:cubicBezTo>
                    <a:close/>
                  </a:path>
                </a:pathLst>
              </a:custGeom>
              <a:solidFill>
                <a:schemeClr val="bg1"/>
              </a:solidFill>
              <a:ln w="9318" cap="flat">
                <a:noFill/>
                <a:prstDash val="solid"/>
                <a:round/>
              </a:ln>
            </p:spPr>
            <p:txBody>
              <a:bodyPr rtlCol="0" anchor="ctr"/>
              <a:lstStyle/>
              <a:p>
                <a:endParaRPr lang="en-LT"/>
              </a:p>
            </p:txBody>
          </p:sp>
          <p:sp>
            <p:nvSpPr>
              <p:cNvPr id="173" name="Freeform 172">
                <a:extLst>
                  <a:ext uri="{FF2B5EF4-FFF2-40B4-BE49-F238E27FC236}">
                    <a16:creationId xmlns:a16="http://schemas.microsoft.com/office/drawing/2014/main" id="{D929D959-8539-5A46-B3DC-7459742E0A6B}"/>
                  </a:ext>
                </a:extLst>
              </p:cNvPr>
              <p:cNvSpPr/>
              <p:nvPr/>
            </p:nvSpPr>
            <p:spPr>
              <a:xfrm>
                <a:off x="6439813" y="2304477"/>
                <a:ext cx="25986" cy="43640"/>
              </a:xfrm>
              <a:custGeom>
                <a:avLst/>
                <a:gdLst>
                  <a:gd name="connsiteX0" fmla="*/ 9317 w 9537"/>
                  <a:gd name="connsiteY0" fmla="*/ -12 h 16016"/>
                  <a:gd name="connsiteX1" fmla="*/ -220 w 9537"/>
                  <a:gd name="connsiteY1" fmla="*/ 16004 h 16016"/>
                  <a:gd name="connsiteX2" fmla="*/ 9317 w 9537"/>
                  <a:gd name="connsiteY2" fmla="*/ -12 h 16016"/>
                </a:gdLst>
                <a:ahLst/>
                <a:cxnLst>
                  <a:cxn ang="0">
                    <a:pos x="connsiteX0" y="connsiteY0"/>
                  </a:cxn>
                  <a:cxn ang="0">
                    <a:pos x="connsiteX1" y="connsiteY1"/>
                  </a:cxn>
                  <a:cxn ang="0">
                    <a:pos x="connsiteX2" y="connsiteY2"/>
                  </a:cxn>
                </a:cxnLst>
                <a:rect l="l" t="t" r="r" b="b"/>
                <a:pathLst>
                  <a:path w="9537" h="16016">
                    <a:moveTo>
                      <a:pt x="9317" y="-12"/>
                    </a:moveTo>
                    <a:cubicBezTo>
                      <a:pt x="6501" y="5664"/>
                      <a:pt x="1038" y="8738"/>
                      <a:pt x="-220" y="16004"/>
                    </a:cubicBezTo>
                    <a:cubicBezTo>
                      <a:pt x="4173" y="12589"/>
                      <a:pt x="9101" y="4046"/>
                      <a:pt x="9317" y="-12"/>
                    </a:cubicBezTo>
                    <a:close/>
                  </a:path>
                </a:pathLst>
              </a:custGeom>
              <a:solidFill>
                <a:schemeClr val="bg1"/>
              </a:solidFill>
              <a:ln w="9318" cap="flat">
                <a:noFill/>
                <a:prstDash val="solid"/>
                <a:round/>
              </a:ln>
            </p:spPr>
            <p:txBody>
              <a:bodyPr rtlCol="0" anchor="ctr"/>
              <a:lstStyle/>
              <a:p>
                <a:endParaRPr lang="en-LT"/>
              </a:p>
            </p:txBody>
          </p:sp>
          <p:sp>
            <p:nvSpPr>
              <p:cNvPr id="174" name="Freeform 173">
                <a:extLst>
                  <a:ext uri="{FF2B5EF4-FFF2-40B4-BE49-F238E27FC236}">
                    <a16:creationId xmlns:a16="http://schemas.microsoft.com/office/drawing/2014/main" id="{B820160D-F73B-BD41-BFAE-E623AA01BDCF}"/>
                  </a:ext>
                </a:extLst>
              </p:cNvPr>
              <p:cNvSpPr/>
              <p:nvPr/>
            </p:nvSpPr>
            <p:spPr>
              <a:xfrm>
                <a:off x="6745975" y="2476201"/>
                <a:ext cx="453900" cy="1564093"/>
              </a:xfrm>
              <a:custGeom>
                <a:avLst/>
                <a:gdLst>
                  <a:gd name="connsiteX0" fmla="*/ 52769 w 166582"/>
                  <a:gd name="connsiteY0" fmla="*/ 498862 h 574025"/>
                  <a:gd name="connsiteX1" fmla="*/ 51718 w 166582"/>
                  <a:gd name="connsiteY1" fmla="*/ 508493 h 574025"/>
                  <a:gd name="connsiteX2" fmla="*/ 52769 w 166582"/>
                  <a:gd name="connsiteY2" fmla="*/ 498862 h 574025"/>
                  <a:gd name="connsiteX3" fmla="*/ 53830 w 166582"/>
                  <a:gd name="connsiteY3" fmla="*/ 552293 h 574025"/>
                  <a:gd name="connsiteX4" fmla="*/ 59143 w 166582"/>
                  <a:gd name="connsiteY4" fmla="*/ 553362 h 574025"/>
                  <a:gd name="connsiteX5" fmla="*/ 58092 w 166582"/>
                  <a:gd name="connsiteY5" fmla="*/ 556560 h 574025"/>
                  <a:gd name="connsiteX6" fmla="*/ 53830 w 166582"/>
                  <a:gd name="connsiteY6" fmla="*/ 552293 h 574025"/>
                  <a:gd name="connsiteX7" fmla="*/ 102605 w 166582"/>
                  <a:gd name="connsiteY7" fmla="*/ 512750 h 574025"/>
                  <a:gd name="connsiteX8" fmla="*/ 108969 w 166582"/>
                  <a:gd name="connsiteY8" fmla="*/ 505286 h 574025"/>
                  <a:gd name="connsiteX9" fmla="*/ 102605 w 166582"/>
                  <a:gd name="connsiteY9" fmla="*/ 512750 h 574025"/>
                  <a:gd name="connsiteX10" fmla="*/ 130156 w 166582"/>
                  <a:gd name="connsiteY10" fmla="*/ 480708 h 574025"/>
                  <a:gd name="connsiteX11" fmla="*/ 122740 w 166582"/>
                  <a:gd name="connsiteY11" fmla="*/ 490320 h 574025"/>
                  <a:gd name="connsiteX12" fmla="*/ 130156 w 166582"/>
                  <a:gd name="connsiteY12" fmla="*/ 480708 h 574025"/>
                  <a:gd name="connsiteX13" fmla="*/ 38999 w 166582"/>
                  <a:gd name="connsiteY13" fmla="*/ 478579 h 574025"/>
                  <a:gd name="connsiteX14" fmla="*/ 38999 w 166582"/>
                  <a:gd name="connsiteY14" fmla="*/ 478579 h 574025"/>
                  <a:gd name="connsiteX15" fmla="*/ 14611 w 166582"/>
                  <a:gd name="connsiteY15" fmla="*/ 116424 h 574025"/>
                  <a:gd name="connsiteX16" fmla="*/ 14790 w 166582"/>
                  <a:gd name="connsiteY16" fmla="*/ 111609 h 574025"/>
                  <a:gd name="connsiteX17" fmla="*/ 15663 w 166582"/>
                  <a:gd name="connsiteY17" fmla="*/ 91648 h 574025"/>
                  <a:gd name="connsiteX18" fmla="*/ 20985 w 166582"/>
                  <a:gd name="connsiteY18" fmla="*/ 39494 h 574025"/>
                  <a:gd name="connsiteX19" fmla="*/ 15663 w 166582"/>
                  <a:gd name="connsiteY19" fmla="*/ 91648 h 574025"/>
                  <a:gd name="connsiteX20" fmla="*/ 14790 w 166582"/>
                  <a:gd name="connsiteY20" fmla="*/ 111609 h 574025"/>
                  <a:gd name="connsiteX21" fmla="*/ 15682 w 166582"/>
                  <a:gd name="connsiteY21" fmla="*/ 119631 h 574025"/>
                  <a:gd name="connsiteX22" fmla="*/ 34765 w 166582"/>
                  <a:gd name="connsiteY22" fmla="*/ 163432 h 574025"/>
                  <a:gd name="connsiteX23" fmla="*/ 37957 w 166582"/>
                  <a:gd name="connsiteY23" fmla="*/ 200818 h 574025"/>
                  <a:gd name="connsiteX24" fmla="*/ 33695 w 166582"/>
                  <a:gd name="connsiteY24" fmla="*/ 318333 h 574025"/>
                  <a:gd name="connsiteX25" fmla="*/ 46424 w 166582"/>
                  <a:gd name="connsiteY25" fmla="*/ 347177 h 574025"/>
                  <a:gd name="connsiteX26" fmla="*/ 48536 w 166582"/>
                  <a:gd name="connsiteY26" fmla="*/ 445459 h 574025"/>
                  <a:gd name="connsiteX27" fmla="*/ 18864 w 166582"/>
                  <a:gd name="connsiteY27" fmla="*/ 477510 h 574025"/>
                  <a:gd name="connsiteX28" fmla="*/ 32653 w 166582"/>
                  <a:gd name="connsiteY28" fmla="*/ 526637 h 574025"/>
                  <a:gd name="connsiteX29" fmla="*/ 51718 w 166582"/>
                  <a:gd name="connsiteY29" fmla="*/ 573655 h 574025"/>
                  <a:gd name="connsiteX30" fmla="*/ 72914 w 166582"/>
                  <a:gd name="connsiteY30" fmla="*/ 523430 h 574025"/>
                  <a:gd name="connsiteX31" fmla="*/ 85652 w 166582"/>
                  <a:gd name="connsiteY31" fmla="*/ 410192 h 574025"/>
                  <a:gd name="connsiteX32" fmla="*/ 75035 w 166582"/>
                  <a:gd name="connsiteY32" fmla="*/ 440124 h 574025"/>
                  <a:gd name="connsiteX33" fmla="*/ 62325 w 166582"/>
                  <a:gd name="connsiteY33" fmla="*/ 561895 h 574025"/>
                  <a:gd name="connsiteX34" fmla="*/ 70802 w 166582"/>
                  <a:gd name="connsiteY34" fmla="*/ 457190 h 574025"/>
                  <a:gd name="connsiteX35" fmla="*/ 64428 w 166582"/>
                  <a:gd name="connsiteY35" fmla="*/ 461466 h 574025"/>
                  <a:gd name="connsiteX36" fmla="*/ 76115 w 166582"/>
                  <a:gd name="connsiteY36" fmla="*/ 419813 h 574025"/>
                  <a:gd name="connsiteX37" fmla="*/ 66550 w 166582"/>
                  <a:gd name="connsiteY37" fmla="*/ 425167 h 574025"/>
                  <a:gd name="connsiteX38" fmla="*/ 61274 w 166582"/>
                  <a:gd name="connsiteY38" fmla="*/ 357858 h 574025"/>
                  <a:gd name="connsiteX39" fmla="*/ 86703 w 166582"/>
                  <a:gd name="connsiteY39" fmla="*/ 352503 h 574025"/>
                  <a:gd name="connsiteX40" fmla="*/ 95180 w 166582"/>
                  <a:gd name="connsiteY40" fmla="*/ 380288 h 574025"/>
                  <a:gd name="connsiteX41" fmla="*/ 98371 w 166582"/>
                  <a:gd name="connsiteY41" fmla="*/ 379238 h 574025"/>
                  <a:gd name="connsiteX42" fmla="*/ 100483 w 166582"/>
                  <a:gd name="connsiteY42" fmla="*/ 392028 h 574025"/>
                  <a:gd name="connsiteX43" fmla="*/ 95180 w 166582"/>
                  <a:gd name="connsiteY43" fmla="*/ 398461 h 574025"/>
                  <a:gd name="connsiteX44" fmla="*/ 79288 w 166582"/>
                  <a:gd name="connsiteY44" fmla="*/ 551234 h 574025"/>
                  <a:gd name="connsiteX45" fmla="*/ 87764 w 166582"/>
                  <a:gd name="connsiteY45" fmla="*/ 517026 h 574025"/>
                  <a:gd name="connsiteX46" fmla="*/ 99432 w 166582"/>
                  <a:gd name="connsiteY46" fmla="*/ 394176 h 574025"/>
                  <a:gd name="connsiteX47" fmla="*/ 86703 w 166582"/>
                  <a:gd name="connsiteY47" fmla="*/ 544810 h 574025"/>
                  <a:gd name="connsiteX48" fmla="*/ 96250 w 166582"/>
                  <a:gd name="connsiteY48" fmla="*/ 511681 h 574025"/>
                  <a:gd name="connsiteX49" fmla="*/ 106838 w 166582"/>
                  <a:gd name="connsiteY49" fmla="*/ 390959 h 574025"/>
                  <a:gd name="connsiteX50" fmla="*/ 95180 w 166582"/>
                  <a:gd name="connsiteY50" fmla="*/ 536249 h 574025"/>
                  <a:gd name="connsiteX51" fmla="*/ 130156 w 166582"/>
                  <a:gd name="connsiteY51" fmla="*/ 502060 h 574025"/>
                  <a:gd name="connsiteX52" fmla="*/ 166211 w 166582"/>
                  <a:gd name="connsiteY52" fmla="*/ 465761 h 574025"/>
                  <a:gd name="connsiteX53" fmla="*/ 159818 w 166582"/>
                  <a:gd name="connsiteY53" fmla="*/ 437976 h 574025"/>
                  <a:gd name="connsiteX54" fmla="*/ 139712 w 166582"/>
                  <a:gd name="connsiteY54" fmla="*/ 353572 h 574025"/>
                  <a:gd name="connsiteX55" fmla="*/ 112142 w 166582"/>
                  <a:gd name="connsiteY55" fmla="*/ 378169 h 574025"/>
                  <a:gd name="connsiteX56" fmla="*/ 76115 w 166582"/>
                  <a:gd name="connsiteY56" fmla="*/ 330073 h 574025"/>
                  <a:gd name="connsiteX57" fmla="*/ 59143 w 166582"/>
                  <a:gd name="connsiteY57" fmla="*/ 324738 h 574025"/>
                  <a:gd name="connsiteX58" fmla="*/ 68680 w 166582"/>
                  <a:gd name="connsiteY58" fmla="*/ 320462 h 574025"/>
                  <a:gd name="connsiteX59" fmla="*/ 72914 w 166582"/>
                  <a:gd name="connsiteY59" fmla="*/ 204025 h 574025"/>
                  <a:gd name="connsiteX60" fmla="*/ 66550 w 166582"/>
                  <a:gd name="connsiteY60" fmla="*/ 174112 h 574025"/>
                  <a:gd name="connsiteX61" fmla="*/ 22027 w 166582"/>
                  <a:gd name="connsiteY61" fmla="*/ 30970 h 574025"/>
                  <a:gd name="connsiteX62" fmla="*/ 20985 w 166582"/>
                  <a:gd name="connsiteY62" fmla="*/ 37365 h 574025"/>
                  <a:gd name="connsiteX63" fmla="*/ 6144 w 166582"/>
                  <a:gd name="connsiteY63" fmla="*/ -12 h 574025"/>
                  <a:gd name="connsiteX64" fmla="*/ -220 w 166582"/>
                  <a:gd name="connsiteY64" fmla="*/ 96132 h 574025"/>
                  <a:gd name="connsiteX65" fmla="*/ 14611 w 166582"/>
                  <a:gd name="connsiteY65" fmla="*/ 116424 h 57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66582" h="574025">
                    <a:moveTo>
                      <a:pt x="52769" y="498862"/>
                    </a:moveTo>
                    <a:cubicBezTo>
                      <a:pt x="55858" y="501360"/>
                      <a:pt x="50798" y="504623"/>
                      <a:pt x="51718" y="508493"/>
                    </a:cubicBezTo>
                    <a:cubicBezTo>
                      <a:pt x="48395" y="505740"/>
                      <a:pt x="52309" y="501312"/>
                      <a:pt x="52769" y="498862"/>
                    </a:cubicBezTo>
                    <a:close/>
                    <a:moveTo>
                      <a:pt x="53830" y="552293"/>
                    </a:moveTo>
                    <a:cubicBezTo>
                      <a:pt x="55069" y="553183"/>
                      <a:pt x="56684" y="553675"/>
                      <a:pt x="59143" y="553362"/>
                    </a:cubicBezTo>
                    <a:cubicBezTo>
                      <a:pt x="58589" y="554223"/>
                      <a:pt x="58035" y="555065"/>
                      <a:pt x="58092" y="556560"/>
                    </a:cubicBezTo>
                    <a:cubicBezTo>
                      <a:pt x="54759" y="557061"/>
                      <a:pt x="53351" y="555633"/>
                      <a:pt x="53830" y="552293"/>
                    </a:cubicBezTo>
                    <a:close/>
                    <a:moveTo>
                      <a:pt x="102605" y="512750"/>
                    </a:moveTo>
                    <a:cubicBezTo>
                      <a:pt x="100540" y="510243"/>
                      <a:pt x="105834" y="506090"/>
                      <a:pt x="108969" y="505286"/>
                    </a:cubicBezTo>
                    <a:cubicBezTo>
                      <a:pt x="107514" y="508436"/>
                      <a:pt x="104069" y="509609"/>
                      <a:pt x="102605" y="512750"/>
                    </a:cubicBezTo>
                    <a:close/>
                    <a:moveTo>
                      <a:pt x="130156" y="480708"/>
                    </a:moveTo>
                    <a:cubicBezTo>
                      <a:pt x="132099" y="484123"/>
                      <a:pt x="125162" y="487718"/>
                      <a:pt x="122740" y="490320"/>
                    </a:cubicBezTo>
                    <a:cubicBezTo>
                      <a:pt x="121538" y="491512"/>
                      <a:pt x="126964" y="482080"/>
                      <a:pt x="130156" y="480708"/>
                    </a:cubicBezTo>
                    <a:close/>
                    <a:moveTo>
                      <a:pt x="38999" y="478579"/>
                    </a:moveTo>
                    <a:cubicBezTo>
                      <a:pt x="40444" y="483735"/>
                      <a:pt x="32090" y="492713"/>
                      <a:pt x="38999" y="478579"/>
                    </a:cubicBezTo>
                    <a:close/>
                    <a:moveTo>
                      <a:pt x="14611" y="116424"/>
                    </a:moveTo>
                    <a:cubicBezTo>
                      <a:pt x="14658" y="114797"/>
                      <a:pt x="14733" y="113217"/>
                      <a:pt x="14790" y="111609"/>
                    </a:cubicBezTo>
                    <a:cubicBezTo>
                      <a:pt x="14396" y="105128"/>
                      <a:pt x="14818" y="98450"/>
                      <a:pt x="15663" y="91648"/>
                    </a:cubicBezTo>
                    <a:cubicBezTo>
                      <a:pt x="16677" y="73494"/>
                      <a:pt x="18291" y="55954"/>
                      <a:pt x="20985" y="39494"/>
                    </a:cubicBezTo>
                    <a:cubicBezTo>
                      <a:pt x="22224" y="56494"/>
                      <a:pt x="17794" y="74430"/>
                      <a:pt x="15663" y="91648"/>
                    </a:cubicBezTo>
                    <a:cubicBezTo>
                      <a:pt x="15297" y="98223"/>
                      <a:pt x="15006" y="104873"/>
                      <a:pt x="14790" y="111609"/>
                    </a:cubicBezTo>
                    <a:cubicBezTo>
                      <a:pt x="14959" y="114314"/>
                      <a:pt x="15175" y="117001"/>
                      <a:pt x="15682" y="119631"/>
                    </a:cubicBezTo>
                    <a:cubicBezTo>
                      <a:pt x="18282" y="133197"/>
                      <a:pt x="30250" y="147434"/>
                      <a:pt x="34765" y="163432"/>
                    </a:cubicBezTo>
                    <a:cubicBezTo>
                      <a:pt x="38445" y="176468"/>
                      <a:pt x="38802" y="187990"/>
                      <a:pt x="37957" y="200818"/>
                    </a:cubicBezTo>
                    <a:cubicBezTo>
                      <a:pt x="35441" y="237865"/>
                      <a:pt x="36934" y="274570"/>
                      <a:pt x="33695" y="318333"/>
                    </a:cubicBezTo>
                    <a:cubicBezTo>
                      <a:pt x="43429" y="322410"/>
                      <a:pt x="40210" y="339543"/>
                      <a:pt x="46424" y="347177"/>
                    </a:cubicBezTo>
                    <a:cubicBezTo>
                      <a:pt x="32897" y="371755"/>
                      <a:pt x="39365" y="421165"/>
                      <a:pt x="48536" y="445459"/>
                    </a:cubicBezTo>
                    <a:cubicBezTo>
                      <a:pt x="40576" y="455345"/>
                      <a:pt x="21558" y="463472"/>
                      <a:pt x="18864" y="477510"/>
                    </a:cubicBezTo>
                    <a:cubicBezTo>
                      <a:pt x="16207" y="491322"/>
                      <a:pt x="27528" y="512598"/>
                      <a:pt x="32653" y="526637"/>
                    </a:cubicBezTo>
                    <a:cubicBezTo>
                      <a:pt x="37206" y="539163"/>
                      <a:pt x="42613" y="571592"/>
                      <a:pt x="51718" y="573655"/>
                    </a:cubicBezTo>
                    <a:cubicBezTo>
                      <a:pt x="71412" y="578101"/>
                      <a:pt x="70886" y="540090"/>
                      <a:pt x="72914" y="523430"/>
                    </a:cubicBezTo>
                    <a:cubicBezTo>
                      <a:pt x="77495" y="486148"/>
                      <a:pt x="80132" y="444088"/>
                      <a:pt x="85652" y="410192"/>
                    </a:cubicBezTo>
                    <a:cubicBezTo>
                      <a:pt x="76246" y="409350"/>
                      <a:pt x="76500" y="428147"/>
                      <a:pt x="75035" y="440124"/>
                    </a:cubicBezTo>
                    <a:cubicBezTo>
                      <a:pt x="70145" y="480263"/>
                      <a:pt x="67188" y="525180"/>
                      <a:pt x="62325" y="561895"/>
                    </a:cubicBezTo>
                    <a:cubicBezTo>
                      <a:pt x="63330" y="525180"/>
                      <a:pt x="67385" y="491512"/>
                      <a:pt x="70802" y="457190"/>
                    </a:cubicBezTo>
                    <a:cubicBezTo>
                      <a:pt x="68774" y="453860"/>
                      <a:pt x="66099" y="464437"/>
                      <a:pt x="64428" y="461466"/>
                    </a:cubicBezTo>
                    <a:cubicBezTo>
                      <a:pt x="75354" y="454683"/>
                      <a:pt x="71712" y="433189"/>
                      <a:pt x="76115" y="419813"/>
                    </a:cubicBezTo>
                    <a:cubicBezTo>
                      <a:pt x="74228" y="414922"/>
                      <a:pt x="71046" y="425744"/>
                      <a:pt x="66550" y="425167"/>
                    </a:cubicBezTo>
                    <a:cubicBezTo>
                      <a:pt x="60185" y="408252"/>
                      <a:pt x="54196" y="378216"/>
                      <a:pt x="61274" y="357858"/>
                    </a:cubicBezTo>
                    <a:cubicBezTo>
                      <a:pt x="69863" y="364035"/>
                      <a:pt x="83418" y="360753"/>
                      <a:pt x="86703" y="352503"/>
                    </a:cubicBezTo>
                    <a:cubicBezTo>
                      <a:pt x="91153" y="360138"/>
                      <a:pt x="93734" y="369626"/>
                      <a:pt x="95180" y="380288"/>
                    </a:cubicBezTo>
                    <a:cubicBezTo>
                      <a:pt x="98024" y="382208"/>
                      <a:pt x="97235" y="375577"/>
                      <a:pt x="98371" y="379238"/>
                    </a:cubicBezTo>
                    <a:cubicBezTo>
                      <a:pt x="97470" y="385094"/>
                      <a:pt x="101028" y="386513"/>
                      <a:pt x="100483" y="392028"/>
                    </a:cubicBezTo>
                    <a:cubicBezTo>
                      <a:pt x="98897" y="394346"/>
                      <a:pt x="95170" y="394535"/>
                      <a:pt x="95180" y="398461"/>
                    </a:cubicBezTo>
                    <a:cubicBezTo>
                      <a:pt x="87642" y="447115"/>
                      <a:pt x="88290" y="504037"/>
                      <a:pt x="79288" y="551234"/>
                    </a:cubicBezTo>
                    <a:cubicBezTo>
                      <a:pt x="88599" y="544782"/>
                      <a:pt x="86722" y="529400"/>
                      <a:pt x="87764" y="517026"/>
                    </a:cubicBezTo>
                    <a:cubicBezTo>
                      <a:pt x="91106" y="476536"/>
                      <a:pt x="91537" y="429292"/>
                      <a:pt x="99432" y="394176"/>
                    </a:cubicBezTo>
                    <a:cubicBezTo>
                      <a:pt x="93415" y="442612"/>
                      <a:pt x="93068" y="496743"/>
                      <a:pt x="86703" y="544810"/>
                    </a:cubicBezTo>
                    <a:cubicBezTo>
                      <a:pt x="96954" y="539503"/>
                      <a:pt x="95170" y="523856"/>
                      <a:pt x="96250" y="511681"/>
                    </a:cubicBezTo>
                    <a:cubicBezTo>
                      <a:pt x="99676" y="472345"/>
                      <a:pt x="100052" y="425091"/>
                      <a:pt x="106838" y="390959"/>
                    </a:cubicBezTo>
                    <a:cubicBezTo>
                      <a:pt x="101788" y="438222"/>
                      <a:pt x="101112" y="489856"/>
                      <a:pt x="95180" y="536249"/>
                    </a:cubicBezTo>
                    <a:cubicBezTo>
                      <a:pt x="106716" y="527271"/>
                      <a:pt x="116263" y="517215"/>
                      <a:pt x="130156" y="502060"/>
                    </a:cubicBezTo>
                    <a:cubicBezTo>
                      <a:pt x="136501" y="495173"/>
                      <a:pt x="164840" y="473660"/>
                      <a:pt x="166211" y="465761"/>
                    </a:cubicBezTo>
                    <a:cubicBezTo>
                      <a:pt x="167375" y="458874"/>
                      <a:pt x="161498" y="447380"/>
                      <a:pt x="159818" y="437976"/>
                    </a:cubicBezTo>
                    <a:cubicBezTo>
                      <a:pt x="155998" y="416208"/>
                      <a:pt x="159274" y="355956"/>
                      <a:pt x="139712" y="353572"/>
                    </a:cubicBezTo>
                    <a:cubicBezTo>
                      <a:pt x="123247" y="351576"/>
                      <a:pt x="122993" y="375634"/>
                      <a:pt x="112142" y="378169"/>
                    </a:cubicBezTo>
                    <a:cubicBezTo>
                      <a:pt x="105993" y="356760"/>
                      <a:pt x="98418" y="333630"/>
                      <a:pt x="76115" y="330073"/>
                    </a:cubicBezTo>
                    <a:cubicBezTo>
                      <a:pt x="69356" y="329004"/>
                      <a:pt x="59894" y="334529"/>
                      <a:pt x="59143" y="324738"/>
                    </a:cubicBezTo>
                    <a:cubicBezTo>
                      <a:pt x="60645" y="321635"/>
                      <a:pt x="69957" y="326374"/>
                      <a:pt x="68680" y="320462"/>
                    </a:cubicBezTo>
                    <a:cubicBezTo>
                      <a:pt x="61340" y="285024"/>
                      <a:pt x="70942" y="240031"/>
                      <a:pt x="72914" y="204025"/>
                    </a:cubicBezTo>
                    <a:cubicBezTo>
                      <a:pt x="73740" y="189305"/>
                      <a:pt x="68652" y="183572"/>
                      <a:pt x="66550" y="174112"/>
                    </a:cubicBezTo>
                    <a:cubicBezTo>
                      <a:pt x="55426" y="123718"/>
                      <a:pt x="42585" y="72481"/>
                      <a:pt x="22027" y="30970"/>
                    </a:cubicBezTo>
                    <a:cubicBezTo>
                      <a:pt x="21445" y="32834"/>
                      <a:pt x="23322" y="37251"/>
                      <a:pt x="20985" y="37365"/>
                    </a:cubicBezTo>
                    <a:cubicBezTo>
                      <a:pt x="23238" y="20838"/>
                      <a:pt x="12997" y="10574"/>
                      <a:pt x="6144" y="-12"/>
                    </a:cubicBezTo>
                    <a:cubicBezTo>
                      <a:pt x="-558" y="26798"/>
                      <a:pt x="1967" y="68262"/>
                      <a:pt x="-220" y="96132"/>
                    </a:cubicBezTo>
                    <a:cubicBezTo>
                      <a:pt x="5102" y="102499"/>
                      <a:pt x="8209" y="111136"/>
                      <a:pt x="14611" y="116424"/>
                    </a:cubicBezTo>
                    <a:close/>
                  </a:path>
                </a:pathLst>
              </a:custGeom>
              <a:solidFill>
                <a:schemeClr val="bg1"/>
              </a:solidFill>
              <a:ln w="9318" cap="flat">
                <a:noFill/>
                <a:prstDash val="solid"/>
                <a:round/>
              </a:ln>
            </p:spPr>
            <p:txBody>
              <a:bodyPr rtlCol="0" anchor="ctr"/>
              <a:lstStyle/>
              <a:p>
                <a:endParaRPr lang="en-LT"/>
              </a:p>
            </p:txBody>
          </p:sp>
          <p:sp>
            <p:nvSpPr>
              <p:cNvPr id="175" name="Freeform 174">
                <a:extLst>
                  <a:ext uri="{FF2B5EF4-FFF2-40B4-BE49-F238E27FC236}">
                    <a16:creationId xmlns:a16="http://schemas.microsoft.com/office/drawing/2014/main" id="{FDA2B63A-D902-4F48-B61F-D7AC94EF884A}"/>
                  </a:ext>
                </a:extLst>
              </p:cNvPr>
              <p:cNvSpPr/>
              <p:nvPr/>
            </p:nvSpPr>
            <p:spPr>
              <a:xfrm>
                <a:off x="6616017" y="3812249"/>
                <a:ext cx="127544" cy="707345"/>
              </a:xfrm>
              <a:custGeom>
                <a:avLst/>
                <a:gdLst>
                  <a:gd name="connsiteX0" fmla="*/ 841 w 46809"/>
                  <a:gd name="connsiteY0" fmla="*/ 39503 h 259597"/>
                  <a:gd name="connsiteX1" fmla="*/ 5084 w 46809"/>
                  <a:gd name="connsiteY1" fmla="*/ 63031 h 259597"/>
                  <a:gd name="connsiteX2" fmla="*/ 15672 w 46809"/>
                  <a:gd name="connsiteY2" fmla="*/ 136744 h 259597"/>
                  <a:gd name="connsiteX3" fmla="*/ 31564 w 46809"/>
                  <a:gd name="connsiteY3" fmla="*/ 246738 h 259597"/>
                  <a:gd name="connsiteX4" fmla="*/ 38989 w 46809"/>
                  <a:gd name="connsiteY4" fmla="*/ 259585 h 259597"/>
                  <a:gd name="connsiteX5" fmla="*/ 43232 w 46809"/>
                  <a:gd name="connsiteY5" fmla="*/ 194423 h 259597"/>
                  <a:gd name="connsiteX6" fmla="*/ 36877 w 46809"/>
                  <a:gd name="connsiteY6" fmla="*/ -12 h 259597"/>
                  <a:gd name="connsiteX7" fmla="*/ 16723 w 46809"/>
                  <a:gd name="connsiteY7" fmla="*/ 14954 h 259597"/>
                  <a:gd name="connsiteX8" fmla="*/ -220 w 46809"/>
                  <a:gd name="connsiteY8" fmla="*/ 33098 h 259597"/>
                  <a:gd name="connsiteX9" fmla="*/ 12499 w 46809"/>
                  <a:gd name="connsiteY9" fmla="*/ 21349 h 259597"/>
                  <a:gd name="connsiteX10" fmla="*/ 22046 w 46809"/>
                  <a:gd name="connsiteY10" fmla="*/ 17082 h 259597"/>
                  <a:gd name="connsiteX11" fmla="*/ 841 w 46809"/>
                  <a:gd name="connsiteY11" fmla="*/ 39503 h 259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809" h="259597">
                    <a:moveTo>
                      <a:pt x="841" y="39503"/>
                    </a:moveTo>
                    <a:cubicBezTo>
                      <a:pt x="-51" y="43798"/>
                      <a:pt x="3816" y="54355"/>
                      <a:pt x="5084" y="63031"/>
                    </a:cubicBezTo>
                    <a:cubicBezTo>
                      <a:pt x="8876" y="89339"/>
                      <a:pt x="12574" y="112242"/>
                      <a:pt x="15672" y="136744"/>
                    </a:cubicBezTo>
                    <a:cubicBezTo>
                      <a:pt x="20056" y="171104"/>
                      <a:pt x="22243" y="220666"/>
                      <a:pt x="31564" y="246738"/>
                    </a:cubicBezTo>
                    <a:cubicBezTo>
                      <a:pt x="33179" y="251913"/>
                      <a:pt x="32212" y="259632"/>
                      <a:pt x="38989" y="259585"/>
                    </a:cubicBezTo>
                    <a:cubicBezTo>
                      <a:pt x="52347" y="246294"/>
                      <a:pt x="44246" y="217563"/>
                      <a:pt x="43232" y="194423"/>
                    </a:cubicBezTo>
                    <a:cubicBezTo>
                      <a:pt x="40369" y="128836"/>
                      <a:pt x="38107" y="63570"/>
                      <a:pt x="36877" y="-12"/>
                    </a:cubicBezTo>
                    <a:cubicBezTo>
                      <a:pt x="31085" y="5910"/>
                      <a:pt x="23426" y="9722"/>
                      <a:pt x="16723" y="14954"/>
                    </a:cubicBezTo>
                    <a:cubicBezTo>
                      <a:pt x="10594" y="19741"/>
                      <a:pt x="2746" y="25209"/>
                      <a:pt x="-220" y="33098"/>
                    </a:cubicBezTo>
                    <a:cubicBezTo>
                      <a:pt x="2943" y="33411"/>
                      <a:pt x="16620" y="21689"/>
                      <a:pt x="12499" y="21349"/>
                    </a:cubicBezTo>
                    <a:cubicBezTo>
                      <a:pt x="15484" y="19741"/>
                      <a:pt x="17399" y="17044"/>
                      <a:pt x="22046" y="17082"/>
                    </a:cubicBezTo>
                    <a:cubicBezTo>
                      <a:pt x="20610" y="25502"/>
                      <a:pt x="2953" y="29154"/>
                      <a:pt x="841" y="39503"/>
                    </a:cubicBezTo>
                    <a:close/>
                  </a:path>
                </a:pathLst>
              </a:custGeom>
              <a:solidFill>
                <a:schemeClr val="bg1"/>
              </a:solidFill>
              <a:ln w="9318" cap="flat">
                <a:noFill/>
                <a:prstDash val="solid"/>
                <a:round/>
              </a:ln>
            </p:spPr>
            <p:txBody>
              <a:bodyPr rtlCol="0" anchor="ctr"/>
              <a:lstStyle/>
              <a:p>
                <a:endParaRPr lang="en-LT"/>
              </a:p>
            </p:txBody>
          </p:sp>
          <p:sp>
            <p:nvSpPr>
              <p:cNvPr id="176" name="Freeform 175">
                <a:extLst>
                  <a:ext uri="{FF2B5EF4-FFF2-40B4-BE49-F238E27FC236}">
                    <a16:creationId xmlns:a16="http://schemas.microsoft.com/office/drawing/2014/main" id="{373F2F75-E15B-E24C-AC22-67FDE5074359}"/>
                  </a:ext>
                </a:extLst>
              </p:cNvPr>
              <p:cNvSpPr/>
              <p:nvPr/>
            </p:nvSpPr>
            <p:spPr>
              <a:xfrm>
                <a:off x="6136179" y="2432509"/>
                <a:ext cx="664765" cy="1461271"/>
              </a:xfrm>
              <a:custGeom>
                <a:avLst/>
                <a:gdLst>
                  <a:gd name="connsiteX0" fmla="*/ 55033 w 243970"/>
                  <a:gd name="connsiteY0" fmla="*/ 116443 h 536289"/>
                  <a:gd name="connsiteX1" fmla="*/ 57155 w 243970"/>
                  <a:gd name="connsiteY1" fmla="*/ 119631 h 536289"/>
                  <a:gd name="connsiteX2" fmla="*/ 77308 w 243970"/>
                  <a:gd name="connsiteY2" fmla="*/ 92925 h 536289"/>
                  <a:gd name="connsiteX3" fmla="*/ 78360 w 243970"/>
                  <a:gd name="connsiteY3" fmla="*/ 101467 h 536289"/>
                  <a:gd name="connsiteX4" fmla="*/ 78360 w 243970"/>
                  <a:gd name="connsiteY4" fmla="*/ 88658 h 536289"/>
                  <a:gd name="connsiteX5" fmla="*/ 95331 w 243970"/>
                  <a:gd name="connsiteY5" fmla="*/ 176269 h 536289"/>
                  <a:gd name="connsiteX6" fmla="*/ 101677 w 243970"/>
                  <a:gd name="connsiteY6" fmla="*/ 227543 h 536289"/>
                  <a:gd name="connsiteX7" fmla="*/ 81533 w 243970"/>
                  <a:gd name="connsiteY7" fmla="*/ 276680 h 536289"/>
                  <a:gd name="connsiteX8" fmla="*/ 30655 w 243970"/>
                  <a:gd name="connsiteY8" fmla="*/ 189078 h 536289"/>
                  <a:gd name="connsiteX9" fmla="*/ 55033 w 243970"/>
                  <a:gd name="connsiteY9" fmla="*/ 116443 h 536289"/>
                  <a:gd name="connsiteX10" fmla="*/ 99565 w 243970"/>
                  <a:gd name="connsiteY10" fmla="*/ 312998 h 536289"/>
                  <a:gd name="connsiteX11" fmla="*/ 101677 w 243970"/>
                  <a:gd name="connsiteY11" fmla="*/ 286301 h 536289"/>
                  <a:gd name="connsiteX12" fmla="*/ 99565 w 243970"/>
                  <a:gd name="connsiteY12" fmla="*/ 312998 h 536289"/>
                  <a:gd name="connsiteX13" fmla="*/ 118639 w 243970"/>
                  <a:gd name="connsiteY13" fmla="*/ 255309 h 536289"/>
                  <a:gd name="connsiteX14" fmla="*/ 134522 w 243970"/>
                  <a:gd name="connsiteY14" fmla="*/ 258516 h 536289"/>
                  <a:gd name="connsiteX15" fmla="*/ 134522 w 243970"/>
                  <a:gd name="connsiteY15" fmla="*/ 254250 h 536289"/>
                  <a:gd name="connsiteX16" fmla="*/ 112284 w 243970"/>
                  <a:gd name="connsiteY16" fmla="*/ 251043 h 536289"/>
                  <a:gd name="connsiteX17" fmla="*/ 112284 w 243970"/>
                  <a:gd name="connsiteY17" fmla="*/ 249974 h 536289"/>
                  <a:gd name="connsiteX18" fmla="*/ 184357 w 243970"/>
                  <a:gd name="connsiteY18" fmla="*/ 251043 h 536289"/>
                  <a:gd name="connsiteX19" fmla="*/ 121812 w 243970"/>
                  <a:gd name="connsiteY19" fmla="*/ 260654 h 536289"/>
                  <a:gd name="connsiteX20" fmla="*/ 120751 w 243970"/>
                  <a:gd name="connsiteY20" fmla="*/ 265990 h 536289"/>
                  <a:gd name="connsiteX21" fmla="*/ 115457 w 243970"/>
                  <a:gd name="connsiteY21" fmla="*/ 260654 h 536289"/>
                  <a:gd name="connsiteX22" fmla="*/ 103799 w 243970"/>
                  <a:gd name="connsiteY22" fmla="*/ 256378 h 536289"/>
                  <a:gd name="connsiteX23" fmla="*/ 118639 w 243970"/>
                  <a:gd name="connsiteY23" fmla="*/ 255309 h 536289"/>
                  <a:gd name="connsiteX24" fmla="*/ 152564 w 243970"/>
                  <a:gd name="connsiteY24" fmla="*/ 205094 h 536289"/>
                  <a:gd name="connsiteX25" fmla="*/ 151494 w 243970"/>
                  <a:gd name="connsiteY25" fmla="*/ 190147 h 536289"/>
                  <a:gd name="connsiteX26" fmla="*/ 152564 w 243970"/>
                  <a:gd name="connsiteY26" fmla="*/ 205094 h 536289"/>
                  <a:gd name="connsiteX27" fmla="*/ 152564 w 243970"/>
                  <a:gd name="connsiteY27" fmla="*/ 173034 h 536289"/>
                  <a:gd name="connsiteX28" fmla="*/ 144078 w 243970"/>
                  <a:gd name="connsiteY28" fmla="*/ 171974 h 536289"/>
                  <a:gd name="connsiteX29" fmla="*/ 152564 w 243970"/>
                  <a:gd name="connsiteY29" fmla="*/ 173034 h 536289"/>
                  <a:gd name="connsiteX30" fmla="*/ 150442 w 243970"/>
                  <a:gd name="connsiteY30" fmla="*/ 127114 h 536289"/>
                  <a:gd name="connsiteX31" fmla="*/ 150442 w 243970"/>
                  <a:gd name="connsiteY31" fmla="*/ 142089 h 536289"/>
                  <a:gd name="connsiteX32" fmla="*/ 143027 w 243970"/>
                  <a:gd name="connsiteY32" fmla="*/ 141011 h 536289"/>
                  <a:gd name="connsiteX33" fmla="*/ 150442 w 243970"/>
                  <a:gd name="connsiteY33" fmla="*/ 127114 h 536289"/>
                  <a:gd name="connsiteX34" fmla="*/ 181184 w 243970"/>
                  <a:gd name="connsiteY34" fmla="*/ 75849 h 536289"/>
                  <a:gd name="connsiteX35" fmla="*/ 175881 w 243970"/>
                  <a:gd name="connsiteY35" fmla="*/ 148485 h 536289"/>
                  <a:gd name="connsiteX36" fmla="*/ 174811 w 243970"/>
                  <a:gd name="connsiteY36" fmla="*/ 147416 h 536289"/>
                  <a:gd name="connsiteX37" fmla="*/ 181184 w 243970"/>
                  <a:gd name="connsiteY37" fmla="*/ 75849 h 536289"/>
                  <a:gd name="connsiteX38" fmla="*/ 192824 w 243970"/>
                  <a:gd name="connsiteY38" fmla="*/ 56607 h 536289"/>
                  <a:gd name="connsiteX39" fmla="*/ 192824 w 243970"/>
                  <a:gd name="connsiteY39" fmla="*/ 66219 h 536289"/>
                  <a:gd name="connsiteX40" fmla="*/ 192824 w 243970"/>
                  <a:gd name="connsiteY40" fmla="*/ 56607 h 536289"/>
                  <a:gd name="connsiteX41" fmla="*/ 199208 w 243970"/>
                  <a:gd name="connsiteY41" fmla="*/ 123907 h 536289"/>
                  <a:gd name="connsiteX42" fmla="*/ 201320 w 243970"/>
                  <a:gd name="connsiteY42" fmla="*/ 118571 h 536289"/>
                  <a:gd name="connsiteX43" fmla="*/ 199208 w 243970"/>
                  <a:gd name="connsiteY43" fmla="*/ 123907 h 536289"/>
                  <a:gd name="connsiteX44" fmla="*/ 209787 w 243970"/>
                  <a:gd name="connsiteY44" fmla="*/ 258516 h 536289"/>
                  <a:gd name="connsiteX45" fmla="*/ 90028 w 243970"/>
                  <a:gd name="connsiteY45" fmla="*/ 363212 h 536289"/>
                  <a:gd name="connsiteX46" fmla="*/ 209787 w 243970"/>
                  <a:gd name="connsiteY46" fmla="*/ 258516 h 536289"/>
                  <a:gd name="connsiteX47" fmla="*/ 211917 w 243970"/>
                  <a:gd name="connsiteY47" fmla="*/ 14954 h 536289"/>
                  <a:gd name="connsiteX48" fmla="*/ 209787 w 243970"/>
                  <a:gd name="connsiteY48" fmla="*/ 36305 h 536289"/>
                  <a:gd name="connsiteX49" fmla="*/ 211917 w 243970"/>
                  <a:gd name="connsiteY49" fmla="*/ 14954 h 536289"/>
                  <a:gd name="connsiteX50" fmla="*/ 222515 w 243970"/>
                  <a:gd name="connsiteY50" fmla="*/ 413418 h 536289"/>
                  <a:gd name="connsiteX51" fmla="*/ 221455 w 243970"/>
                  <a:gd name="connsiteY51" fmla="*/ 387780 h 536289"/>
                  <a:gd name="connsiteX52" fmla="*/ 222515 w 243970"/>
                  <a:gd name="connsiteY52" fmla="*/ 413418 h 536289"/>
                  <a:gd name="connsiteX53" fmla="*/ 198147 w 243970"/>
                  <a:gd name="connsiteY53" fmla="*/ 333299 h 536289"/>
                  <a:gd name="connsiteX54" fmla="*/ 204502 w 243970"/>
                  <a:gd name="connsiteY54" fmla="*/ 364281 h 536289"/>
                  <a:gd name="connsiteX55" fmla="*/ 198147 w 243970"/>
                  <a:gd name="connsiteY55" fmla="*/ 333299 h 536289"/>
                  <a:gd name="connsiteX56" fmla="*/ 157849 w 243970"/>
                  <a:gd name="connsiteY56" fmla="*/ 443321 h 536289"/>
                  <a:gd name="connsiteX57" fmla="*/ 137714 w 243970"/>
                  <a:gd name="connsiteY57" fmla="*/ 443321 h 536289"/>
                  <a:gd name="connsiteX58" fmla="*/ 153624 w 243970"/>
                  <a:gd name="connsiteY58" fmla="*/ 442262 h 536289"/>
                  <a:gd name="connsiteX59" fmla="*/ 157849 w 243970"/>
                  <a:gd name="connsiteY59" fmla="*/ 443321 h 536289"/>
                  <a:gd name="connsiteX60" fmla="*/ 136662 w 243970"/>
                  <a:gd name="connsiteY60" fmla="*/ 408063 h 536289"/>
                  <a:gd name="connsiteX61" fmla="*/ 137714 w 243970"/>
                  <a:gd name="connsiteY61" fmla="*/ 418763 h 536289"/>
                  <a:gd name="connsiteX62" fmla="*/ 136662 w 243970"/>
                  <a:gd name="connsiteY62" fmla="*/ 408063 h 536289"/>
                  <a:gd name="connsiteX63" fmla="*/ 152564 w 243970"/>
                  <a:gd name="connsiteY63" fmla="*/ 409132 h 536289"/>
                  <a:gd name="connsiteX64" fmla="*/ 154685 w 243970"/>
                  <a:gd name="connsiteY64" fmla="*/ 419813 h 536289"/>
                  <a:gd name="connsiteX65" fmla="*/ 152564 w 243970"/>
                  <a:gd name="connsiteY65" fmla="*/ 409132 h 536289"/>
                  <a:gd name="connsiteX66" fmla="*/ 50800 w 243970"/>
                  <a:gd name="connsiteY66" fmla="*/ 283094 h 536289"/>
                  <a:gd name="connsiteX67" fmla="*/ 65641 w 243970"/>
                  <a:gd name="connsiteY67" fmla="*/ 312998 h 536289"/>
                  <a:gd name="connsiteX68" fmla="*/ 40183 w 243970"/>
                  <a:gd name="connsiteY68" fmla="*/ 338616 h 536289"/>
                  <a:gd name="connsiteX69" fmla="*/ 69874 w 243970"/>
                  <a:gd name="connsiteY69" fmla="*/ 358927 h 536289"/>
                  <a:gd name="connsiteX70" fmla="*/ 69874 w 243970"/>
                  <a:gd name="connsiteY70" fmla="*/ 373893 h 536289"/>
                  <a:gd name="connsiteX71" fmla="*/ 90206 w 243970"/>
                  <a:gd name="connsiteY71" fmla="*/ 354821 h 536289"/>
                  <a:gd name="connsiteX72" fmla="*/ 99790 w 243970"/>
                  <a:gd name="connsiteY72" fmla="*/ 344916 h 536289"/>
                  <a:gd name="connsiteX73" fmla="*/ 118639 w 243970"/>
                  <a:gd name="connsiteY73" fmla="*/ 327954 h 536289"/>
                  <a:gd name="connsiteX74" fmla="*/ 99790 w 243970"/>
                  <a:gd name="connsiteY74" fmla="*/ 344916 h 536289"/>
                  <a:gd name="connsiteX75" fmla="*/ 90206 w 243970"/>
                  <a:gd name="connsiteY75" fmla="*/ 354821 h 536289"/>
                  <a:gd name="connsiteX76" fmla="*/ 87906 w 243970"/>
                  <a:gd name="connsiteY76" fmla="*/ 360005 h 536289"/>
                  <a:gd name="connsiteX77" fmla="*/ 85776 w 243970"/>
                  <a:gd name="connsiteY77" fmla="*/ 379219 h 536289"/>
                  <a:gd name="connsiteX78" fmla="*/ 86836 w 243970"/>
                  <a:gd name="connsiteY78" fmla="*/ 361065 h 536289"/>
                  <a:gd name="connsiteX79" fmla="*/ 71995 w 243970"/>
                  <a:gd name="connsiteY79" fmla="*/ 397383 h 536289"/>
                  <a:gd name="connsiteX80" fmla="*/ 214030 w 243970"/>
                  <a:gd name="connsiteY80" fmla="*/ 269197 h 536289"/>
                  <a:gd name="connsiteX81" fmla="*/ 87906 w 243970"/>
                  <a:gd name="connsiteY81" fmla="*/ 384564 h 536289"/>
                  <a:gd name="connsiteX82" fmla="*/ 73056 w 243970"/>
                  <a:gd name="connsiteY82" fmla="*/ 404866 h 536289"/>
                  <a:gd name="connsiteX83" fmla="*/ 218282 w 243970"/>
                  <a:gd name="connsiteY83" fmla="*/ 280965 h 536289"/>
                  <a:gd name="connsiteX84" fmla="*/ 91079 w 243970"/>
                  <a:gd name="connsiteY84" fmla="*/ 392047 h 536289"/>
                  <a:gd name="connsiteX85" fmla="*/ 75178 w 243970"/>
                  <a:gd name="connsiteY85" fmla="*/ 420910 h 536289"/>
                  <a:gd name="connsiteX86" fmla="*/ 225688 w 243970"/>
                  <a:gd name="connsiteY86" fmla="*/ 289498 h 536289"/>
                  <a:gd name="connsiteX87" fmla="*/ 147260 w 243970"/>
                  <a:gd name="connsiteY87" fmla="*/ 356808 h 536289"/>
                  <a:gd name="connsiteX88" fmla="*/ 144078 w 243970"/>
                  <a:gd name="connsiteY88" fmla="*/ 355748 h 536289"/>
                  <a:gd name="connsiteX89" fmla="*/ 76248 w 243970"/>
                  <a:gd name="connsiteY89" fmla="*/ 426227 h 536289"/>
                  <a:gd name="connsiteX90" fmla="*/ 79411 w 243970"/>
                  <a:gd name="connsiteY90" fmla="*/ 454011 h 536289"/>
                  <a:gd name="connsiteX91" fmla="*/ 92149 w 243970"/>
                  <a:gd name="connsiteY91" fmla="*/ 459366 h 536289"/>
                  <a:gd name="connsiteX92" fmla="*/ 104850 w 243970"/>
                  <a:gd name="connsiteY92" fmla="*/ 536277 h 536289"/>
                  <a:gd name="connsiteX93" fmla="*/ 145129 w 243970"/>
                  <a:gd name="connsiteY93" fmla="*/ 499950 h 536289"/>
                  <a:gd name="connsiteX94" fmla="*/ 144078 w 243970"/>
                  <a:gd name="connsiteY94" fmla="*/ 460425 h 536289"/>
                  <a:gd name="connsiteX95" fmla="*/ 166334 w 243970"/>
                  <a:gd name="connsiteY95" fmla="*/ 461494 h 536289"/>
                  <a:gd name="connsiteX96" fmla="*/ 169526 w 243970"/>
                  <a:gd name="connsiteY96" fmla="*/ 486072 h 536289"/>
                  <a:gd name="connsiteX97" fmla="*/ 209787 w 243970"/>
                  <a:gd name="connsiteY97" fmla="*/ 457218 h 536289"/>
                  <a:gd name="connsiteX98" fmla="*/ 188600 w 243970"/>
                  <a:gd name="connsiteY98" fmla="*/ 473225 h 536289"/>
                  <a:gd name="connsiteX99" fmla="*/ 171629 w 243970"/>
                  <a:gd name="connsiteY99" fmla="*/ 505286 h 536289"/>
                  <a:gd name="connsiteX100" fmla="*/ 214030 w 243970"/>
                  <a:gd name="connsiteY100" fmla="*/ 472156 h 536289"/>
                  <a:gd name="connsiteX101" fmla="*/ 212978 w 243970"/>
                  <a:gd name="connsiteY101" fmla="*/ 456159 h 536289"/>
                  <a:gd name="connsiteX102" fmla="*/ 236286 w 243970"/>
                  <a:gd name="connsiteY102" fmla="*/ 451873 h 536289"/>
                  <a:gd name="connsiteX103" fmla="*/ 242660 w 243970"/>
                  <a:gd name="connsiteY103" fmla="*/ 390987 h 536289"/>
                  <a:gd name="connsiteX104" fmla="*/ 242660 w 243970"/>
                  <a:gd name="connsiteY104" fmla="*/ 340773 h 536289"/>
                  <a:gd name="connsiteX105" fmla="*/ 237356 w 243970"/>
                  <a:gd name="connsiteY105" fmla="*/ 319412 h 536289"/>
                  <a:gd name="connsiteX106" fmla="*/ 226758 w 243970"/>
                  <a:gd name="connsiteY106" fmla="*/ 265990 h 536289"/>
                  <a:gd name="connsiteX107" fmla="*/ 208726 w 243970"/>
                  <a:gd name="connsiteY107" fmla="*/ 218991 h 536289"/>
                  <a:gd name="connsiteX108" fmla="*/ 211917 w 243970"/>
                  <a:gd name="connsiteY108" fmla="*/ 95063 h 536289"/>
                  <a:gd name="connsiteX109" fmla="*/ 222515 w 243970"/>
                  <a:gd name="connsiteY109" fmla="*/ 110029 h 536289"/>
                  <a:gd name="connsiteX110" fmla="*/ 228880 w 243970"/>
                  <a:gd name="connsiteY110" fmla="*/ 13875 h 536289"/>
                  <a:gd name="connsiteX111" fmla="*/ 206614 w 243970"/>
                  <a:gd name="connsiteY111" fmla="*/ -12 h 536289"/>
                  <a:gd name="connsiteX112" fmla="*/ 167386 w 243970"/>
                  <a:gd name="connsiteY112" fmla="*/ 3214 h 536289"/>
                  <a:gd name="connsiteX113" fmla="*/ 159979 w 243970"/>
                  <a:gd name="connsiteY113" fmla="*/ 105762 h 536289"/>
                  <a:gd name="connsiteX114" fmla="*/ 147260 w 243970"/>
                  <a:gd name="connsiteY114" fmla="*/ 47005 h 536289"/>
                  <a:gd name="connsiteX115" fmla="*/ 140896 w 243970"/>
                  <a:gd name="connsiteY115" fmla="*/ 28832 h 536289"/>
                  <a:gd name="connsiteX116" fmla="*/ 141947 w 243970"/>
                  <a:gd name="connsiteY116" fmla="*/ 102536 h 536289"/>
                  <a:gd name="connsiteX117" fmla="*/ 114406 w 243970"/>
                  <a:gd name="connsiteY117" fmla="*/ 7471 h 536289"/>
                  <a:gd name="connsiteX118" fmla="*/ 64570 w 243970"/>
                  <a:gd name="connsiteY118" fmla="*/ 9609 h 536289"/>
                  <a:gd name="connsiteX119" fmla="*/ 75178 w 243970"/>
                  <a:gd name="connsiteY119" fmla="*/ 72642 h 536289"/>
                  <a:gd name="connsiteX120" fmla="*/ 63519 w 243970"/>
                  <a:gd name="connsiteY120" fmla="*/ 21358 h 536289"/>
                  <a:gd name="connsiteX121" fmla="*/ 67752 w 243970"/>
                  <a:gd name="connsiteY121" fmla="*/ 82254 h 536289"/>
                  <a:gd name="connsiteX122" fmla="*/ 60337 w 243970"/>
                  <a:gd name="connsiteY122" fmla="*/ 16023 h 536289"/>
                  <a:gd name="connsiteX123" fmla="*/ 55033 w 243970"/>
                  <a:gd name="connsiteY123" fmla="*/ 102536 h 536289"/>
                  <a:gd name="connsiteX124" fmla="*/ 50800 w 243970"/>
                  <a:gd name="connsiteY124" fmla="*/ 33098 h 536289"/>
                  <a:gd name="connsiteX125" fmla="*/ 48669 w 243970"/>
                  <a:gd name="connsiteY125" fmla="*/ 111098 h 536289"/>
                  <a:gd name="connsiteX126" fmla="*/ 42314 w 243970"/>
                  <a:gd name="connsiteY126" fmla="*/ 55529 h 536289"/>
                  <a:gd name="connsiteX127" fmla="*/ -96 w 243970"/>
                  <a:gd name="connsiteY127" fmla="*/ 185890 h 536289"/>
                  <a:gd name="connsiteX128" fmla="*/ 14763 w 243970"/>
                  <a:gd name="connsiteY128" fmla="*/ 229672 h 536289"/>
                  <a:gd name="connsiteX129" fmla="*/ 50800 w 243970"/>
                  <a:gd name="connsiteY129" fmla="*/ 283094 h 53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43970" h="536289">
                    <a:moveTo>
                      <a:pt x="55033" y="116443"/>
                    </a:moveTo>
                    <a:cubicBezTo>
                      <a:pt x="57295" y="115941"/>
                      <a:pt x="57051" y="117975"/>
                      <a:pt x="57155" y="119631"/>
                    </a:cubicBezTo>
                    <a:cubicBezTo>
                      <a:pt x="63266" y="110114"/>
                      <a:pt x="67818" y="99027"/>
                      <a:pt x="77308" y="92925"/>
                    </a:cubicBezTo>
                    <a:cubicBezTo>
                      <a:pt x="76492" y="96945"/>
                      <a:pt x="78585" y="98043"/>
                      <a:pt x="78360" y="101467"/>
                    </a:cubicBezTo>
                    <a:cubicBezTo>
                      <a:pt x="81044" y="98696"/>
                      <a:pt x="76877" y="93757"/>
                      <a:pt x="78360" y="88658"/>
                    </a:cubicBezTo>
                    <a:cubicBezTo>
                      <a:pt x="82011" y="119849"/>
                      <a:pt x="89530" y="147463"/>
                      <a:pt x="95331" y="176269"/>
                    </a:cubicBezTo>
                    <a:cubicBezTo>
                      <a:pt x="98636" y="192796"/>
                      <a:pt x="103423" y="212369"/>
                      <a:pt x="101677" y="227543"/>
                    </a:cubicBezTo>
                    <a:cubicBezTo>
                      <a:pt x="99565" y="245906"/>
                      <a:pt x="81420" y="256142"/>
                      <a:pt x="81533" y="276680"/>
                    </a:cubicBezTo>
                    <a:cubicBezTo>
                      <a:pt x="65781" y="246265"/>
                      <a:pt x="47073" y="218812"/>
                      <a:pt x="30655" y="189078"/>
                    </a:cubicBezTo>
                    <a:cubicBezTo>
                      <a:pt x="33500" y="159544"/>
                      <a:pt x="53963" y="147737"/>
                      <a:pt x="55033" y="116443"/>
                    </a:cubicBezTo>
                    <a:close/>
                    <a:moveTo>
                      <a:pt x="99565" y="312998"/>
                    </a:moveTo>
                    <a:cubicBezTo>
                      <a:pt x="96589" y="304635"/>
                      <a:pt x="101179" y="294692"/>
                      <a:pt x="101677" y="286301"/>
                    </a:cubicBezTo>
                    <a:cubicBezTo>
                      <a:pt x="103855" y="293841"/>
                      <a:pt x="99640" y="304152"/>
                      <a:pt x="99565" y="312998"/>
                    </a:cubicBezTo>
                    <a:close/>
                    <a:moveTo>
                      <a:pt x="118639" y="255309"/>
                    </a:moveTo>
                    <a:cubicBezTo>
                      <a:pt x="119296" y="261052"/>
                      <a:pt x="129115" y="257570"/>
                      <a:pt x="134522" y="258516"/>
                    </a:cubicBezTo>
                    <a:lnTo>
                      <a:pt x="134522" y="254250"/>
                    </a:lnTo>
                    <a:cubicBezTo>
                      <a:pt x="128449" y="251837"/>
                      <a:pt x="119963" y="251837"/>
                      <a:pt x="112284" y="251043"/>
                    </a:cubicBezTo>
                    <a:cubicBezTo>
                      <a:pt x="110191" y="250059"/>
                      <a:pt x="110191" y="247457"/>
                      <a:pt x="112284" y="249974"/>
                    </a:cubicBezTo>
                    <a:cubicBezTo>
                      <a:pt x="134672" y="252490"/>
                      <a:pt x="167442" y="256482"/>
                      <a:pt x="184357" y="251043"/>
                    </a:cubicBezTo>
                    <a:cubicBezTo>
                      <a:pt x="167010" y="257769"/>
                      <a:pt x="146509" y="261326"/>
                      <a:pt x="121812" y="260654"/>
                    </a:cubicBezTo>
                    <a:cubicBezTo>
                      <a:pt x="117963" y="261326"/>
                      <a:pt x="124281" y="265649"/>
                      <a:pt x="120751" y="265990"/>
                    </a:cubicBezTo>
                    <a:cubicBezTo>
                      <a:pt x="115429" y="267797"/>
                      <a:pt x="117043" y="262603"/>
                      <a:pt x="115457" y="260654"/>
                    </a:cubicBezTo>
                    <a:cubicBezTo>
                      <a:pt x="110623" y="260172"/>
                      <a:pt x="107581" y="257911"/>
                      <a:pt x="103799" y="256378"/>
                    </a:cubicBezTo>
                    <a:cubicBezTo>
                      <a:pt x="108576" y="253871"/>
                      <a:pt x="114809" y="261988"/>
                      <a:pt x="118639" y="255309"/>
                    </a:cubicBezTo>
                    <a:close/>
                    <a:moveTo>
                      <a:pt x="152564" y="205094"/>
                    </a:moveTo>
                    <a:cubicBezTo>
                      <a:pt x="142276" y="208273"/>
                      <a:pt x="140079" y="187565"/>
                      <a:pt x="151494" y="190147"/>
                    </a:cubicBezTo>
                    <a:cubicBezTo>
                      <a:pt x="154779" y="192465"/>
                      <a:pt x="156403" y="201963"/>
                      <a:pt x="152564" y="205094"/>
                    </a:cubicBezTo>
                    <a:close/>
                    <a:moveTo>
                      <a:pt x="152564" y="173034"/>
                    </a:moveTo>
                    <a:cubicBezTo>
                      <a:pt x="148912" y="173526"/>
                      <a:pt x="146622" y="172636"/>
                      <a:pt x="144078" y="171974"/>
                    </a:cubicBezTo>
                    <a:cubicBezTo>
                      <a:pt x="132166" y="147936"/>
                      <a:pt x="162899" y="151701"/>
                      <a:pt x="152564" y="173034"/>
                    </a:cubicBezTo>
                    <a:close/>
                    <a:moveTo>
                      <a:pt x="150442" y="127114"/>
                    </a:moveTo>
                    <a:cubicBezTo>
                      <a:pt x="153071" y="129867"/>
                      <a:pt x="153840" y="139526"/>
                      <a:pt x="150442" y="142089"/>
                    </a:cubicBezTo>
                    <a:cubicBezTo>
                      <a:pt x="146997" y="142695"/>
                      <a:pt x="145514" y="141352"/>
                      <a:pt x="143027" y="141011"/>
                    </a:cubicBezTo>
                    <a:cubicBezTo>
                      <a:pt x="140248" y="134796"/>
                      <a:pt x="141534" y="121561"/>
                      <a:pt x="150442" y="127114"/>
                    </a:cubicBezTo>
                    <a:close/>
                    <a:moveTo>
                      <a:pt x="181184" y="75849"/>
                    </a:moveTo>
                    <a:cubicBezTo>
                      <a:pt x="180706" y="97078"/>
                      <a:pt x="174876" y="122176"/>
                      <a:pt x="175881" y="148485"/>
                    </a:cubicBezTo>
                    <a:cubicBezTo>
                      <a:pt x="176388" y="153508"/>
                      <a:pt x="173966" y="151067"/>
                      <a:pt x="174811" y="147416"/>
                    </a:cubicBezTo>
                    <a:cubicBezTo>
                      <a:pt x="174830" y="121419"/>
                      <a:pt x="173356" y="93965"/>
                      <a:pt x="181184" y="75849"/>
                    </a:cubicBezTo>
                    <a:close/>
                    <a:moveTo>
                      <a:pt x="192824" y="56607"/>
                    </a:moveTo>
                    <a:cubicBezTo>
                      <a:pt x="195462" y="58300"/>
                      <a:pt x="193266" y="64081"/>
                      <a:pt x="192824" y="66219"/>
                    </a:cubicBezTo>
                    <a:cubicBezTo>
                      <a:pt x="191125" y="63286"/>
                      <a:pt x="190018" y="58537"/>
                      <a:pt x="192824" y="56607"/>
                    </a:cubicBezTo>
                    <a:close/>
                    <a:moveTo>
                      <a:pt x="199208" y="123907"/>
                    </a:moveTo>
                    <a:cubicBezTo>
                      <a:pt x="200756" y="123008"/>
                      <a:pt x="200728" y="120473"/>
                      <a:pt x="201320" y="118571"/>
                    </a:cubicBezTo>
                    <a:cubicBezTo>
                      <a:pt x="203385" y="118552"/>
                      <a:pt x="197959" y="144540"/>
                      <a:pt x="199208" y="123907"/>
                    </a:cubicBezTo>
                    <a:close/>
                    <a:moveTo>
                      <a:pt x="209787" y="258516"/>
                    </a:moveTo>
                    <a:cubicBezTo>
                      <a:pt x="171713" y="290993"/>
                      <a:pt x="126158" y="325192"/>
                      <a:pt x="90028" y="363212"/>
                    </a:cubicBezTo>
                    <a:cubicBezTo>
                      <a:pt x="122798" y="325381"/>
                      <a:pt x="167789" y="290605"/>
                      <a:pt x="209787" y="258516"/>
                    </a:cubicBezTo>
                    <a:close/>
                    <a:moveTo>
                      <a:pt x="211917" y="14954"/>
                    </a:moveTo>
                    <a:cubicBezTo>
                      <a:pt x="216480" y="19135"/>
                      <a:pt x="212293" y="30128"/>
                      <a:pt x="209787" y="36305"/>
                    </a:cubicBezTo>
                    <a:cubicBezTo>
                      <a:pt x="207139" y="30062"/>
                      <a:pt x="212077" y="22248"/>
                      <a:pt x="211917" y="14954"/>
                    </a:cubicBezTo>
                    <a:close/>
                    <a:moveTo>
                      <a:pt x="222515" y="413418"/>
                    </a:moveTo>
                    <a:cubicBezTo>
                      <a:pt x="223332" y="403664"/>
                      <a:pt x="221060" y="397089"/>
                      <a:pt x="221455" y="387780"/>
                    </a:cubicBezTo>
                    <a:cubicBezTo>
                      <a:pt x="222600" y="394261"/>
                      <a:pt x="227631" y="407675"/>
                      <a:pt x="222515" y="413418"/>
                    </a:cubicBezTo>
                    <a:close/>
                    <a:moveTo>
                      <a:pt x="198147" y="333299"/>
                    </a:moveTo>
                    <a:cubicBezTo>
                      <a:pt x="201930" y="341927"/>
                      <a:pt x="202624" y="353705"/>
                      <a:pt x="204502" y="364281"/>
                    </a:cubicBezTo>
                    <a:cubicBezTo>
                      <a:pt x="201733" y="358870"/>
                      <a:pt x="199151" y="344027"/>
                      <a:pt x="198147" y="333299"/>
                    </a:cubicBezTo>
                    <a:close/>
                    <a:moveTo>
                      <a:pt x="157849" y="443321"/>
                    </a:moveTo>
                    <a:lnTo>
                      <a:pt x="137714" y="443321"/>
                    </a:lnTo>
                    <a:cubicBezTo>
                      <a:pt x="139460" y="436179"/>
                      <a:pt x="149494" y="439906"/>
                      <a:pt x="153624" y="442262"/>
                    </a:cubicBezTo>
                    <a:cubicBezTo>
                      <a:pt x="160909" y="441439"/>
                      <a:pt x="170418" y="443586"/>
                      <a:pt x="157849" y="443321"/>
                    </a:cubicBezTo>
                    <a:close/>
                    <a:moveTo>
                      <a:pt x="136662" y="408063"/>
                    </a:moveTo>
                    <a:cubicBezTo>
                      <a:pt x="137695" y="410305"/>
                      <a:pt x="139384" y="417334"/>
                      <a:pt x="137714" y="418763"/>
                    </a:cubicBezTo>
                    <a:cubicBezTo>
                      <a:pt x="132541" y="417921"/>
                      <a:pt x="137638" y="411544"/>
                      <a:pt x="136662" y="408063"/>
                    </a:cubicBezTo>
                    <a:close/>
                    <a:moveTo>
                      <a:pt x="152564" y="409132"/>
                    </a:moveTo>
                    <a:cubicBezTo>
                      <a:pt x="154159" y="411790"/>
                      <a:pt x="154601" y="415631"/>
                      <a:pt x="154685" y="419813"/>
                    </a:cubicBezTo>
                    <a:cubicBezTo>
                      <a:pt x="150987" y="419283"/>
                      <a:pt x="153118" y="412831"/>
                      <a:pt x="152564" y="409132"/>
                    </a:cubicBezTo>
                    <a:close/>
                    <a:moveTo>
                      <a:pt x="50800" y="283094"/>
                    </a:moveTo>
                    <a:cubicBezTo>
                      <a:pt x="56188" y="291211"/>
                      <a:pt x="66786" y="304029"/>
                      <a:pt x="65641" y="312998"/>
                    </a:cubicBezTo>
                    <a:cubicBezTo>
                      <a:pt x="64148" y="324709"/>
                      <a:pt x="41685" y="328039"/>
                      <a:pt x="40183" y="338616"/>
                    </a:cubicBezTo>
                    <a:cubicBezTo>
                      <a:pt x="38005" y="354405"/>
                      <a:pt x="54667" y="358643"/>
                      <a:pt x="69874" y="358927"/>
                    </a:cubicBezTo>
                    <a:lnTo>
                      <a:pt x="69874" y="373893"/>
                    </a:lnTo>
                    <a:cubicBezTo>
                      <a:pt x="76877" y="368368"/>
                      <a:pt x="83607" y="361632"/>
                      <a:pt x="90206" y="354821"/>
                    </a:cubicBezTo>
                    <a:cubicBezTo>
                      <a:pt x="92525" y="351046"/>
                      <a:pt x="96017" y="347887"/>
                      <a:pt x="99790" y="344916"/>
                    </a:cubicBezTo>
                    <a:cubicBezTo>
                      <a:pt x="106108" y="338474"/>
                      <a:pt x="112359" y="332457"/>
                      <a:pt x="118639" y="327954"/>
                    </a:cubicBezTo>
                    <a:cubicBezTo>
                      <a:pt x="114988" y="334520"/>
                      <a:pt x="106877" y="339363"/>
                      <a:pt x="99790" y="344916"/>
                    </a:cubicBezTo>
                    <a:cubicBezTo>
                      <a:pt x="96617" y="348161"/>
                      <a:pt x="93426" y="351491"/>
                      <a:pt x="90206" y="354821"/>
                    </a:cubicBezTo>
                    <a:cubicBezTo>
                      <a:pt x="89202" y="356429"/>
                      <a:pt x="88404" y="358142"/>
                      <a:pt x="87906" y="360005"/>
                    </a:cubicBezTo>
                    <a:cubicBezTo>
                      <a:pt x="86404" y="365473"/>
                      <a:pt x="90535" y="373524"/>
                      <a:pt x="85776" y="379219"/>
                    </a:cubicBezTo>
                    <a:cubicBezTo>
                      <a:pt x="85757" y="372777"/>
                      <a:pt x="85438" y="366088"/>
                      <a:pt x="86836" y="361065"/>
                    </a:cubicBezTo>
                    <a:cubicBezTo>
                      <a:pt x="77618" y="365038"/>
                      <a:pt x="66288" y="377876"/>
                      <a:pt x="71995" y="397383"/>
                    </a:cubicBezTo>
                    <a:cubicBezTo>
                      <a:pt x="117700" y="353005"/>
                      <a:pt x="162091" y="307293"/>
                      <a:pt x="214030" y="269197"/>
                    </a:cubicBezTo>
                    <a:cubicBezTo>
                      <a:pt x="169742" y="305240"/>
                      <a:pt x="127078" y="345058"/>
                      <a:pt x="87906" y="384564"/>
                    </a:cubicBezTo>
                    <a:cubicBezTo>
                      <a:pt x="82349" y="390155"/>
                      <a:pt x="74164" y="396200"/>
                      <a:pt x="73056" y="404866"/>
                    </a:cubicBezTo>
                    <a:cubicBezTo>
                      <a:pt x="118855" y="365208"/>
                      <a:pt x="164926" y="316536"/>
                      <a:pt x="218282" y="280965"/>
                    </a:cubicBezTo>
                    <a:cubicBezTo>
                      <a:pt x="176791" y="314445"/>
                      <a:pt x="130504" y="353090"/>
                      <a:pt x="91079" y="392047"/>
                    </a:cubicBezTo>
                    <a:cubicBezTo>
                      <a:pt x="81908" y="401100"/>
                      <a:pt x="70109" y="406966"/>
                      <a:pt x="75178" y="420910"/>
                    </a:cubicBezTo>
                    <a:cubicBezTo>
                      <a:pt x="122338" y="374792"/>
                      <a:pt x="170155" y="323602"/>
                      <a:pt x="225688" y="289498"/>
                    </a:cubicBezTo>
                    <a:cubicBezTo>
                      <a:pt x="200531" y="312903"/>
                      <a:pt x="167649" y="328550"/>
                      <a:pt x="147260" y="356808"/>
                    </a:cubicBezTo>
                    <a:cubicBezTo>
                      <a:pt x="147983" y="353241"/>
                      <a:pt x="145064" y="355076"/>
                      <a:pt x="144078" y="355748"/>
                    </a:cubicBezTo>
                    <a:cubicBezTo>
                      <a:pt x="121981" y="379749"/>
                      <a:pt x="95960" y="399833"/>
                      <a:pt x="76248" y="426227"/>
                    </a:cubicBezTo>
                    <a:cubicBezTo>
                      <a:pt x="78031" y="435327"/>
                      <a:pt x="81279" y="444182"/>
                      <a:pt x="79411" y="454011"/>
                    </a:cubicBezTo>
                    <a:cubicBezTo>
                      <a:pt x="81805" y="457663"/>
                      <a:pt x="88366" y="457105"/>
                      <a:pt x="92149" y="459366"/>
                    </a:cubicBezTo>
                    <a:cubicBezTo>
                      <a:pt x="97481" y="483887"/>
                      <a:pt x="102118" y="509108"/>
                      <a:pt x="104850" y="536277"/>
                    </a:cubicBezTo>
                    <a:cubicBezTo>
                      <a:pt x="117372" y="527498"/>
                      <a:pt x="132203" y="511832"/>
                      <a:pt x="145129" y="499950"/>
                    </a:cubicBezTo>
                    <a:cubicBezTo>
                      <a:pt x="145946" y="485590"/>
                      <a:pt x="143749" y="474285"/>
                      <a:pt x="144078" y="460425"/>
                    </a:cubicBezTo>
                    <a:cubicBezTo>
                      <a:pt x="151165" y="461116"/>
                      <a:pt x="161040" y="459016"/>
                      <a:pt x="166334" y="461494"/>
                    </a:cubicBezTo>
                    <a:cubicBezTo>
                      <a:pt x="168493" y="468580"/>
                      <a:pt x="167527" y="478807"/>
                      <a:pt x="169526" y="486072"/>
                    </a:cubicBezTo>
                    <a:cubicBezTo>
                      <a:pt x="181260" y="479724"/>
                      <a:pt x="197677" y="463150"/>
                      <a:pt x="209787" y="457218"/>
                    </a:cubicBezTo>
                    <a:cubicBezTo>
                      <a:pt x="204455" y="461580"/>
                      <a:pt x="196851" y="466603"/>
                      <a:pt x="188600" y="473225"/>
                    </a:cubicBezTo>
                    <a:cubicBezTo>
                      <a:pt x="177880" y="481862"/>
                      <a:pt x="164626" y="488380"/>
                      <a:pt x="171629" y="505286"/>
                    </a:cubicBezTo>
                    <a:cubicBezTo>
                      <a:pt x="186329" y="494813"/>
                      <a:pt x="200334" y="483650"/>
                      <a:pt x="214030" y="472156"/>
                    </a:cubicBezTo>
                    <a:cubicBezTo>
                      <a:pt x="212856" y="467653"/>
                      <a:pt x="212809" y="462015"/>
                      <a:pt x="212978" y="456159"/>
                    </a:cubicBezTo>
                    <a:cubicBezTo>
                      <a:pt x="222628" y="456613"/>
                      <a:pt x="230447" y="455232"/>
                      <a:pt x="236286" y="451873"/>
                    </a:cubicBezTo>
                    <a:cubicBezTo>
                      <a:pt x="242416" y="433208"/>
                      <a:pt x="241055" y="412226"/>
                      <a:pt x="242660" y="390987"/>
                    </a:cubicBezTo>
                    <a:cubicBezTo>
                      <a:pt x="243946" y="374044"/>
                      <a:pt x="244274" y="355341"/>
                      <a:pt x="242660" y="340773"/>
                    </a:cubicBezTo>
                    <a:cubicBezTo>
                      <a:pt x="241815" y="333138"/>
                      <a:pt x="238342" y="326459"/>
                      <a:pt x="237356" y="319412"/>
                    </a:cubicBezTo>
                    <a:cubicBezTo>
                      <a:pt x="234596" y="299668"/>
                      <a:pt x="232634" y="283661"/>
                      <a:pt x="226758" y="265990"/>
                    </a:cubicBezTo>
                    <a:cubicBezTo>
                      <a:pt x="221558" y="250390"/>
                      <a:pt x="214086" y="235263"/>
                      <a:pt x="208726" y="218991"/>
                    </a:cubicBezTo>
                    <a:cubicBezTo>
                      <a:pt x="196758" y="182428"/>
                      <a:pt x="208604" y="138551"/>
                      <a:pt x="211917" y="95063"/>
                    </a:cubicBezTo>
                    <a:cubicBezTo>
                      <a:pt x="217146" y="98336"/>
                      <a:pt x="217634" y="106396"/>
                      <a:pt x="222515" y="110029"/>
                    </a:cubicBezTo>
                    <a:cubicBezTo>
                      <a:pt x="222074" y="75376"/>
                      <a:pt x="222938" y="42086"/>
                      <a:pt x="228880" y="13875"/>
                    </a:cubicBezTo>
                    <a:cubicBezTo>
                      <a:pt x="224731" y="3989"/>
                      <a:pt x="212359" y="6411"/>
                      <a:pt x="206614" y="-12"/>
                    </a:cubicBezTo>
                    <a:cubicBezTo>
                      <a:pt x="194354" y="1899"/>
                      <a:pt x="180837" y="2495"/>
                      <a:pt x="167386" y="3214"/>
                    </a:cubicBezTo>
                    <a:cubicBezTo>
                      <a:pt x="167376" y="39863"/>
                      <a:pt x="162195" y="71308"/>
                      <a:pt x="159979" y="105762"/>
                    </a:cubicBezTo>
                    <a:cubicBezTo>
                      <a:pt x="155098" y="88138"/>
                      <a:pt x="150611" y="64658"/>
                      <a:pt x="147260" y="47005"/>
                    </a:cubicBezTo>
                    <a:cubicBezTo>
                      <a:pt x="146077" y="40771"/>
                      <a:pt x="147833" y="31339"/>
                      <a:pt x="140896" y="28832"/>
                    </a:cubicBezTo>
                    <a:cubicBezTo>
                      <a:pt x="140323" y="49370"/>
                      <a:pt x="141074" y="83484"/>
                      <a:pt x="141947" y="102536"/>
                    </a:cubicBezTo>
                    <a:cubicBezTo>
                      <a:pt x="128195" y="73531"/>
                      <a:pt x="127200" y="37829"/>
                      <a:pt x="114406" y="7471"/>
                    </a:cubicBezTo>
                    <a:cubicBezTo>
                      <a:pt x="96326" y="8133"/>
                      <a:pt x="75713" y="7745"/>
                      <a:pt x="64570" y="9609"/>
                    </a:cubicBezTo>
                    <a:cubicBezTo>
                      <a:pt x="65237" y="28633"/>
                      <a:pt x="75422" y="52728"/>
                      <a:pt x="75178" y="72642"/>
                    </a:cubicBezTo>
                    <a:cubicBezTo>
                      <a:pt x="69799" y="57042"/>
                      <a:pt x="69273" y="36580"/>
                      <a:pt x="63519" y="21358"/>
                    </a:cubicBezTo>
                    <a:cubicBezTo>
                      <a:pt x="63735" y="41518"/>
                      <a:pt x="72286" y="64412"/>
                      <a:pt x="67752" y="82254"/>
                    </a:cubicBezTo>
                    <a:cubicBezTo>
                      <a:pt x="66823" y="58622"/>
                      <a:pt x="64148" y="36760"/>
                      <a:pt x="60337" y="16023"/>
                    </a:cubicBezTo>
                    <a:cubicBezTo>
                      <a:pt x="46069" y="35539"/>
                      <a:pt x="59361" y="76559"/>
                      <a:pt x="55033" y="102536"/>
                    </a:cubicBezTo>
                    <a:cubicBezTo>
                      <a:pt x="52593" y="80456"/>
                      <a:pt x="53775" y="54668"/>
                      <a:pt x="50800" y="33098"/>
                    </a:cubicBezTo>
                    <a:cubicBezTo>
                      <a:pt x="37949" y="53353"/>
                      <a:pt x="53240" y="84108"/>
                      <a:pt x="48669" y="111098"/>
                    </a:cubicBezTo>
                    <a:cubicBezTo>
                      <a:pt x="47120" y="92007"/>
                      <a:pt x="46773" y="71696"/>
                      <a:pt x="42314" y="55529"/>
                    </a:cubicBezTo>
                    <a:cubicBezTo>
                      <a:pt x="29623" y="102026"/>
                      <a:pt x="2804" y="138107"/>
                      <a:pt x="-96" y="185890"/>
                    </a:cubicBezTo>
                    <a:cubicBezTo>
                      <a:pt x="-1298" y="206305"/>
                      <a:pt x="6456" y="215160"/>
                      <a:pt x="14763" y="229672"/>
                    </a:cubicBezTo>
                    <a:cubicBezTo>
                      <a:pt x="26929" y="251005"/>
                      <a:pt x="37311" y="262802"/>
                      <a:pt x="50800" y="283094"/>
                    </a:cubicBezTo>
                    <a:close/>
                  </a:path>
                </a:pathLst>
              </a:custGeom>
              <a:solidFill>
                <a:schemeClr val="bg1"/>
              </a:solidFill>
              <a:ln w="9318" cap="flat">
                <a:noFill/>
                <a:prstDash val="solid"/>
                <a:round/>
              </a:ln>
            </p:spPr>
            <p:txBody>
              <a:bodyPr rtlCol="0" anchor="ctr"/>
              <a:lstStyle/>
              <a:p>
                <a:endParaRPr lang="en-LT"/>
              </a:p>
            </p:txBody>
          </p:sp>
          <p:sp>
            <p:nvSpPr>
              <p:cNvPr id="177" name="Freeform 176">
                <a:extLst>
                  <a:ext uri="{FF2B5EF4-FFF2-40B4-BE49-F238E27FC236}">
                    <a16:creationId xmlns:a16="http://schemas.microsoft.com/office/drawing/2014/main" id="{F214D9D7-43A8-E848-8B29-E31DD97D7459}"/>
                  </a:ext>
                </a:extLst>
              </p:cNvPr>
              <p:cNvSpPr/>
              <p:nvPr/>
            </p:nvSpPr>
            <p:spPr>
              <a:xfrm>
                <a:off x="6606499" y="3730743"/>
                <a:ext cx="113463" cy="154274"/>
              </a:xfrm>
              <a:custGeom>
                <a:avLst/>
                <a:gdLst>
                  <a:gd name="connsiteX0" fmla="*/ 1142 w 41641"/>
                  <a:gd name="connsiteY0" fmla="*/ 43770 h 56619"/>
                  <a:gd name="connsiteX1" fmla="*/ 7516 w 41641"/>
                  <a:gd name="connsiteY1" fmla="*/ 41641 h 56619"/>
                  <a:gd name="connsiteX2" fmla="*/ 2203 w 41641"/>
                  <a:gd name="connsiteY2" fmla="*/ 56607 h 56619"/>
                  <a:gd name="connsiteX3" fmla="*/ 41422 w 41641"/>
                  <a:gd name="connsiteY3" fmla="*/ 27763 h 56619"/>
                  <a:gd name="connsiteX4" fmla="*/ 41422 w 41641"/>
                  <a:gd name="connsiteY4" fmla="*/ -12 h 56619"/>
                  <a:gd name="connsiteX5" fmla="*/ 81 w 41641"/>
                  <a:gd name="connsiteY5" fmla="*/ 33108 h 56619"/>
                  <a:gd name="connsiteX6" fmla="*/ 1142 w 41641"/>
                  <a:gd name="connsiteY6" fmla="*/ 43770 h 56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41" h="56619">
                    <a:moveTo>
                      <a:pt x="1142" y="43770"/>
                    </a:moveTo>
                    <a:cubicBezTo>
                      <a:pt x="2043" y="46664"/>
                      <a:pt x="6615" y="38784"/>
                      <a:pt x="7516" y="41641"/>
                    </a:cubicBezTo>
                    <a:cubicBezTo>
                      <a:pt x="1011" y="43770"/>
                      <a:pt x="832" y="48490"/>
                      <a:pt x="2203" y="56607"/>
                    </a:cubicBezTo>
                    <a:cubicBezTo>
                      <a:pt x="16133" y="47856"/>
                      <a:pt x="27670" y="36693"/>
                      <a:pt x="41422" y="27763"/>
                    </a:cubicBezTo>
                    <a:lnTo>
                      <a:pt x="41422" y="-12"/>
                    </a:lnTo>
                    <a:cubicBezTo>
                      <a:pt x="26365" y="9713"/>
                      <a:pt x="12575" y="20753"/>
                      <a:pt x="81" y="33108"/>
                    </a:cubicBezTo>
                    <a:cubicBezTo>
                      <a:pt x="-548" y="33486"/>
                      <a:pt x="-191" y="41868"/>
                      <a:pt x="1142" y="43770"/>
                    </a:cubicBezTo>
                    <a:close/>
                  </a:path>
                </a:pathLst>
              </a:custGeom>
              <a:solidFill>
                <a:schemeClr val="bg1"/>
              </a:solidFill>
              <a:ln w="9318" cap="flat">
                <a:noFill/>
                <a:prstDash val="solid"/>
                <a:round/>
              </a:ln>
            </p:spPr>
            <p:txBody>
              <a:bodyPr rtlCol="0" anchor="ctr"/>
              <a:lstStyle/>
              <a:p>
                <a:endParaRPr lang="en-LT"/>
              </a:p>
            </p:txBody>
          </p:sp>
        </p:grpSp>
        <p:grpSp>
          <p:nvGrpSpPr>
            <p:cNvPr id="70" name="Graphic 177">
              <a:extLst>
                <a:ext uri="{FF2B5EF4-FFF2-40B4-BE49-F238E27FC236}">
                  <a16:creationId xmlns:a16="http://schemas.microsoft.com/office/drawing/2014/main" id="{685377CC-C83C-064A-9A17-AA2167B09421}"/>
                </a:ext>
              </a:extLst>
            </p:cNvPr>
            <p:cNvGrpSpPr/>
            <p:nvPr/>
          </p:nvGrpSpPr>
          <p:grpSpPr>
            <a:xfrm>
              <a:off x="5016550" y="1928671"/>
              <a:ext cx="1895585" cy="3024801"/>
              <a:chOff x="4990387" y="1748539"/>
              <a:chExt cx="1648380" cy="2630334"/>
            </a:xfrm>
            <a:solidFill>
              <a:schemeClr val="bg1"/>
            </a:solidFill>
          </p:grpSpPr>
          <p:sp>
            <p:nvSpPr>
              <p:cNvPr id="71" name="Freeform 70">
                <a:extLst>
                  <a:ext uri="{FF2B5EF4-FFF2-40B4-BE49-F238E27FC236}">
                    <a16:creationId xmlns:a16="http://schemas.microsoft.com/office/drawing/2014/main" id="{EE4CAF02-9F37-E041-91AE-93154E96DE33}"/>
                  </a:ext>
                </a:extLst>
              </p:cNvPr>
              <p:cNvSpPr/>
              <p:nvPr/>
            </p:nvSpPr>
            <p:spPr>
              <a:xfrm rot="-1917689">
                <a:off x="5846942" y="3093935"/>
                <a:ext cx="12114" cy="34638"/>
              </a:xfrm>
              <a:custGeom>
                <a:avLst/>
                <a:gdLst>
                  <a:gd name="connsiteX0" fmla="*/ 7272 w 12114"/>
                  <a:gd name="connsiteY0" fmla="*/ 34535 h 34638"/>
                  <a:gd name="connsiteX1" fmla="*/ 1768 w 12114"/>
                  <a:gd name="connsiteY1" fmla="*/ -103 h 34638"/>
                  <a:gd name="connsiteX2" fmla="*/ 7272 w 12114"/>
                  <a:gd name="connsiteY2" fmla="*/ 34535 h 34638"/>
                </a:gdLst>
                <a:ahLst/>
                <a:cxnLst>
                  <a:cxn ang="0">
                    <a:pos x="connsiteX0" y="connsiteY0"/>
                  </a:cxn>
                  <a:cxn ang="0">
                    <a:pos x="connsiteX1" y="connsiteY1"/>
                  </a:cxn>
                  <a:cxn ang="0">
                    <a:pos x="connsiteX2" y="connsiteY2"/>
                  </a:cxn>
                </a:cxnLst>
                <a:rect l="l" t="t" r="r" b="b"/>
                <a:pathLst>
                  <a:path w="12114" h="34638">
                    <a:moveTo>
                      <a:pt x="7272" y="34535"/>
                    </a:moveTo>
                    <a:cubicBezTo>
                      <a:pt x="19236" y="19985"/>
                      <a:pt x="5644" y="11023"/>
                      <a:pt x="1768" y="-103"/>
                    </a:cubicBezTo>
                    <a:cubicBezTo>
                      <a:pt x="-1798" y="12645"/>
                      <a:pt x="-67" y="24234"/>
                      <a:pt x="7272" y="34535"/>
                    </a:cubicBezTo>
                    <a:close/>
                  </a:path>
                </a:pathLst>
              </a:custGeom>
              <a:grpFill/>
              <a:ln w="25598" cap="flat">
                <a:noFill/>
                <a:prstDash val="solid"/>
                <a:round/>
              </a:ln>
            </p:spPr>
            <p:txBody>
              <a:bodyPr rtlCol="0" anchor="ctr"/>
              <a:lstStyle/>
              <a:p>
                <a:endParaRPr lang="en-LT"/>
              </a:p>
            </p:txBody>
          </p:sp>
          <p:sp>
            <p:nvSpPr>
              <p:cNvPr id="72" name="Freeform 71">
                <a:extLst>
                  <a:ext uri="{FF2B5EF4-FFF2-40B4-BE49-F238E27FC236}">
                    <a16:creationId xmlns:a16="http://schemas.microsoft.com/office/drawing/2014/main" id="{BF57B96A-A596-2C4D-8F35-427C1B834707}"/>
                  </a:ext>
                </a:extLst>
              </p:cNvPr>
              <p:cNvSpPr/>
              <p:nvPr/>
            </p:nvSpPr>
            <p:spPr>
              <a:xfrm rot="-1917689">
                <a:off x="5750093" y="1800622"/>
                <a:ext cx="30621" cy="81741"/>
              </a:xfrm>
              <a:custGeom>
                <a:avLst/>
                <a:gdLst>
                  <a:gd name="connsiteX0" fmla="*/ -47 w 30621"/>
                  <a:gd name="connsiteY0" fmla="*/ -109 h 81741"/>
                  <a:gd name="connsiteX1" fmla="*/ 30574 w 30621"/>
                  <a:gd name="connsiteY1" fmla="*/ 81633 h 81741"/>
                  <a:gd name="connsiteX2" fmla="*/ -47 w 30621"/>
                  <a:gd name="connsiteY2" fmla="*/ -109 h 81741"/>
                </a:gdLst>
                <a:ahLst/>
                <a:cxnLst>
                  <a:cxn ang="0">
                    <a:pos x="connsiteX0" y="connsiteY0"/>
                  </a:cxn>
                  <a:cxn ang="0">
                    <a:pos x="connsiteX1" y="connsiteY1"/>
                  </a:cxn>
                  <a:cxn ang="0">
                    <a:pos x="connsiteX2" y="connsiteY2"/>
                  </a:cxn>
                </a:cxnLst>
                <a:rect l="l" t="t" r="r" b="b"/>
                <a:pathLst>
                  <a:path w="30621" h="81741">
                    <a:moveTo>
                      <a:pt x="-47" y="-109"/>
                    </a:moveTo>
                    <a:cubicBezTo>
                      <a:pt x="26594" y="20880"/>
                      <a:pt x="26336" y="69735"/>
                      <a:pt x="30574" y="81633"/>
                    </a:cubicBezTo>
                    <a:cubicBezTo>
                      <a:pt x="29463" y="53793"/>
                      <a:pt x="31426" y="14081"/>
                      <a:pt x="-47" y="-109"/>
                    </a:cubicBezTo>
                    <a:close/>
                  </a:path>
                </a:pathLst>
              </a:custGeom>
              <a:grpFill/>
              <a:ln w="25598" cap="flat">
                <a:noFill/>
                <a:prstDash val="solid"/>
                <a:round/>
              </a:ln>
            </p:spPr>
            <p:txBody>
              <a:bodyPr rtlCol="0" anchor="ctr"/>
              <a:lstStyle/>
              <a:p>
                <a:endParaRPr lang="en-LT"/>
              </a:p>
            </p:txBody>
          </p:sp>
          <p:sp>
            <p:nvSpPr>
              <p:cNvPr id="73" name="Freeform 72">
                <a:extLst>
                  <a:ext uri="{FF2B5EF4-FFF2-40B4-BE49-F238E27FC236}">
                    <a16:creationId xmlns:a16="http://schemas.microsoft.com/office/drawing/2014/main" id="{A052C850-BBAF-E840-9CC6-73303D8F8DD1}"/>
                  </a:ext>
                </a:extLst>
              </p:cNvPr>
              <p:cNvSpPr/>
              <p:nvPr/>
            </p:nvSpPr>
            <p:spPr>
              <a:xfrm rot="-1917689">
                <a:off x="5446056" y="3054622"/>
                <a:ext cx="18631" cy="21864"/>
              </a:xfrm>
              <a:custGeom>
                <a:avLst/>
                <a:gdLst>
                  <a:gd name="connsiteX0" fmla="*/ 9460 w 18631"/>
                  <a:gd name="connsiteY0" fmla="*/ -95 h 21864"/>
                  <a:gd name="connsiteX1" fmla="*/ -24 w 18631"/>
                  <a:gd name="connsiteY1" fmla="*/ 14584 h 21864"/>
                  <a:gd name="connsiteX2" fmla="*/ 5790 w 18631"/>
                  <a:gd name="connsiteY2" fmla="*/ 21769 h 21864"/>
                  <a:gd name="connsiteX3" fmla="*/ 18607 w 18631"/>
                  <a:gd name="connsiteY3" fmla="*/ 12679 h 21864"/>
                  <a:gd name="connsiteX4" fmla="*/ 9460 w 18631"/>
                  <a:gd name="connsiteY4" fmla="*/ -95 h 21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31" h="21864">
                    <a:moveTo>
                      <a:pt x="9460" y="-95"/>
                    </a:moveTo>
                    <a:cubicBezTo>
                      <a:pt x="6281" y="4798"/>
                      <a:pt x="3154" y="9717"/>
                      <a:pt x="-24" y="14584"/>
                    </a:cubicBezTo>
                    <a:cubicBezTo>
                      <a:pt x="3439" y="16645"/>
                      <a:pt x="4679" y="19194"/>
                      <a:pt x="5790" y="21769"/>
                    </a:cubicBezTo>
                    <a:cubicBezTo>
                      <a:pt x="10390" y="20147"/>
                      <a:pt x="14007" y="14275"/>
                      <a:pt x="18607" y="12679"/>
                    </a:cubicBezTo>
                    <a:cubicBezTo>
                      <a:pt x="14602" y="8609"/>
                      <a:pt x="15868" y="3433"/>
                      <a:pt x="9460" y="-95"/>
                    </a:cubicBezTo>
                    <a:close/>
                  </a:path>
                </a:pathLst>
              </a:custGeom>
              <a:grpFill/>
              <a:ln w="25598" cap="flat">
                <a:noFill/>
                <a:prstDash val="solid"/>
                <a:round/>
              </a:ln>
            </p:spPr>
            <p:txBody>
              <a:bodyPr rtlCol="0" anchor="ctr"/>
              <a:lstStyle/>
              <a:p>
                <a:endParaRPr lang="en-LT"/>
              </a:p>
            </p:txBody>
          </p:sp>
          <p:sp>
            <p:nvSpPr>
              <p:cNvPr id="74" name="Freeform 73">
                <a:extLst>
                  <a:ext uri="{FF2B5EF4-FFF2-40B4-BE49-F238E27FC236}">
                    <a16:creationId xmlns:a16="http://schemas.microsoft.com/office/drawing/2014/main" id="{750201DB-7888-B44B-B19C-6BFF025F7F4B}"/>
                  </a:ext>
                </a:extLst>
              </p:cNvPr>
              <p:cNvSpPr/>
              <p:nvPr/>
            </p:nvSpPr>
            <p:spPr>
              <a:xfrm rot="-1917689">
                <a:off x="5500118" y="2744212"/>
                <a:ext cx="21617" cy="19191"/>
              </a:xfrm>
              <a:custGeom>
                <a:avLst/>
                <a:gdLst>
                  <a:gd name="connsiteX0" fmla="*/ 21573 w 21617"/>
                  <a:gd name="connsiteY0" fmla="*/ -98 h 19191"/>
                  <a:gd name="connsiteX1" fmla="*/ -30 w 21617"/>
                  <a:gd name="connsiteY1" fmla="*/ 17234 h 19191"/>
                  <a:gd name="connsiteX2" fmla="*/ 21573 w 21617"/>
                  <a:gd name="connsiteY2" fmla="*/ -98 h 19191"/>
                </a:gdLst>
                <a:ahLst/>
                <a:cxnLst>
                  <a:cxn ang="0">
                    <a:pos x="connsiteX0" y="connsiteY0"/>
                  </a:cxn>
                  <a:cxn ang="0">
                    <a:pos x="connsiteX1" y="connsiteY1"/>
                  </a:cxn>
                  <a:cxn ang="0">
                    <a:pos x="connsiteX2" y="connsiteY2"/>
                  </a:cxn>
                </a:cxnLst>
                <a:rect l="l" t="t" r="r" b="b"/>
                <a:pathLst>
                  <a:path w="21617" h="19191">
                    <a:moveTo>
                      <a:pt x="21573" y="-98"/>
                    </a:moveTo>
                    <a:cubicBezTo>
                      <a:pt x="14131" y="4666"/>
                      <a:pt x="6378" y="7757"/>
                      <a:pt x="-30" y="17234"/>
                    </a:cubicBezTo>
                    <a:cubicBezTo>
                      <a:pt x="8988" y="25655"/>
                      <a:pt x="22089" y="2915"/>
                      <a:pt x="21573" y="-98"/>
                    </a:cubicBezTo>
                    <a:close/>
                  </a:path>
                </a:pathLst>
              </a:custGeom>
              <a:grpFill/>
              <a:ln w="25598" cap="flat">
                <a:noFill/>
                <a:prstDash val="solid"/>
                <a:round/>
              </a:ln>
            </p:spPr>
            <p:txBody>
              <a:bodyPr rtlCol="0" anchor="ctr"/>
              <a:lstStyle/>
              <a:p>
                <a:endParaRPr lang="en-LT"/>
              </a:p>
            </p:txBody>
          </p:sp>
          <p:sp>
            <p:nvSpPr>
              <p:cNvPr id="75" name="Freeform 74">
                <a:extLst>
                  <a:ext uri="{FF2B5EF4-FFF2-40B4-BE49-F238E27FC236}">
                    <a16:creationId xmlns:a16="http://schemas.microsoft.com/office/drawing/2014/main" id="{AD385E49-67A0-8348-A85E-A55E1E6CF1A1}"/>
                  </a:ext>
                </a:extLst>
              </p:cNvPr>
              <p:cNvSpPr/>
              <p:nvPr/>
            </p:nvSpPr>
            <p:spPr>
              <a:xfrm rot="-1917689">
                <a:off x="5804793" y="3071917"/>
                <a:ext cx="15788" cy="24103"/>
              </a:xfrm>
              <a:custGeom>
                <a:avLst/>
                <a:gdLst>
                  <a:gd name="connsiteX0" fmla="*/ -21 w 15788"/>
                  <a:gd name="connsiteY0" fmla="*/ -21 h 24103"/>
                  <a:gd name="connsiteX1" fmla="*/ 15767 w 15788"/>
                  <a:gd name="connsiteY1" fmla="*/ 23878 h 24103"/>
                  <a:gd name="connsiteX2" fmla="*/ -21 w 15788"/>
                  <a:gd name="connsiteY2" fmla="*/ -21 h 24103"/>
                </a:gdLst>
                <a:ahLst/>
                <a:cxnLst>
                  <a:cxn ang="0">
                    <a:pos x="connsiteX0" y="connsiteY0"/>
                  </a:cxn>
                  <a:cxn ang="0">
                    <a:pos x="connsiteX1" y="connsiteY1"/>
                  </a:cxn>
                  <a:cxn ang="0">
                    <a:pos x="connsiteX2" y="connsiteY2"/>
                  </a:cxn>
                </a:cxnLst>
                <a:rect l="l" t="t" r="r" b="b"/>
                <a:pathLst>
                  <a:path w="15788" h="24103">
                    <a:moveTo>
                      <a:pt x="-21" y="-21"/>
                    </a:moveTo>
                    <a:cubicBezTo>
                      <a:pt x="5121" y="6675"/>
                      <a:pt x="3364" y="25706"/>
                      <a:pt x="15767" y="23878"/>
                    </a:cubicBezTo>
                    <a:cubicBezTo>
                      <a:pt x="10289" y="17337"/>
                      <a:pt x="10392" y="-1489"/>
                      <a:pt x="-21" y="-21"/>
                    </a:cubicBezTo>
                    <a:close/>
                  </a:path>
                </a:pathLst>
              </a:custGeom>
              <a:grpFill/>
              <a:ln w="25598" cap="flat">
                <a:noFill/>
                <a:prstDash val="solid"/>
                <a:round/>
              </a:ln>
            </p:spPr>
            <p:txBody>
              <a:bodyPr rtlCol="0" anchor="ctr"/>
              <a:lstStyle/>
              <a:p>
                <a:endParaRPr lang="en-LT"/>
              </a:p>
            </p:txBody>
          </p:sp>
          <p:sp>
            <p:nvSpPr>
              <p:cNvPr id="76" name="Freeform 75">
                <a:extLst>
                  <a:ext uri="{FF2B5EF4-FFF2-40B4-BE49-F238E27FC236}">
                    <a16:creationId xmlns:a16="http://schemas.microsoft.com/office/drawing/2014/main" id="{6A20038F-05AC-4F4A-BC21-93BC3F898785}"/>
                  </a:ext>
                </a:extLst>
              </p:cNvPr>
              <p:cNvSpPr/>
              <p:nvPr/>
            </p:nvSpPr>
            <p:spPr>
              <a:xfrm rot="-1917689">
                <a:off x="5673228" y="1831202"/>
                <a:ext cx="138556" cy="290473"/>
              </a:xfrm>
              <a:custGeom>
                <a:avLst/>
                <a:gdLst>
                  <a:gd name="connsiteX0" fmla="*/ 59983 w 138556"/>
                  <a:gd name="connsiteY0" fmla="*/ 134017 h 290473"/>
                  <a:gd name="connsiteX1" fmla="*/ 72412 w 138556"/>
                  <a:gd name="connsiteY1" fmla="*/ 103962 h 290473"/>
                  <a:gd name="connsiteX2" fmla="*/ 28483 w 138556"/>
                  <a:gd name="connsiteY2" fmla="*/ -108 h 290473"/>
                  <a:gd name="connsiteX3" fmla="*/ -45 w 138556"/>
                  <a:gd name="connsiteY3" fmla="*/ 33501 h 290473"/>
                  <a:gd name="connsiteX4" fmla="*/ 15046 w 138556"/>
                  <a:gd name="connsiteY4" fmla="*/ 63838 h 290473"/>
                  <a:gd name="connsiteX5" fmla="*/ 28509 w 138556"/>
                  <a:gd name="connsiteY5" fmla="*/ 48309 h 290473"/>
                  <a:gd name="connsiteX6" fmla="*/ 15925 w 138556"/>
                  <a:gd name="connsiteY6" fmla="*/ 67856 h 290473"/>
                  <a:gd name="connsiteX7" fmla="*/ 115411 w 138556"/>
                  <a:gd name="connsiteY7" fmla="*/ 290366 h 290473"/>
                  <a:gd name="connsiteX8" fmla="*/ 138512 w 138556"/>
                  <a:gd name="connsiteY8" fmla="*/ 270613 h 290473"/>
                  <a:gd name="connsiteX9" fmla="*/ 74143 w 138556"/>
                  <a:gd name="connsiteY9" fmla="*/ 111997 h 290473"/>
                  <a:gd name="connsiteX10" fmla="*/ 59983 w 138556"/>
                  <a:gd name="connsiteY10" fmla="*/ 134017 h 290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556" h="290473">
                    <a:moveTo>
                      <a:pt x="59983" y="134017"/>
                    </a:moveTo>
                    <a:cubicBezTo>
                      <a:pt x="58820" y="125132"/>
                      <a:pt x="64376" y="114856"/>
                      <a:pt x="72412" y="103962"/>
                    </a:cubicBezTo>
                    <a:cubicBezTo>
                      <a:pt x="58872" y="68989"/>
                      <a:pt x="43781" y="34428"/>
                      <a:pt x="28483" y="-108"/>
                    </a:cubicBezTo>
                    <a:cubicBezTo>
                      <a:pt x="18121" y="7335"/>
                      <a:pt x="8612" y="18435"/>
                      <a:pt x="-45" y="33501"/>
                    </a:cubicBezTo>
                    <a:cubicBezTo>
                      <a:pt x="6700" y="43184"/>
                      <a:pt x="8224" y="54104"/>
                      <a:pt x="15046" y="63838"/>
                    </a:cubicBezTo>
                    <a:cubicBezTo>
                      <a:pt x="19749" y="59718"/>
                      <a:pt x="22385" y="45811"/>
                      <a:pt x="28509" y="48309"/>
                    </a:cubicBezTo>
                    <a:cubicBezTo>
                      <a:pt x="24323" y="54799"/>
                      <a:pt x="20111" y="61366"/>
                      <a:pt x="15925" y="67856"/>
                    </a:cubicBezTo>
                    <a:cubicBezTo>
                      <a:pt x="49828" y="141897"/>
                      <a:pt x="77425" y="217303"/>
                      <a:pt x="115411" y="290366"/>
                    </a:cubicBezTo>
                    <a:cubicBezTo>
                      <a:pt x="122698" y="281893"/>
                      <a:pt x="131819" y="281687"/>
                      <a:pt x="138512" y="270613"/>
                    </a:cubicBezTo>
                    <a:cubicBezTo>
                      <a:pt x="120475" y="216994"/>
                      <a:pt x="99054" y="164122"/>
                      <a:pt x="74143" y="111997"/>
                    </a:cubicBezTo>
                    <a:cubicBezTo>
                      <a:pt x="66546" y="118745"/>
                      <a:pt x="70991" y="133579"/>
                      <a:pt x="59983" y="134017"/>
                    </a:cubicBezTo>
                    <a:close/>
                  </a:path>
                </a:pathLst>
              </a:custGeom>
              <a:grpFill/>
              <a:ln w="25598" cap="flat">
                <a:noFill/>
                <a:prstDash val="solid"/>
                <a:round/>
              </a:ln>
            </p:spPr>
            <p:txBody>
              <a:bodyPr rtlCol="0" anchor="ctr"/>
              <a:lstStyle/>
              <a:p>
                <a:endParaRPr lang="en-LT"/>
              </a:p>
            </p:txBody>
          </p:sp>
          <p:sp>
            <p:nvSpPr>
              <p:cNvPr id="77" name="Freeform 76">
                <a:extLst>
                  <a:ext uri="{FF2B5EF4-FFF2-40B4-BE49-F238E27FC236}">
                    <a16:creationId xmlns:a16="http://schemas.microsoft.com/office/drawing/2014/main" id="{C5FE8262-FB37-7346-9B22-24FB75B04A6F}"/>
                  </a:ext>
                </a:extLst>
              </p:cNvPr>
              <p:cNvSpPr/>
              <p:nvPr/>
            </p:nvSpPr>
            <p:spPr>
              <a:xfrm rot="-1917689">
                <a:off x="5637861" y="1895610"/>
                <a:ext cx="163883" cy="281205"/>
              </a:xfrm>
              <a:custGeom>
                <a:avLst/>
                <a:gdLst>
                  <a:gd name="connsiteX0" fmla="*/ 33578 w 163883"/>
                  <a:gd name="connsiteY0" fmla="*/ 171283 h 281205"/>
                  <a:gd name="connsiteX1" fmla="*/ 59005 w 163883"/>
                  <a:gd name="connsiteY1" fmla="*/ 228971 h 281205"/>
                  <a:gd name="connsiteX2" fmla="*/ 59884 w 163883"/>
                  <a:gd name="connsiteY2" fmla="*/ 233014 h 281205"/>
                  <a:gd name="connsiteX3" fmla="*/ 32958 w 163883"/>
                  <a:gd name="connsiteY3" fmla="*/ 177747 h 281205"/>
                  <a:gd name="connsiteX4" fmla="*/ 33578 w 163883"/>
                  <a:gd name="connsiteY4" fmla="*/ 171283 h 281205"/>
                  <a:gd name="connsiteX5" fmla="*/ 114536 w 163883"/>
                  <a:gd name="connsiteY5" fmla="*/ 212617 h 281205"/>
                  <a:gd name="connsiteX6" fmla="*/ 99316 w 163883"/>
                  <a:gd name="connsiteY6" fmla="*/ 220189 h 281205"/>
                  <a:gd name="connsiteX7" fmla="*/ 114536 w 163883"/>
                  <a:gd name="connsiteY7" fmla="*/ 212617 h 281205"/>
                  <a:gd name="connsiteX8" fmla="*/ 163840 w 163883"/>
                  <a:gd name="connsiteY8" fmla="*/ 254518 h 281205"/>
                  <a:gd name="connsiteX9" fmla="*/ 57325 w 163883"/>
                  <a:gd name="connsiteY9" fmla="*/ -107 h 281205"/>
                  <a:gd name="connsiteX10" fmla="*/ 14792 w 163883"/>
                  <a:gd name="connsiteY10" fmla="*/ 249058 h 281205"/>
                  <a:gd name="connsiteX11" fmla="*/ 163840 w 163883"/>
                  <a:gd name="connsiteY11" fmla="*/ 254518 h 28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883" h="281205">
                    <a:moveTo>
                      <a:pt x="33578" y="171283"/>
                    </a:moveTo>
                    <a:cubicBezTo>
                      <a:pt x="39030" y="191216"/>
                      <a:pt x="42932" y="211433"/>
                      <a:pt x="59005" y="228971"/>
                    </a:cubicBezTo>
                    <a:cubicBezTo>
                      <a:pt x="63760" y="231057"/>
                      <a:pt x="62494" y="234508"/>
                      <a:pt x="59884" y="233014"/>
                    </a:cubicBezTo>
                    <a:cubicBezTo>
                      <a:pt x="40994" y="216712"/>
                      <a:pt x="34508" y="197809"/>
                      <a:pt x="32958" y="177747"/>
                    </a:cubicBezTo>
                    <a:cubicBezTo>
                      <a:pt x="30581" y="176202"/>
                      <a:pt x="32984" y="173601"/>
                      <a:pt x="33578" y="171283"/>
                    </a:cubicBezTo>
                    <a:close/>
                    <a:moveTo>
                      <a:pt x="114536" y="212617"/>
                    </a:moveTo>
                    <a:cubicBezTo>
                      <a:pt x="110738" y="221090"/>
                      <a:pt x="103735" y="214883"/>
                      <a:pt x="99316" y="220189"/>
                    </a:cubicBezTo>
                    <a:cubicBezTo>
                      <a:pt x="95569" y="214729"/>
                      <a:pt x="108877" y="207029"/>
                      <a:pt x="114536" y="212617"/>
                    </a:cubicBezTo>
                    <a:close/>
                    <a:moveTo>
                      <a:pt x="163840" y="254518"/>
                    </a:moveTo>
                    <a:cubicBezTo>
                      <a:pt x="133684" y="168450"/>
                      <a:pt x="91719" y="84983"/>
                      <a:pt x="57325" y="-107"/>
                    </a:cubicBezTo>
                    <a:cubicBezTo>
                      <a:pt x="2259" y="52070"/>
                      <a:pt x="-15855" y="210660"/>
                      <a:pt x="14792" y="249058"/>
                    </a:cubicBezTo>
                    <a:cubicBezTo>
                      <a:pt x="56990" y="302059"/>
                      <a:pt x="120531" y="278675"/>
                      <a:pt x="163840" y="254518"/>
                    </a:cubicBezTo>
                    <a:close/>
                  </a:path>
                </a:pathLst>
              </a:custGeom>
              <a:grpFill/>
              <a:ln w="25598" cap="flat">
                <a:noFill/>
                <a:prstDash val="solid"/>
                <a:round/>
              </a:ln>
            </p:spPr>
            <p:txBody>
              <a:bodyPr rtlCol="0" anchor="ctr"/>
              <a:lstStyle/>
              <a:p>
                <a:endParaRPr lang="en-LT"/>
              </a:p>
            </p:txBody>
          </p:sp>
          <p:sp>
            <p:nvSpPr>
              <p:cNvPr id="78" name="Freeform 77">
                <a:extLst>
                  <a:ext uri="{FF2B5EF4-FFF2-40B4-BE49-F238E27FC236}">
                    <a16:creationId xmlns:a16="http://schemas.microsoft.com/office/drawing/2014/main" id="{FFFBC84A-F02F-C54A-96B3-76ED9BDD5762}"/>
                  </a:ext>
                </a:extLst>
              </p:cNvPr>
              <p:cNvSpPr/>
              <p:nvPr/>
            </p:nvSpPr>
            <p:spPr>
              <a:xfrm rot="-1917689">
                <a:off x="5622252" y="2299690"/>
                <a:ext cx="34186" cy="45750"/>
              </a:xfrm>
              <a:custGeom>
                <a:avLst/>
                <a:gdLst>
                  <a:gd name="connsiteX0" fmla="*/ 34149 w 34186"/>
                  <a:gd name="connsiteY0" fmla="*/ 13146 h 45750"/>
                  <a:gd name="connsiteX1" fmla="*/ -38 w 34186"/>
                  <a:gd name="connsiteY1" fmla="*/ 1660 h 45750"/>
                  <a:gd name="connsiteX2" fmla="*/ 20169 w 34186"/>
                  <a:gd name="connsiteY2" fmla="*/ 45647 h 45750"/>
                  <a:gd name="connsiteX3" fmla="*/ 34149 w 34186"/>
                  <a:gd name="connsiteY3" fmla="*/ 13146 h 45750"/>
                </a:gdLst>
                <a:ahLst/>
                <a:cxnLst>
                  <a:cxn ang="0">
                    <a:pos x="connsiteX0" y="connsiteY0"/>
                  </a:cxn>
                  <a:cxn ang="0">
                    <a:pos x="connsiteX1" y="connsiteY1"/>
                  </a:cxn>
                  <a:cxn ang="0">
                    <a:pos x="connsiteX2" y="connsiteY2"/>
                  </a:cxn>
                  <a:cxn ang="0">
                    <a:pos x="connsiteX3" y="connsiteY3"/>
                  </a:cxn>
                </a:cxnLst>
                <a:rect l="l" t="t" r="r" b="b"/>
                <a:pathLst>
                  <a:path w="34186" h="45750">
                    <a:moveTo>
                      <a:pt x="34149" y="13146"/>
                    </a:moveTo>
                    <a:cubicBezTo>
                      <a:pt x="22443" y="7789"/>
                      <a:pt x="9109" y="-4701"/>
                      <a:pt x="-38" y="1660"/>
                    </a:cubicBezTo>
                    <a:cubicBezTo>
                      <a:pt x="10169" y="15567"/>
                      <a:pt x="11125" y="31534"/>
                      <a:pt x="20169" y="45647"/>
                    </a:cubicBezTo>
                    <a:cubicBezTo>
                      <a:pt x="26836" y="34367"/>
                      <a:pt x="31668" y="23473"/>
                      <a:pt x="34149" y="13146"/>
                    </a:cubicBezTo>
                    <a:close/>
                  </a:path>
                </a:pathLst>
              </a:custGeom>
              <a:grpFill/>
              <a:ln w="25598" cap="flat">
                <a:noFill/>
                <a:prstDash val="solid"/>
                <a:round/>
              </a:ln>
            </p:spPr>
            <p:txBody>
              <a:bodyPr rtlCol="0" anchor="ctr"/>
              <a:lstStyle/>
              <a:p>
                <a:endParaRPr lang="en-LT"/>
              </a:p>
            </p:txBody>
          </p:sp>
          <p:sp>
            <p:nvSpPr>
              <p:cNvPr id="79" name="Freeform 78">
                <a:extLst>
                  <a:ext uri="{FF2B5EF4-FFF2-40B4-BE49-F238E27FC236}">
                    <a16:creationId xmlns:a16="http://schemas.microsoft.com/office/drawing/2014/main" id="{49EF12D5-9CD8-3147-A1C6-4CEFA5C44815}"/>
                  </a:ext>
                </a:extLst>
              </p:cNvPr>
              <p:cNvSpPr/>
              <p:nvPr/>
            </p:nvSpPr>
            <p:spPr>
              <a:xfrm rot="-1917689">
                <a:off x="5598406" y="2289163"/>
                <a:ext cx="41249" cy="96910"/>
              </a:xfrm>
              <a:custGeom>
                <a:avLst/>
                <a:gdLst>
                  <a:gd name="connsiteX0" fmla="*/ -38 w 41249"/>
                  <a:gd name="connsiteY0" fmla="*/ -103 h 96910"/>
                  <a:gd name="connsiteX1" fmla="*/ 38103 w 41249"/>
                  <a:gd name="connsiteY1" fmla="*/ 96807 h 96910"/>
                  <a:gd name="connsiteX2" fmla="*/ -38 w 41249"/>
                  <a:gd name="connsiteY2" fmla="*/ -103 h 96910"/>
                </a:gdLst>
                <a:ahLst/>
                <a:cxnLst>
                  <a:cxn ang="0">
                    <a:pos x="connsiteX0" y="connsiteY0"/>
                  </a:cxn>
                  <a:cxn ang="0">
                    <a:pos x="connsiteX1" y="connsiteY1"/>
                  </a:cxn>
                  <a:cxn ang="0">
                    <a:pos x="connsiteX2" y="connsiteY2"/>
                  </a:cxn>
                </a:cxnLst>
                <a:rect l="l" t="t" r="r" b="b"/>
                <a:pathLst>
                  <a:path w="41249" h="96910">
                    <a:moveTo>
                      <a:pt x="-38" y="-103"/>
                    </a:moveTo>
                    <a:cubicBezTo>
                      <a:pt x="7404" y="33325"/>
                      <a:pt x="22934" y="65028"/>
                      <a:pt x="38103" y="96807"/>
                    </a:cubicBezTo>
                    <a:cubicBezTo>
                      <a:pt x="48103" y="59542"/>
                      <a:pt x="33606" y="27634"/>
                      <a:pt x="-38" y="-103"/>
                    </a:cubicBezTo>
                    <a:close/>
                  </a:path>
                </a:pathLst>
              </a:custGeom>
              <a:grpFill/>
              <a:ln w="25598" cap="flat">
                <a:noFill/>
                <a:prstDash val="solid"/>
                <a:round/>
              </a:ln>
            </p:spPr>
            <p:txBody>
              <a:bodyPr rtlCol="0" anchor="ctr"/>
              <a:lstStyle/>
              <a:p>
                <a:endParaRPr lang="en-LT"/>
              </a:p>
            </p:txBody>
          </p:sp>
          <p:sp>
            <p:nvSpPr>
              <p:cNvPr id="80" name="Freeform 79">
                <a:extLst>
                  <a:ext uri="{FF2B5EF4-FFF2-40B4-BE49-F238E27FC236}">
                    <a16:creationId xmlns:a16="http://schemas.microsoft.com/office/drawing/2014/main" id="{0B54B593-2492-9E4C-925C-F9A53B404F2A}"/>
                  </a:ext>
                </a:extLst>
              </p:cNvPr>
              <p:cNvSpPr/>
              <p:nvPr/>
            </p:nvSpPr>
            <p:spPr>
              <a:xfrm rot="-1917689">
                <a:off x="5583680" y="2288598"/>
                <a:ext cx="58657" cy="140407"/>
              </a:xfrm>
              <a:custGeom>
                <a:avLst/>
                <a:gdLst>
                  <a:gd name="connsiteX0" fmla="*/ 50067 w 58657"/>
                  <a:gd name="connsiteY0" fmla="*/ 140305 h 140407"/>
                  <a:gd name="connsiteX1" fmla="*/ 58620 w 58657"/>
                  <a:gd name="connsiteY1" fmla="*/ 121608 h 140407"/>
                  <a:gd name="connsiteX2" fmla="*/ 8696 w 58657"/>
                  <a:gd name="connsiteY2" fmla="*/ -103 h 140407"/>
                  <a:gd name="connsiteX3" fmla="*/ -38 w 58657"/>
                  <a:gd name="connsiteY3" fmla="*/ 8087 h 140407"/>
                  <a:gd name="connsiteX4" fmla="*/ 50067 w 58657"/>
                  <a:gd name="connsiteY4" fmla="*/ 140305 h 140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57" h="140407">
                    <a:moveTo>
                      <a:pt x="50067" y="140305"/>
                    </a:moveTo>
                    <a:cubicBezTo>
                      <a:pt x="52987" y="134099"/>
                      <a:pt x="52134" y="128639"/>
                      <a:pt x="58620" y="121608"/>
                    </a:cubicBezTo>
                    <a:cubicBezTo>
                      <a:pt x="42082" y="81021"/>
                      <a:pt x="28749" y="39712"/>
                      <a:pt x="8696" y="-103"/>
                    </a:cubicBezTo>
                    <a:cubicBezTo>
                      <a:pt x="5802" y="2653"/>
                      <a:pt x="2236" y="2318"/>
                      <a:pt x="-38" y="8087"/>
                    </a:cubicBezTo>
                    <a:cubicBezTo>
                      <a:pt x="13193" y="52949"/>
                      <a:pt x="34692" y="95906"/>
                      <a:pt x="50067" y="140305"/>
                    </a:cubicBezTo>
                    <a:close/>
                  </a:path>
                </a:pathLst>
              </a:custGeom>
              <a:grpFill/>
              <a:ln w="25598" cap="flat">
                <a:noFill/>
                <a:prstDash val="solid"/>
                <a:round/>
              </a:ln>
            </p:spPr>
            <p:txBody>
              <a:bodyPr rtlCol="0" anchor="ctr"/>
              <a:lstStyle/>
              <a:p>
                <a:endParaRPr lang="en-LT"/>
              </a:p>
            </p:txBody>
          </p:sp>
          <p:sp>
            <p:nvSpPr>
              <p:cNvPr id="81" name="Freeform 80">
                <a:extLst>
                  <a:ext uri="{FF2B5EF4-FFF2-40B4-BE49-F238E27FC236}">
                    <a16:creationId xmlns:a16="http://schemas.microsoft.com/office/drawing/2014/main" id="{18AFBF8C-124C-F24E-A396-F4D57881A33D}"/>
                  </a:ext>
                </a:extLst>
              </p:cNvPr>
              <p:cNvSpPr/>
              <p:nvPr/>
            </p:nvSpPr>
            <p:spPr>
              <a:xfrm rot="-1917689">
                <a:off x="5715833" y="2310043"/>
                <a:ext cx="70828" cy="68150"/>
              </a:xfrm>
              <a:custGeom>
                <a:avLst/>
                <a:gdLst>
                  <a:gd name="connsiteX0" fmla="*/ 35494 w 70828"/>
                  <a:gd name="connsiteY0" fmla="*/ -106 h 68150"/>
                  <a:gd name="connsiteX1" fmla="*/ -37 w 70828"/>
                  <a:gd name="connsiteY1" fmla="*/ 49702 h 68150"/>
                  <a:gd name="connsiteX2" fmla="*/ 58569 w 70828"/>
                  <a:gd name="connsiteY2" fmla="*/ 66441 h 68150"/>
                  <a:gd name="connsiteX3" fmla="*/ 70792 w 70828"/>
                  <a:gd name="connsiteY3" fmla="*/ 25931 h 68150"/>
                  <a:gd name="connsiteX4" fmla="*/ 35494 w 70828"/>
                  <a:gd name="connsiteY4" fmla="*/ -106 h 6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28" h="68150">
                    <a:moveTo>
                      <a:pt x="35494" y="-106"/>
                    </a:moveTo>
                    <a:cubicBezTo>
                      <a:pt x="23245" y="13389"/>
                      <a:pt x="4666" y="32292"/>
                      <a:pt x="-37" y="49702"/>
                    </a:cubicBezTo>
                    <a:cubicBezTo>
                      <a:pt x="12651" y="57428"/>
                      <a:pt x="42316" y="73086"/>
                      <a:pt x="58569" y="66441"/>
                    </a:cubicBezTo>
                    <a:cubicBezTo>
                      <a:pt x="63014" y="52818"/>
                      <a:pt x="68854" y="38937"/>
                      <a:pt x="70792" y="25931"/>
                    </a:cubicBezTo>
                    <a:cubicBezTo>
                      <a:pt x="65055" y="16634"/>
                      <a:pt x="49602" y="616"/>
                      <a:pt x="35494" y="-106"/>
                    </a:cubicBezTo>
                    <a:close/>
                  </a:path>
                </a:pathLst>
              </a:custGeom>
              <a:grpFill/>
              <a:ln w="25598" cap="flat">
                <a:noFill/>
                <a:prstDash val="solid"/>
                <a:round/>
              </a:ln>
            </p:spPr>
            <p:txBody>
              <a:bodyPr rtlCol="0" anchor="ctr"/>
              <a:lstStyle/>
              <a:p>
                <a:endParaRPr lang="en-LT"/>
              </a:p>
            </p:txBody>
          </p:sp>
          <p:sp>
            <p:nvSpPr>
              <p:cNvPr id="82" name="Freeform 81">
                <a:extLst>
                  <a:ext uri="{FF2B5EF4-FFF2-40B4-BE49-F238E27FC236}">
                    <a16:creationId xmlns:a16="http://schemas.microsoft.com/office/drawing/2014/main" id="{E74D46CD-708C-444A-B79B-D6A70038EAFE}"/>
                  </a:ext>
                </a:extLst>
              </p:cNvPr>
              <p:cNvSpPr/>
              <p:nvPr/>
            </p:nvSpPr>
            <p:spPr>
              <a:xfrm rot="-1917689">
                <a:off x="5556386" y="2306445"/>
                <a:ext cx="89847" cy="172863"/>
              </a:xfrm>
              <a:custGeom>
                <a:avLst/>
                <a:gdLst>
                  <a:gd name="connsiteX0" fmla="*/ 34718 w 89847"/>
                  <a:gd name="connsiteY0" fmla="*/ 47754 h 172863"/>
                  <a:gd name="connsiteX1" fmla="*/ 47897 w 89847"/>
                  <a:gd name="connsiteY1" fmla="*/ 59601 h 172863"/>
                  <a:gd name="connsiteX2" fmla="*/ 34718 w 89847"/>
                  <a:gd name="connsiteY2" fmla="*/ 47754 h 172863"/>
                  <a:gd name="connsiteX3" fmla="*/ -37 w 89847"/>
                  <a:gd name="connsiteY3" fmla="*/ 4771 h 172863"/>
                  <a:gd name="connsiteX4" fmla="*/ 78983 w 89847"/>
                  <a:gd name="connsiteY4" fmla="*/ 172761 h 172863"/>
                  <a:gd name="connsiteX5" fmla="*/ 89810 w 89847"/>
                  <a:gd name="connsiteY5" fmla="*/ 145153 h 172863"/>
                  <a:gd name="connsiteX6" fmla="*/ 30584 w 89847"/>
                  <a:gd name="connsiteY6" fmla="*/ 187 h 172863"/>
                  <a:gd name="connsiteX7" fmla="*/ -37 w 89847"/>
                  <a:gd name="connsiteY7" fmla="*/ 4771 h 17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847" h="172863">
                    <a:moveTo>
                      <a:pt x="34718" y="47754"/>
                    </a:moveTo>
                    <a:cubicBezTo>
                      <a:pt x="43272" y="45642"/>
                      <a:pt x="45882" y="54167"/>
                      <a:pt x="47897" y="59601"/>
                    </a:cubicBezTo>
                    <a:cubicBezTo>
                      <a:pt x="45339" y="63283"/>
                      <a:pt x="26140" y="53265"/>
                      <a:pt x="34718" y="47754"/>
                    </a:cubicBezTo>
                    <a:close/>
                    <a:moveTo>
                      <a:pt x="-37" y="4771"/>
                    </a:moveTo>
                    <a:cubicBezTo>
                      <a:pt x="28439" y="60296"/>
                      <a:pt x="52419" y="116799"/>
                      <a:pt x="78983" y="172761"/>
                    </a:cubicBezTo>
                    <a:cubicBezTo>
                      <a:pt x="86167" y="162820"/>
                      <a:pt x="85392" y="154554"/>
                      <a:pt x="89810" y="145153"/>
                    </a:cubicBezTo>
                    <a:cubicBezTo>
                      <a:pt x="68983" y="97072"/>
                      <a:pt x="55830" y="47342"/>
                      <a:pt x="30584" y="187"/>
                    </a:cubicBezTo>
                    <a:cubicBezTo>
                      <a:pt x="20868" y="4076"/>
                      <a:pt x="8284" y="-5350"/>
                      <a:pt x="-37" y="4771"/>
                    </a:cubicBezTo>
                    <a:close/>
                  </a:path>
                </a:pathLst>
              </a:custGeom>
              <a:grpFill/>
              <a:ln w="25598" cap="flat">
                <a:noFill/>
                <a:prstDash val="solid"/>
                <a:round/>
              </a:ln>
            </p:spPr>
            <p:txBody>
              <a:bodyPr rtlCol="0" anchor="ctr"/>
              <a:lstStyle/>
              <a:p>
                <a:endParaRPr lang="en-LT"/>
              </a:p>
            </p:txBody>
          </p:sp>
          <p:sp>
            <p:nvSpPr>
              <p:cNvPr id="83" name="Freeform 82">
                <a:extLst>
                  <a:ext uri="{FF2B5EF4-FFF2-40B4-BE49-F238E27FC236}">
                    <a16:creationId xmlns:a16="http://schemas.microsoft.com/office/drawing/2014/main" id="{DE5E1B23-06AC-FF4C-94A4-9301B102B878}"/>
                  </a:ext>
                </a:extLst>
              </p:cNvPr>
              <p:cNvSpPr/>
              <p:nvPr/>
            </p:nvSpPr>
            <p:spPr>
              <a:xfrm rot="-1917689">
                <a:off x="5751954" y="2396151"/>
                <a:ext cx="22043" cy="49781"/>
              </a:xfrm>
              <a:custGeom>
                <a:avLst/>
                <a:gdLst>
                  <a:gd name="connsiteX0" fmla="*/ 22008 w 22043"/>
                  <a:gd name="connsiteY0" fmla="*/ 20472 h 49781"/>
                  <a:gd name="connsiteX1" fmla="*/ 587 w 22043"/>
                  <a:gd name="connsiteY1" fmla="*/ -105 h 49781"/>
                  <a:gd name="connsiteX2" fmla="*/ 13610 w 22043"/>
                  <a:gd name="connsiteY2" fmla="*/ 49676 h 49781"/>
                  <a:gd name="connsiteX3" fmla="*/ 22008 w 22043"/>
                  <a:gd name="connsiteY3" fmla="*/ 20472 h 49781"/>
                </a:gdLst>
                <a:ahLst/>
                <a:cxnLst>
                  <a:cxn ang="0">
                    <a:pos x="connsiteX0" y="connsiteY0"/>
                  </a:cxn>
                  <a:cxn ang="0">
                    <a:pos x="connsiteX1" y="connsiteY1"/>
                  </a:cxn>
                  <a:cxn ang="0">
                    <a:pos x="connsiteX2" y="connsiteY2"/>
                  </a:cxn>
                  <a:cxn ang="0">
                    <a:pos x="connsiteX3" y="connsiteY3"/>
                  </a:cxn>
                </a:cxnLst>
                <a:rect l="l" t="t" r="r" b="b"/>
                <a:pathLst>
                  <a:path w="22043" h="49781">
                    <a:moveTo>
                      <a:pt x="22008" y="20472"/>
                    </a:moveTo>
                    <a:cubicBezTo>
                      <a:pt x="13843" y="13801"/>
                      <a:pt x="13042" y="5586"/>
                      <a:pt x="587" y="-105"/>
                    </a:cubicBezTo>
                    <a:cubicBezTo>
                      <a:pt x="-2979" y="18231"/>
                      <a:pt x="9786" y="32936"/>
                      <a:pt x="13610" y="49676"/>
                    </a:cubicBezTo>
                    <a:cubicBezTo>
                      <a:pt x="20561" y="39040"/>
                      <a:pt x="16117" y="30876"/>
                      <a:pt x="22008" y="20472"/>
                    </a:cubicBezTo>
                    <a:close/>
                  </a:path>
                </a:pathLst>
              </a:custGeom>
              <a:grpFill/>
              <a:ln w="25598" cap="flat">
                <a:noFill/>
                <a:prstDash val="solid"/>
                <a:round/>
              </a:ln>
            </p:spPr>
            <p:txBody>
              <a:bodyPr rtlCol="0" anchor="ctr"/>
              <a:lstStyle/>
              <a:p>
                <a:endParaRPr lang="en-LT"/>
              </a:p>
            </p:txBody>
          </p:sp>
          <p:sp>
            <p:nvSpPr>
              <p:cNvPr id="84" name="Freeform 83">
                <a:extLst>
                  <a:ext uri="{FF2B5EF4-FFF2-40B4-BE49-F238E27FC236}">
                    <a16:creationId xmlns:a16="http://schemas.microsoft.com/office/drawing/2014/main" id="{ACA84FEB-7E14-624A-A8A2-41CECC25D198}"/>
                  </a:ext>
                </a:extLst>
              </p:cNvPr>
              <p:cNvSpPr/>
              <p:nvPr/>
            </p:nvSpPr>
            <p:spPr>
              <a:xfrm rot="-1917689">
                <a:off x="5751957" y="2410671"/>
                <a:ext cx="19656" cy="63353"/>
              </a:xfrm>
              <a:custGeom>
                <a:avLst/>
                <a:gdLst>
                  <a:gd name="connsiteX0" fmla="*/ 19523 w 19656"/>
                  <a:gd name="connsiteY0" fmla="*/ 63248 h 63353"/>
                  <a:gd name="connsiteX1" fmla="*/ 1357 w 19656"/>
                  <a:gd name="connsiteY1" fmla="*/ -105 h 63353"/>
                  <a:gd name="connsiteX2" fmla="*/ 19523 w 19656"/>
                  <a:gd name="connsiteY2" fmla="*/ 63248 h 63353"/>
                </a:gdLst>
                <a:ahLst/>
                <a:cxnLst>
                  <a:cxn ang="0">
                    <a:pos x="connsiteX0" y="connsiteY0"/>
                  </a:cxn>
                  <a:cxn ang="0">
                    <a:pos x="connsiteX1" y="connsiteY1"/>
                  </a:cxn>
                  <a:cxn ang="0">
                    <a:pos x="connsiteX2" y="connsiteY2"/>
                  </a:cxn>
                </a:cxnLst>
                <a:rect l="l" t="t" r="r" b="b"/>
                <a:pathLst>
                  <a:path w="19656" h="63353">
                    <a:moveTo>
                      <a:pt x="19523" y="63248"/>
                    </a:moveTo>
                    <a:cubicBezTo>
                      <a:pt x="20738" y="40533"/>
                      <a:pt x="10402" y="20343"/>
                      <a:pt x="1357" y="-105"/>
                    </a:cubicBezTo>
                    <a:cubicBezTo>
                      <a:pt x="-4922" y="23665"/>
                      <a:pt x="11616" y="42568"/>
                      <a:pt x="19523" y="63248"/>
                    </a:cubicBezTo>
                    <a:close/>
                  </a:path>
                </a:pathLst>
              </a:custGeom>
              <a:grpFill/>
              <a:ln w="25598" cap="flat">
                <a:noFill/>
                <a:prstDash val="solid"/>
                <a:round/>
              </a:ln>
            </p:spPr>
            <p:txBody>
              <a:bodyPr rtlCol="0" anchor="ctr"/>
              <a:lstStyle/>
              <a:p>
                <a:endParaRPr lang="en-LT"/>
              </a:p>
            </p:txBody>
          </p:sp>
          <p:sp>
            <p:nvSpPr>
              <p:cNvPr id="85" name="Freeform 84">
                <a:extLst>
                  <a:ext uri="{FF2B5EF4-FFF2-40B4-BE49-F238E27FC236}">
                    <a16:creationId xmlns:a16="http://schemas.microsoft.com/office/drawing/2014/main" id="{06786F40-0FAC-FC40-86EB-B4A288CF5960}"/>
                  </a:ext>
                </a:extLst>
              </p:cNvPr>
              <p:cNvSpPr/>
              <p:nvPr/>
            </p:nvSpPr>
            <p:spPr>
              <a:xfrm rot="-1917689">
                <a:off x="5746692" y="2429871"/>
                <a:ext cx="35126" cy="90909"/>
              </a:xfrm>
              <a:custGeom>
                <a:avLst/>
                <a:gdLst>
                  <a:gd name="connsiteX0" fmla="*/ 10974 w 35126"/>
                  <a:gd name="connsiteY0" fmla="*/ -105 h 90909"/>
                  <a:gd name="connsiteX1" fmla="*/ -34 w 35126"/>
                  <a:gd name="connsiteY1" fmla="*/ 17047 h 90909"/>
                  <a:gd name="connsiteX2" fmla="*/ 28830 w 35126"/>
                  <a:gd name="connsiteY2" fmla="*/ 90805 h 90909"/>
                  <a:gd name="connsiteX3" fmla="*/ 10974 w 35126"/>
                  <a:gd name="connsiteY3" fmla="*/ -105 h 90909"/>
                </a:gdLst>
                <a:ahLst/>
                <a:cxnLst>
                  <a:cxn ang="0">
                    <a:pos x="connsiteX0" y="connsiteY0"/>
                  </a:cxn>
                  <a:cxn ang="0">
                    <a:pos x="connsiteX1" y="connsiteY1"/>
                  </a:cxn>
                  <a:cxn ang="0">
                    <a:pos x="connsiteX2" y="connsiteY2"/>
                  </a:cxn>
                  <a:cxn ang="0">
                    <a:pos x="connsiteX3" y="connsiteY3"/>
                  </a:cxn>
                </a:cxnLst>
                <a:rect l="l" t="t" r="r" b="b"/>
                <a:pathLst>
                  <a:path w="35126" h="90909">
                    <a:moveTo>
                      <a:pt x="10974" y="-105"/>
                    </a:moveTo>
                    <a:cubicBezTo>
                      <a:pt x="7330" y="5612"/>
                      <a:pt x="3661" y="11355"/>
                      <a:pt x="-34" y="17047"/>
                    </a:cubicBezTo>
                    <a:cubicBezTo>
                      <a:pt x="12421" y="41023"/>
                      <a:pt x="15987" y="66931"/>
                      <a:pt x="28830" y="90805"/>
                    </a:cubicBezTo>
                    <a:cubicBezTo>
                      <a:pt x="46970" y="55265"/>
                      <a:pt x="20922" y="29383"/>
                      <a:pt x="10974" y="-105"/>
                    </a:cubicBezTo>
                    <a:close/>
                  </a:path>
                </a:pathLst>
              </a:custGeom>
              <a:grpFill/>
              <a:ln w="25598" cap="flat">
                <a:noFill/>
                <a:prstDash val="solid"/>
                <a:round/>
              </a:ln>
            </p:spPr>
            <p:txBody>
              <a:bodyPr rtlCol="0" anchor="ctr"/>
              <a:lstStyle/>
              <a:p>
                <a:endParaRPr lang="en-LT"/>
              </a:p>
            </p:txBody>
          </p:sp>
          <p:sp>
            <p:nvSpPr>
              <p:cNvPr id="86" name="Freeform 85">
                <a:extLst>
                  <a:ext uri="{FF2B5EF4-FFF2-40B4-BE49-F238E27FC236}">
                    <a16:creationId xmlns:a16="http://schemas.microsoft.com/office/drawing/2014/main" id="{0816F0C3-29BD-6D4D-BA77-6A32315444FB}"/>
                  </a:ext>
                </a:extLst>
              </p:cNvPr>
              <p:cNvSpPr/>
              <p:nvPr/>
            </p:nvSpPr>
            <p:spPr>
              <a:xfrm rot="-1917689">
                <a:off x="5743303" y="2458407"/>
                <a:ext cx="37823" cy="94051"/>
              </a:xfrm>
              <a:custGeom>
                <a:avLst/>
                <a:gdLst>
                  <a:gd name="connsiteX0" fmla="*/ 11905 w 37823"/>
                  <a:gd name="connsiteY0" fmla="*/ -105 h 94051"/>
                  <a:gd name="connsiteX1" fmla="*/ -34 w 37823"/>
                  <a:gd name="connsiteY1" fmla="*/ 13081 h 94051"/>
                  <a:gd name="connsiteX2" fmla="*/ 34644 w 37823"/>
                  <a:gd name="connsiteY2" fmla="*/ 93947 h 94051"/>
                  <a:gd name="connsiteX3" fmla="*/ 11905 w 37823"/>
                  <a:gd name="connsiteY3" fmla="*/ -105 h 94051"/>
                </a:gdLst>
                <a:ahLst/>
                <a:cxnLst>
                  <a:cxn ang="0">
                    <a:pos x="connsiteX0" y="connsiteY0"/>
                  </a:cxn>
                  <a:cxn ang="0">
                    <a:pos x="connsiteX1" y="connsiteY1"/>
                  </a:cxn>
                  <a:cxn ang="0">
                    <a:pos x="connsiteX2" y="connsiteY2"/>
                  </a:cxn>
                  <a:cxn ang="0">
                    <a:pos x="connsiteX3" y="connsiteY3"/>
                  </a:cxn>
                </a:cxnLst>
                <a:rect l="l" t="t" r="r" b="b"/>
                <a:pathLst>
                  <a:path w="37823" h="94051">
                    <a:moveTo>
                      <a:pt x="11905" y="-105"/>
                    </a:moveTo>
                    <a:cubicBezTo>
                      <a:pt x="8804" y="8548"/>
                      <a:pt x="3610" y="7286"/>
                      <a:pt x="-34" y="13081"/>
                    </a:cubicBezTo>
                    <a:cubicBezTo>
                      <a:pt x="12473" y="39839"/>
                      <a:pt x="20923" y="67472"/>
                      <a:pt x="34644" y="93947"/>
                    </a:cubicBezTo>
                    <a:cubicBezTo>
                      <a:pt x="46944" y="58278"/>
                      <a:pt x="19734" y="31237"/>
                      <a:pt x="11905" y="-105"/>
                    </a:cubicBezTo>
                    <a:close/>
                  </a:path>
                </a:pathLst>
              </a:custGeom>
              <a:grpFill/>
              <a:ln w="25598" cap="flat">
                <a:noFill/>
                <a:prstDash val="solid"/>
                <a:round/>
              </a:ln>
            </p:spPr>
            <p:txBody>
              <a:bodyPr rtlCol="0" anchor="ctr"/>
              <a:lstStyle/>
              <a:p>
                <a:endParaRPr lang="en-LT"/>
              </a:p>
            </p:txBody>
          </p:sp>
          <p:sp>
            <p:nvSpPr>
              <p:cNvPr id="87" name="Freeform 86">
                <a:extLst>
                  <a:ext uri="{FF2B5EF4-FFF2-40B4-BE49-F238E27FC236}">
                    <a16:creationId xmlns:a16="http://schemas.microsoft.com/office/drawing/2014/main" id="{8CB1E709-F96C-3048-8F61-4CB4D602F830}"/>
                  </a:ext>
                </a:extLst>
              </p:cNvPr>
              <p:cNvSpPr/>
              <p:nvPr/>
            </p:nvSpPr>
            <p:spPr>
              <a:xfrm rot="-1917689">
                <a:off x="5747722" y="2484533"/>
                <a:ext cx="35820" cy="95313"/>
              </a:xfrm>
              <a:custGeom>
                <a:avLst/>
                <a:gdLst>
                  <a:gd name="connsiteX0" fmla="*/ 35653 w 35820"/>
                  <a:gd name="connsiteY0" fmla="*/ 95209 h 95313"/>
                  <a:gd name="connsiteX1" fmla="*/ -33 w 35820"/>
                  <a:gd name="connsiteY1" fmla="*/ -105 h 95313"/>
                  <a:gd name="connsiteX2" fmla="*/ 35653 w 35820"/>
                  <a:gd name="connsiteY2" fmla="*/ 95209 h 95313"/>
                </a:gdLst>
                <a:ahLst/>
                <a:cxnLst>
                  <a:cxn ang="0">
                    <a:pos x="connsiteX0" y="connsiteY0"/>
                  </a:cxn>
                  <a:cxn ang="0">
                    <a:pos x="connsiteX1" y="connsiteY1"/>
                  </a:cxn>
                  <a:cxn ang="0">
                    <a:pos x="connsiteX2" y="connsiteY2"/>
                  </a:cxn>
                </a:cxnLst>
                <a:rect l="l" t="t" r="r" b="b"/>
                <a:pathLst>
                  <a:path w="35820" h="95313">
                    <a:moveTo>
                      <a:pt x="35653" y="95209"/>
                    </a:moveTo>
                    <a:cubicBezTo>
                      <a:pt x="37720" y="61703"/>
                      <a:pt x="15471" y="22584"/>
                      <a:pt x="-33" y="-105"/>
                    </a:cubicBezTo>
                    <a:cubicBezTo>
                      <a:pt x="2938" y="33581"/>
                      <a:pt x="24386" y="63326"/>
                      <a:pt x="35653" y="95209"/>
                    </a:cubicBezTo>
                    <a:close/>
                  </a:path>
                </a:pathLst>
              </a:custGeom>
              <a:grpFill/>
              <a:ln w="25598" cap="flat">
                <a:noFill/>
                <a:prstDash val="solid"/>
                <a:round/>
              </a:ln>
            </p:spPr>
            <p:txBody>
              <a:bodyPr rtlCol="0" anchor="ctr"/>
              <a:lstStyle/>
              <a:p>
                <a:endParaRPr lang="en-LT"/>
              </a:p>
            </p:txBody>
          </p:sp>
          <p:sp>
            <p:nvSpPr>
              <p:cNvPr id="88" name="Freeform 87">
                <a:extLst>
                  <a:ext uri="{FF2B5EF4-FFF2-40B4-BE49-F238E27FC236}">
                    <a16:creationId xmlns:a16="http://schemas.microsoft.com/office/drawing/2014/main" id="{3EF5049D-8551-DC4E-93EF-1CB62F2FFB7F}"/>
                  </a:ext>
                </a:extLst>
              </p:cNvPr>
              <p:cNvSpPr/>
              <p:nvPr/>
            </p:nvSpPr>
            <p:spPr>
              <a:xfrm rot="-1917689">
                <a:off x="5862367" y="2500713"/>
                <a:ext cx="61319" cy="150941"/>
              </a:xfrm>
              <a:custGeom>
                <a:avLst/>
                <a:gdLst>
                  <a:gd name="connsiteX0" fmla="*/ 51856 w 61319"/>
                  <a:gd name="connsiteY0" fmla="*/ 150834 h 150941"/>
                  <a:gd name="connsiteX1" fmla="*/ 61288 w 61319"/>
                  <a:gd name="connsiteY1" fmla="*/ 136181 h 150941"/>
                  <a:gd name="connsiteX2" fmla="*/ 10279 w 61319"/>
                  <a:gd name="connsiteY2" fmla="*/ -107 h 150941"/>
                  <a:gd name="connsiteX3" fmla="*/ -31 w 61319"/>
                  <a:gd name="connsiteY3" fmla="*/ 10581 h 150941"/>
                  <a:gd name="connsiteX4" fmla="*/ 39169 w 61319"/>
                  <a:gd name="connsiteY4" fmla="*/ 122042 h 150941"/>
                  <a:gd name="connsiteX5" fmla="*/ 51856 w 61319"/>
                  <a:gd name="connsiteY5" fmla="*/ 150834 h 15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319" h="150941">
                    <a:moveTo>
                      <a:pt x="51856" y="150834"/>
                    </a:moveTo>
                    <a:cubicBezTo>
                      <a:pt x="55009" y="145941"/>
                      <a:pt x="58135" y="141074"/>
                      <a:pt x="61288" y="136181"/>
                    </a:cubicBezTo>
                    <a:cubicBezTo>
                      <a:pt x="45241" y="91885"/>
                      <a:pt x="33380" y="35690"/>
                      <a:pt x="10279" y="-107"/>
                    </a:cubicBezTo>
                    <a:cubicBezTo>
                      <a:pt x="7462" y="6099"/>
                      <a:pt x="3870" y="9036"/>
                      <a:pt x="-31" y="10581"/>
                    </a:cubicBezTo>
                    <a:cubicBezTo>
                      <a:pt x="10021" y="45348"/>
                      <a:pt x="27850" y="87893"/>
                      <a:pt x="39169" y="122042"/>
                    </a:cubicBezTo>
                    <a:cubicBezTo>
                      <a:pt x="42786" y="132781"/>
                      <a:pt x="40538" y="150139"/>
                      <a:pt x="51856" y="150834"/>
                    </a:cubicBezTo>
                    <a:close/>
                  </a:path>
                </a:pathLst>
              </a:custGeom>
              <a:grpFill/>
              <a:ln w="25598" cap="flat">
                <a:noFill/>
                <a:prstDash val="solid"/>
                <a:round/>
              </a:ln>
            </p:spPr>
            <p:txBody>
              <a:bodyPr rtlCol="0" anchor="ctr"/>
              <a:lstStyle/>
              <a:p>
                <a:endParaRPr lang="en-LT"/>
              </a:p>
            </p:txBody>
          </p:sp>
          <p:sp>
            <p:nvSpPr>
              <p:cNvPr id="89" name="Freeform 88">
                <a:extLst>
                  <a:ext uri="{FF2B5EF4-FFF2-40B4-BE49-F238E27FC236}">
                    <a16:creationId xmlns:a16="http://schemas.microsoft.com/office/drawing/2014/main" id="{E88CD5E8-CC61-E440-8BD3-624780F88914}"/>
                  </a:ext>
                </a:extLst>
              </p:cNvPr>
              <p:cNvSpPr/>
              <p:nvPr/>
            </p:nvSpPr>
            <p:spPr>
              <a:xfrm rot="-1917689">
                <a:off x="5861367" y="2525953"/>
                <a:ext cx="55246" cy="155628"/>
              </a:xfrm>
              <a:custGeom>
                <a:avLst/>
                <a:gdLst>
                  <a:gd name="connsiteX0" fmla="*/ 6274 w 55246"/>
                  <a:gd name="connsiteY0" fmla="*/ -107 h 155628"/>
                  <a:gd name="connsiteX1" fmla="*/ -31 w 55246"/>
                  <a:gd name="connsiteY1" fmla="*/ 9705 h 155628"/>
                  <a:gd name="connsiteX2" fmla="*/ 55216 w 55246"/>
                  <a:gd name="connsiteY2" fmla="*/ 155521 h 155628"/>
                  <a:gd name="connsiteX3" fmla="*/ 6274 w 55246"/>
                  <a:gd name="connsiteY3" fmla="*/ -107 h 155628"/>
                </a:gdLst>
                <a:ahLst/>
                <a:cxnLst>
                  <a:cxn ang="0">
                    <a:pos x="connsiteX0" y="connsiteY0"/>
                  </a:cxn>
                  <a:cxn ang="0">
                    <a:pos x="connsiteX1" y="connsiteY1"/>
                  </a:cxn>
                  <a:cxn ang="0">
                    <a:pos x="connsiteX2" y="connsiteY2"/>
                  </a:cxn>
                  <a:cxn ang="0">
                    <a:pos x="connsiteX3" y="connsiteY3"/>
                  </a:cxn>
                </a:cxnLst>
                <a:rect l="l" t="t" r="r" b="b"/>
                <a:pathLst>
                  <a:path w="55246" h="155628">
                    <a:moveTo>
                      <a:pt x="6274" y="-107"/>
                    </a:moveTo>
                    <a:cubicBezTo>
                      <a:pt x="4155" y="3138"/>
                      <a:pt x="2062" y="6409"/>
                      <a:pt x="-31" y="9705"/>
                    </a:cubicBezTo>
                    <a:cubicBezTo>
                      <a:pt x="21003" y="57710"/>
                      <a:pt x="36714" y="106899"/>
                      <a:pt x="55216" y="155521"/>
                    </a:cubicBezTo>
                    <a:cubicBezTo>
                      <a:pt x="47929" y="101645"/>
                      <a:pt x="25189" y="51168"/>
                      <a:pt x="6274" y="-107"/>
                    </a:cubicBezTo>
                    <a:close/>
                  </a:path>
                </a:pathLst>
              </a:custGeom>
              <a:grpFill/>
              <a:ln w="25598" cap="flat">
                <a:noFill/>
                <a:prstDash val="solid"/>
                <a:round/>
              </a:ln>
            </p:spPr>
            <p:txBody>
              <a:bodyPr rtlCol="0" anchor="ctr"/>
              <a:lstStyle/>
              <a:p>
                <a:endParaRPr lang="en-LT"/>
              </a:p>
            </p:txBody>
          </p:sp>
          <p:sp>
            <p:nvSpPr>
              <p:cNvPr id="90" name="Freeform 89">
                <a:extLst>
                  <a:ext uri="{FF2B5EF4-FFF2-40B4-BE49-F238E27FC236}">
                    <a16:creationId xmlns:a16="http://schemas.microsoft.com/office/drawing/2014/main" id="{C3AD4B03-099F-564F-9F3E-B627A92755F2}"/>
                  </a:ext>
                </a:extLst>
              </p:cNvPr>
              <p:cNvSpPr/>
              <p:nvPr/>
            </p:nvSpPr>
            <p:spPr>
              <a:xfrm rot="-1917689">
                <a:off x="6008260" y="2610868"/>
                <a:ext cx="57402" cy="175200"/>
              </a:xfrm>
              <a:custGeom>
                <a:avLst/>
                <a:gdLst>
                  <a:gd name="connsiteX0" fmla="*/ 35348 w 57402"/>
                  <a:gd name="connsiteY0" fmla="*/ 62420 h 175200"/>
                  <a:gd name="connsiteX1" fmla="*/ 22427 w 57402"/>
                  <a:gd name="connsiteY1" fmla="*/ 61055 h 175200"/>
                  <a:gd name="connsiteX2" fmla="*/ 13280 w 57402"/>
                  <a:gd name="connsiteY2" fmla="*/ -109 h 175200"/>
                  <a:gd name="connsiteX3" fmla="*/ -28 w 57402"/>
                  <a:gd name="connsiteY3" fmla="*/ 25927 h 175200"/>
                  <a:gd name="connsiteX4" fmla="*/ 49586 w 57402"/>
                  <a:gd name="connsiteY4" fmla="*/ 175092 h 175200"/>
                  <a:gd name="connsiteX5" fmla="*/ 35348 w 57402"/>
                  <a:gd name="connsiteY5" fmla="*/ 62420 h 17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02" h="175200">
                    <a:moveTo>
                      <a:pt x="35348" y="62420"/>
                    </a:moveTo>
                    <a:cubicBezTo>
                      <a:pt x="29456" y="54308"/>
                      <a:pt x="28422" y="69142"/>
                      <a:pt x="22427" y="61055"/>
                    </a:cubicBezTo>
                    <a:cubicBezTo>
                      <a:pt x="29921" y="38392"/>
                      <a:pt x="19404" y="19644"/>
                      <a:pt x="13280" y="-109"/>
                    </a:cubicBezTo>
                    <a:cubicBezTo>
                      <a:pt x="4313" y="9548"/>
                      <a:pt x="7052" y="16630"/>
                      <a:pt x="-28" y="25927"/>
                    </a:cubicBezTo>
                    <a:cubicBezTo>
                      <a:pt x="19869" y="74910"/>
                      <a:pt x="31110" y="125799"/>
                      <a:pt x="49586" y="175092"/>
                    </a:cubicBezTo>
                    <a:cubicBezTo>
                      <a:pt x="73411" y="131311"/>
                      <a:pt x="34934" y="101128"/>
                      <a:pt x="35348" y="62420"/>
                    </a:cubicBezTo>
                    <a:close/>
                  </a:path>
                </a:pathLst>
              </a:custGeom>
              <a:grpFill/>
              <a:ln w="25598" cap="flat">
                <a:noFill/>
                <a:prstDash val="solid"/>
                <a:round/>
              </a:ln>
            </p:spPr>
            <p:txBody>
              <a:bodyPr rtlCol="0" anchor="ctr"/>
              <a:lstStyle/>
              <a:p>
                <a:endParaRPr lang="en-LT"/>
              </a:p>
            </p:txBody>
          </p:sp>
          <p:sp>
            <p:nvSpPr>
              <p:cNvPr id="91" name="Freeform 90">
                <a:extLst>
                  <a:ext uri="{FF2B5EF4-FFF2-40B4-BE49-F238E27FC236}">
                    <a16:creationId xmlns:a16="http://schemas.microsoft.com/office/drawing/2014/main" id="{24881493-DF6F-3840-A84A-D2138BF382BB}"/>
                  </a:ext>
                </a:extLst>
              </p:cNvPr>
              <p:cNvSpPr/>
              <p:nvPr/>
            </p:nvSpPr>
            <p:spPr>
              <a:xfrm rot="-1917689">
                <a:off x="5424791" y="2640998"/>
                <a:ext cx="138453" cy="219110"/>
              </a:xfrm>
              <a:custGeom>
                <a:avLst/>
                <a:gdLst>
                  <a:gd name="connsiteX0" fmla="*/ 71005 w 138453"/>
                  <a:gd name="connsiteY0" fmla="*/ 128875 h 219110"/>
                  <a:gd name="connsiteX1" fmla="*/ 92608 w 138453"/>
                  <a:gd name="connsiteY1" fmla="*/ 111543 h 219110"/>
                  <a:gd name="connsiteX2" fmla="*/ 71005 w 138453"/>
                  <a:gd name="connsiteY2" fmla="*/ 128875 h 219110"/>
                  <a:gd name="connsiteX3" fmla="*/ 138423 w 138453"/>
                  <a:gd name="connsiteY3" fmla="*/ 137348 h 219110"/>
                  <a:gd name="connsiteX4" fmla="*/ 63873 w 138453"/>
                  <a:gd name="connsiteY4" fmla="*/ -98 h 219110"/>
                  <a:gd name="connsiteX5" fmla="*/ -30 w 138453"/>
                  <a:gd name="connsiteY5" fmla="*/ 93851 h 219110"/>
                  <a:gd name="connsiteX6" fmla="*/ 21572 w 138453"/>
                  <a:gd name="connsiteY6" fmla="*/ 124858 h 219110"/>
                  <a:gd name="connsiteX7" fmla="*/ 44493 w 138453"/>
                  <a:gd name="connsiteY7" fmla="*/ 94598 h 219110"/>
                  <a:gd name="connsiteX8" fmla="*/ 24906 w 138453"/>
                  <a:gd name="connsiteY8" fmla="*/ 130472 h 219110"/>
                  <a:gd name="connsiteX9" fmla="*/ 82349 w 138453"/>
                  <a:gd name="connsiteY9" fmla="*/ 219013 h 219110"/>
                  <a:gd name="connsiteX10" fmla="*/ 138423 w 138453"/>
                  <a:gd name="connsiteY10" fmla="*/ 137348 h 21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453" h="219110">
                    <a:moveTo>
                      <a:pt x="71005" y="128875"/>
                    </a:moveTo>
                    <a:cubicBezTo>
                      <a:pt x="77414" y="119398"/>
                      <a:pt x="85166" y="116308"/>
                      <a:pt x="92608" y="111543"/>
                    </a:cubicBezTo>
                    <a:cubicBezTo>
                      <a:pt x="93125" y="114557"/>
                      <a:pt x="80024" y="137297"/>
                      <a:pt x="71005" y="128875"/>
                    </a:cubicBezTo>
                    <a:close/>
                    <a:moveTo>
                      <a:pt x="138423" y="137348"/>
                    </a:moveTo>
                    <a:cubicBezTo>
                      <a:pt x="112764" y="91687"/>
                      <a:pt x="94029" y="44533"/>
                      <a:pt x="63873" y="-98"/>
                    </a:cubicBezTo>
                    <a:cubicBezTo>
                      <a:pt x="41651" y="27046"/>
                      <a:pt x="21004" y="61221"/>
                      <a:pt x="-30" y="93851"/>
                    </a:cubicBezTo>
                    <a:cubicBezTo>
                      <a:pt x="6998" y="104255"/>
                      <a:pt x="13097" y="114788"/>
                      <a:pt x="21572" y="124858"/>
                    </a:cubicBezTo>
                    <a:cubicBezTo>
                      <a:pt x="29480" y="116050"/>
                      <a:pt x="35139" y="96761"/>
                      <a:pt x="44493" y="94598"/>
                    </a:cubicBezTo>
                    <a:cubicBezTo>
                      <a:pt x="35733" y="107088"/>
                      <a:pt x="28834" y="119115"/>
                      <a:pt x="24906" y="130472"/>
                    </a:cubicBezTo>
                    <a:cubicBezTo>
                      <a:pt x="43433" y="160114"/>
                      <a:pt x="58860" y="190452"/>
                      <a:pt x="82349" y="219013"/>
                    </a:cubicBezTo>
                    <a:cubicBezTo>
                      <a:pt x="100877" y="191096"/>
                      <a:pt x="118578" y="159445"/>
                      <a:pt x="138423" y="137348"/>
                    </a:cubicBezTo>
                    <a:close/>
                  </a:path>
                </a:pathLst>
              </a:custGeom>
              <a:grpFill/>
              <a:ln w="25598" cap="flat">
                <a:noFill/>
                <a:prstDash val="solid"/>
                <a:round/>
              </a:ln>
            </p:spPr>
            <p:txBody>
              <a:bodyPr rtlCol="0" anchor="ctr"/>
              <a:lstStyle/>
              <a:p>
                <a:endParaRPr lang="en-LT"/>
              </a:p>
            </p:txBody>
          </p:sp>
          <p:sp>
            <p:nvSpPr>
              <p:cNvPr id="92" name="Freeform 91">
                <a:extLst>
                  <a:ext uri="{FF2B5EF4-FFF2-40B4-BE49-F238E27FC236}">
                    <a16:creationId xmlns:a16="http://schemas.microsoft.com/office/drawing/2014/main" id="{D05E3A0C-8483-F94C-88C8-0CADF2F96E0E}"/>
                  </a:ext>
                </a:extLst>
              </p:cNvPr>
              <p:cNvSpPr/>
              <p:nvPr/>
            </p:nvSpPr>
            <p:spPr>
              <a:xfrm rot="-1917689">
                <a:off x="5981341" y="2688688"/>
                <a:ext cx="49573" cy="111667"/>
              </a:xfrm>
              <a:custGeom>
                <a:avLst/>
                <a:gdLst>
                  <a:gd name="connsiteX0" fmla="*/ 49547 w 49573"/>
                  <a:gd name="connsiteY0" fmla="*/ 42308 h 111667"/>
                  <a:gd name="connsiteX1" fmla="*/ 31794 w 49573"/>
                  <a:gd name="connsiteY1" fmla="*/ -108 h 111667"/>
                  <a:gd name="connsiteX2" fmla="*/ 11949 w 49573"/>
                  <a:gd name="connsiteY2" fmla="*/ 111559 h 111667"/>
                  <a:gd name="connsiteX3" fmla="*/ 49547 w 49573"/>
                  <a:gd name="connsiteY3" fmla="*/ 42308 h 111667"/>
                </a:gdLst>
                <a:ahLst/>
                <a:cxnLst>
                  <a:cxn ang="0">
                    <a:pos x="connsiteX0" y="connsiteY0"/>
                  </a:cxn>
                  <a:cxn ang="0">
                    <a:pos x="connsiteX1" y="connsiteY1"/>
                  </a:cxn>
                  <a:cxn ang="0">
                    <a:pos x="connsiteX2" y="connsiteY2"/>
                  </a:cxn>
                  <a:cxn ang="0">
                    <a:pos x="connsiteX3" y="connsiteY3"/>
                  </a:cxn>
                </a:cxnLst>
                <a:rect l="l" t="t" r="r" b="b"/>
                <a:pathLst>
                  <a:path w="49573" h="111667">
                    <a:moveTo>
                      <a:pt x="49547" y="42308"/>
                    </a:moveTo>
                    <a:cubicBezTo>
                      <a:pt x="42260" y="28478"/>
                      <a:pt x="42828" y="12897"/>
                      <a:pt x="31794" y="-108"/>
                    </a:cubicBezTo>
                    <a:cubicBezTo>
                      <a:pt x="13344" y="39732"/>
                      <a:pt x="-17019" y="82045"/>
                      <a:pt x="11949" y="111559"/>
                    </a:cubicBezTo>
                    <a:cubicBezTo>
                      <a:pt x="24765" y="88381"/>
                      <a:pt x="31975" y="66490"/>
                      <a:pt x="49547" y="42308"/>
                    </a:cubicBezTo>
                    <a:close/>
                  </a:path>
                </a:pathLst>
              </a:custGeom>
              <a:grpFill/>
              <a:ln w="25598" cap="flat">
                <a:noFill/>
                <a:prstDash val="solid"/>
                <a:round/>
              </a:ln>
            </p:spPr>
            <p:txBody>
              <a:bodyPr rtlCol="0" anchor="ctr"/>
              <a:lstStyle/>
              <a:p>
                <a:endParaRPr lang="en-LT"/>
              </a:p>
            </p:txBody>
          </p:sp>
          <p:sp>
            <p:nvSpPr>
              <p:cNvPr id="93" name="Freeform 92">
                <a:extLst>
                  <a:ext uri="{FF2B5EF4-FFF2-40B4-BE49-F238E27FC236}">
                    <a16:creationId xmlns:a16="http://schemas.microsoft.com/office/drawing/2014/main" id="{021C6726-B556-EE44-BA65-A5972EB7574B}"/>
                  </a:ext>
                </a:extLst>
              </p:cNvPr>
              <p:cNvSpPr/>
              <p:nvPr/>
            </p:nvSpPr>
            <p:spPr>
              <a:xfrm rot="-1917689">
                <a:off x="5652202" y="2687059"/>
                <a:ext cx="234605" cy="458927"/>
              </a:xfrm>
              <a:custGeom>
                <a:avLst/>
                <a:gdLst>
                  <a:gd name="connsiteX0" fmla="*/ 234581 w 234605"/>
                  <a:gd name="connsiteY0" fmla="*/ 392020 h 458927"/>
                  <a:gd name="connsiteX1" fmla="*/ 53542 w 234605"/>
                  <a:gd name="connsiteY1" fmla="*/ -103 h 458927"/>
                  <a:gd name="connsiteX2" fmla="*/ -25 w 234605"/>
                  <a:gd name="connsiteY2" fmla="*/ 83133 h 458927"/>
                  <a:gd name="connsiteX3" fmla="*/ 198533 w 234605"/>
                  <a:gd name="connsiteY3" fmla="*/ 458824 h 458927"/>
                  <a:gd name="connsiteX4" fmla="*/ 234581 w 234605"/>
                  <a:gd name="connsiteY4" fmla="*/ 392020 h 458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605" h="458927">
                    <a:moveTo>
                      <a:pt x="234581" y="392020"/>
                    </a:moveTo>
                    <a:cubicBezTo>
                      <a:pt x="180367" y="259930"/>
                      <a:pt x="121270" y="129000"/>
                      <a:pt x="53542" y="-103"/>
                    </a:cubicBezTo>
                    <a:cubicBezTo>
                      <a:pt x="35660" y="27659"/>
                      <a:pt x="17831" y="55396"/>
                      <a:pt x="-25" y="83133"/>
                    </a:cubicBezTo>
                    <a:cubicBezTo>
                      <a:pt x="73724" y="206775"/>
                      <a:pt x="133338" y="333379"/>
                      <a:pt x="198533" y="458824"/>
                    </a:cubicBezTo>
                    <a:cubicBezTo>
                      <a:pt x="208895" y="436882"/>
                      <a:pt x="219748" y="414863"/>
                      <a:pt x="234581" y="392020"/>
                    </a:cubicBezTo>
                    <a:close/>
                  </a:path>
                </a:pathLst>
              </a:custGeom>
              <a:grpFill/>
              <a:ln w="25598" cap="flat">
                <a:noFill/>
                <a:prstDash val="solid"/>
                <a:round/>
              </a:ln>
            </p:spPr>
            <p:txBody>
              <a:bodyPr rtlCol="0" anchor="ctr"/>
              <a:lstStyle/>
              <a:p>
                <a:endParaRPr lang="en-LT"/>
              </a:p>
            </p:txBody>
          </p:sp>
          <p:sp>
            <p:nvSpPr>
              <p:cNvPr id="94" name="Freeform 93">
                <a:extLst>
                  <a:ext uri="{FF2B5EF4-FFF2-40B4-BE49-F238E27FC236}">
                    <a16:creationId xmlns:a16="http://schemas.microsoft.com/office/drawing/2014/main" id="{34993BC6-825F-3640-81B5-5B4798C6049E}"/>
                  </a:ext>
                </a:extLst>
              </p:cNvPr>
              <p:cNvSpPr/>
              <p:nvPr/>
            </p:nvSpPr>
            <p:spPr>
              <a:xfrm rot="-1917689">
                <a:off x="5423845" y="2777213"/>
                <a:ext cx="40440" cy="60468"/>
              </a:xfrm>
              <a:custGeom>
                <a:avLst/>
                <a:gdLst>
                  <a:gd name="connsiteX0" fmla="*/ 40411 w 40440"/>
                  <a:gd name="connsiteY0" fmla="*/ 30988 h 60468"/>
                  <a:gd name="connsiteX1" fmla="*/ 18860 w 40440"/>
                  <a:gd name="connsiteY1" fmla="*/ -97 h 60468"/>
                  <a:gd name="connsiteX2" fmla="*/ -29 w 40440"/>
                  <a:gd name="connsiteY2" fmla="*/ 29262 h 60468"/>
                  <a:gd name="connsiteX3" fmla="*/ 21547 w 40440"/>
                  <a:gd name="connsiteY3" fmla="*/ 60372 h 60468"/>
                  <a:gd name="connsiteX4" fmla="*/ 40411 w 40440"/>
                  <a:gd name="connsiteY4" fmla="*/ 30988 h 60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40" h="60468">
                    <a:moveTo>
                      <a:pt x="40411" y="30988"/>
                    </a:moveTo>
                    <a:cubicBezTo>
                      <a:pt x="29971" y="21356"/>
                      <a:pt x="29351" y="9561"/>
                      <a:pt x="18860" y="-97"/>
                    </a:cubicBezTo>
                    <a:cubicBezTo>
                      <a:pt x="12555" y="9741"/>
                      <a:pt x="6276" y="19502"/>
                      <a:pt x="-29" y="29262"/>
                    </a:cubicBezTo>
                    <a:cubicBezTo>
                      <a:pt x="6973" y="39667"/>
                      <a:pt x="13072" y="50277"/>
                      <a:pt x="21547" y="60372"/>
                    </a:cubicBezTo>
                    <a:cubicBezTo>
                      <a:pt x="27827" y="50560"/>
                      <a:pt x="34132" y="40774"/>
                      <a:pt x="40411" y="30988"/>
                    </a:cubicBezTo>
                    <a:close/>
                  </a:path>
                </a:pathLst>
              </a:custGeom>
              <a:grpFill/>
              <a:ln w="25598" cap="flat">
                <a:noFill/>
                <a:prstDash val="solid"/>
                <a:round/>
              </a:ln>
            </p:spPr>
            <p:txBody>
              <a:bodyPr rtlCol="0" anchor="ctr"/>
              <a:lstStyle/>
              <a:p>
                <a:endParaRPr lang="en-LT"/>
              </a:p>
            </p:txBody>
          </p:sp>
          <p:sp>
            <p:nvSpPr>
              <p:cNvPr id="95" name="Freeform 94">
                <a:extLst>
                  <a:ext uri="{FF2B5EF4-FFF2-40B4-BE49-F238E27FC236}">
                    <a16:creationId xmlns:a16="http://schemas.microsoft.com/office/drawing/2014/main" id="{F47ABB11-D68C-6E44-AB9B-2B2681FEEF6A}"/>
                  </a:ext>
                </a:extLst>
              </p:cNvPr>
              <p:cNvSpPr/>
              <p:nvPr/>
            </p:nvSpPr>
            <p:spPr>
              <a:xfrm rot="-1917689">
                <a:off x="5477106" y="2781773"/>
                <a:ext cx="74782" cy="117899"/>
              </a:xfrm>
              <a:custGeom>
                <a:avLst/>
                <a:gdLst>
                  <a:gd name="connsiteX0" fmla="*/ 74754 w 74782"/>
                  <a:gd name="connsiteY0" fmla="*/ 90863 h 117899"/>
                  <a:gd name="connsiteX1" fmla="*/ 18861 w 74782"/>
                  <a:gd name="connsiteY1" fmla="*/ -98 h 117899"/>
                  <a:gd name="connsiteX2" fmla="*/ -28 w 74782"/>
                  <a:gd name="connsiteY2" fmla="*/ 29261 h 117899"/>
                  <a:gd name="connsiteX3" fmla="*/ 57415 w 74782"/>
                  <a:gd name="connsiteY3" fmla="*/ 117802 h 117899"/>
                  <a:gd name="connsiteX4" fmla="*/ 74754 w 74782"/>
                  <a:gd name="connsiteY4" fmla="*/ 90863 h 117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82" h="117899">
                    <a:moveTo>
                      <a:pt x="74754" y="90863"/>
                    </a:moveTo>
                    <a:cubicBezTo>
                      <a:pt x="57622" y="60243"/>
                      <a:pt x="36407" y="30446"/>
                      <a:pt x="18861" y="-98"/>
                    </a:cubicBezTo>
                    <a:cubicBezTo>
                      <a:pt x="12582" y="9689"/>
                      <a:pt x="6277" y="19501"/>
                      <a:pt x="-28" y="29261"/>
                    </a:cubicBezTo>
                    <a:cubicBezTo>
                      <a:pt x="20593" y="58440"/>
                      <a:pt x="34340" y="89164"/>
                      <a:pt x="57415" y="117802"/>
                    </a:cubicBezTo>
                    <a:cubicBezTo>
                      <a:pt x="63178" y="108839"/>
                      <a:pt x="68940" y="99851"/>
                      <a:pt x="74754" y="90863"/>
                    </a:cubicBezTo>
                    <a:close/>
                  </a:path>
                </a:pathLst>
              </a:custGeom>
              <a:grpFill/>
              <a:ln w="25598" cap="flat">
                <a:noFill/>
                <a:prstDash val="solid"/>
                <a:round/>
              </a:ln>
            </p:spPr>
            <p:txBody>
              <a:bodyPr rtlCol="0" anchor="ctr"/>
              <a:lstStyle/>
              <a:p>
                <a:endParaRPr lang="en-LT"/>
              </a:p>
            </p:txBody>
          </p:sp>
          <p:sp>
            <p:nvSpPr>
              <p:cNvPr id="96" name="Freeform 95">
                <a:extLst>
                  <a:ext uri="{FF2B5EF4-FFF2-40B4-BE49-F238E27FC236}">
                    <a16:creationId xmlns:a16="http://schemas.microsoft.com/office/drawing/2014/main" id="{9ECA6559-FC14-C241-A037-C36D5793A4DE}"/>
                  </a:ext>
                </a:extLst>
              </p:cNvPr>
              <p:cNvSpPr/>
              <p:nvPr/>
            </p:nvSpPr>
            <p:spPr>
              <a:xfrm rot="-1917689">
                <a:off x="5437816" y="2932768"/>
                <a:ext cx="98633" cy="162993"/>
              </a:xfrm>
              <a:custGeom>
                <a:avLst/>
                <a:gdLst>
                  <a:gd name="connsiteX0" fmla="*/ 26720 w 98633"/>
                  <a:gd name="connsiteY0" fmla="*/ -96 h 162993"/>
                  <a:gd name="connsiteX1" fmla="*/ -25 w 98633"/>
                  <a:gd name="connsiteY1" fmla="*/ 41521 h 162993"/>
                  <a:gd name="connsiteX2" fmla="*/ 70933 w 98633"/>
                  <a:gd name="connsiteY2" fmla="*/ 162897 h 162993"/>
                  <a:gd name="connsiteX3" fmla="*/ 98608 w 98633"/>
                  <a:gd name="connsiteY3" fmla="*/ 125272 h 162993"/>
                  <a:gd name="connsiteX4" fmla="*/ 26720 w 98633"/>
                  <a:gd name="connsiteY4" fmla="*/ -96 h 162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633" h="162993">
                    <a:moveTo>
                      <a:pt x="26720" y="-96"/>
                    </a:moveTo>
                    <a:cubicBezTo>
                      <a:pt x="17831" y="13759"/>
                      <a:pt x="8890" y="27640"/>
                      <a:pt x="-25" y="41521"/>
                    </a:cubicBezTo>
                    <a:cubicBezTo>
                      <a:pt x="22508" y="82212"/>
                      <a:pt x="45299" y="122825"/>
                      <a:pt x="70933" y="162897"/>
                    </a:cubicBezTo>
                    <a:cubicBezTo>
                      <a:pt x="79305" y="146209"/>
                      <a:pt x="90262" y="141934"/>
                      <a:pt x="98608" y="125272"/>
                    </a:cubicBezTo>
                    <a:cubicBezTo>
                      <a:pt x="73130" y="83757"/>
                      <a:pt x="53232" y="41109"/>
                      <a:pt x="26720" y="-96"/>
                    </a:cubicBezTo>
                    <a:close/>
                  </a:path>
                </a:pathLst>
              </a:custGeom>
              <a:grpFill/>
              <a:ln w="25598" cap="flat">
                <a:noFill/>
                <a:prstDash val="solid"/>
                <a:round/>
              </a:ln>
            </p:spPr>
            <p:txBody>
              <a:bodyPr rtlCol="0" anchor="ctr"/>
              <a:lstStyle/>
              <a:p>
                <a:endParaRPr lang="en-LT"/>
              </a:p>
            </p:txBody>
          </p:sp>
          <p:sp>
            <p:nvSpPr>
              <p:cNvPr id="97" name="Freeform 96">
                <a:extLst>
                  <a:ext uri="{FF2B5EF4-FFF2-40B4-BE49-F238E27FC236}">
                    <a16:creationId xmlns:a16="http://schemas.microsoft.com/office/drawing/2014/main" id="{D8C29D8B-46A5-6044-A641-E2A1DABD59F6}"/>
                  </a:ext>
                </a:extLst>
              </p:cNvPr>
              <p:cNvSpPr/>
              <p:nvPr/>
            </p:nvSpPr>
            <p:spPr>
              <a:xfrm rot="-1917689">
                <a:off x="5363617" y="3012543"/>
                <a:ext cx="220677" cy="318982"/>
              </a:xfrm>
              <a:custGeom>
                <a:avLst/>
                <a:gdLst>
                  <a:gd name="connsiteX0" fmla="*/ 147605 w 220677"/>
                  <a:gd name="connsiteY0" fmla="*/ 70186 h 318982"/>
                  <a:gd name="connsiteX1" fmla="*/ 141791 w 220677"/>
                  <a:gd name="connsiteY1" fmla="*/ 63001 h 318982"/>
                  <a:gd name="connsiteX2" fmla="*/ 151274 w 220677"/>
                  <a:gd name="connsiteY2" fmla="*/ 48322 h 318982"/>
                  <a:gd name="connsiteX3" fmla="*/ 160422 w 220677"/>
                  <a:gd name="connsiteY3" fmla="*/ 61095 h 318982"/>
                  <a:gd name="connsiteX4" fmla="*/ 147605 w 220677"/>
                  <a:gd name="connsiteY4" fmla="*/ 70186 h 318982"/>
                  <a:gd name="connsiteX5" fmla="*/ 164091 w 220677"/>
                  <a:gd name="connsiteY5" fmla="*/ 87596 h 318982"/>
                  <a:gd name="connsiteX6" fmla="*/ 200862 w 220677"/>
                  <a:gd name="connsiteY6" fmla="*/ 149069 h 318982"/>
                  <a:gd name="connsiteX7" fmla="*/ 171275 w 220677"/>
                  <a:gd name="connsiteY7" fmla="*/ 81853 h 318982"/>
                  <a:gd name="connsiteX8" fmla="*/ 209622 w 220677"/>
                  <a:gd name="connsiteY8" fmla="*/ 140880 h 318982"/>
                  <a:gd name="connsiteX9" fmla="*/ 220656 w 220677"/>
                  <a:gd name="connsiteY9" fmla="*/ 123754 h 318982"/>
                  <a:gd name="connsiteX10" fmla="*/ 151274 w 220677"/>
                  <a:gd name="connsiteY10" fmla="*/ -95 h 318982"/>
                  <a:gd name="connsiteX11" fmla="*/ 142153 w 220677"/>
                  <a:gd name="connsiteY11" fmla="*/ 35625 h 318982"/>
                  <a:gd name="connsiteX12" fmla="*/ 126028 w 220677"/>
                  <a:gd name="connsiteY12" fmla="*/ 39102 h 318982"/>
                  <a:gd name="connsiteX13" fmla="*/ -22 w 220677"/>
                  <a:gd name="connsiteY13" fmla="*/ 186541 h 318982"/>
                  <a:gd name="connsiteX14" fmla="*/ 31194 w 220677"/>
                  <a:gd name="connsiteY14" fmla="*/ 213376 h 318982"/>
                  <a:gd name="connsiteX15" fmla="*/ 88146 w 220677"/>
                  <a:gd name="connsiteY15" fmla="*/ 318888 h 318982"/>
                  <a:gd name="connsiteX16" fmla="*/ 112074 w 220677"/>
                  <a:gd name="connsiteY16" fmla="*/ 254736 h 318982"/>
                  <a:gd name="connsiteX17" fmla="*/ 190526 w 220677"/>
                  <a:gd name="connsiteY17" fmla="*/ 159757 h 318982"/>
                  <a:gd name="connsiteX18" fmla="*/ 164091 w 220677"/>
                  <a:gd name="connsiteY18" fmla="*/ 87596 h 318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0677" h="318982">
                    <a:moveTo>
                      <a:pt x="147605" y="70186"/>
                    </a:moveTo>
                    <a:cubicBezTo>
                      <a:pt x="146494" y="67611"/>
                      <a:pt x="145254" y="65062"/>
                      <a:pt x="141791" y="63001"/>
                    </a:cubicBezTo>
                    <a:cubicBezTo>
                      <a:pt x="144969" y="58134"/>
                      <a:pt x="148096" y="53215"/>
                      <a:pt x="151274" y="48322"/>
                    </a:cubicBezTo>
                    <a:cubicBezTo>
                      <a:pt x="157683" y="51850"/>
                      <a:pt x="156417" y="57026"/>
                      <a:pt x="160422" y="61095"/>
                    </a:cubicBezTo>
                    <a:cubicBezTo>
                      <a:pt x="155822" y="62692"/>
                      <a:pt x="152205" y="68564"/>
                      <a:pt x="147605" y="70186"/>
                    </a:cubicBezTo>
                    <a:close/>
                    <a:moveTo>
                      <a:pt x="164091" y="87596"/>
                    </a:moveTo>
                    <a:cubicBezTo>
                      <a:pt x="178950" y="104954"/>
                      <a:pt x="184764" y="146005"/>
                      <a:pt x="200862" y="149069"/>
                    </a:cubicBezTo>
                    <a:cubicBezTo>
                      <a:pt x="195384" y="127102"/>
                      <a:pt x="167864" y="98747"/>
                      <a:pt x="171275" y="81853"/>
                    </a:cubicBezTo>
                    <a:cubicBezTo>
                      <a:pt x="186650" y="99777"/>
                      <a:pt x="192077" y="130372"/>
                      <a:pt x="209622" y="140880"/>
                    </a:cubicBezTo>
                    <a:cubicBezTo>
                      <a:pt x="213292" y="135163"/>
                      <a:pt x="216961" y="129471"/>
                      <a:pt x="220656" y="123754"/>
                    </a:cubicBezTo>
                    <a:cubicBezTo>
                      <a:pt x="197193" y="82574"/>
                      <a:pt x="176185" y="40827"/>
                      <a:pt x="151274" y="-95"/>
                    </a:cubicBezTo>
                    <a:cubicBezTo>
                      <a:pt x="140912" y="13374"/>
                      <a:pt x="133083" y="26328"/>
                      <a:pt x="142153" y="35625"/>
                    </a:cubicBezTo>
                    <a:cubicBezTo>
                      <a:pt x="133625" y="42193"/>
                      <a:pt x="131377" y="32097"/>
                      <a:pt x="126028" y="39102"/>
                    </a:cubicBezTo>
                    <a:cubicBezTo>
                      <a:pt x="85381" y="94524"/>
                      <a:pt x="39902" y="127977"/>
                      <a:pt x="-22" y="186541"/>
                    </a:cubicBezTo>
                    <a:cubicBezTo>
                      <a:pt x="4449" y="196816"/>
                      <a:pt x="17291" y="205238"/>
                      <a:pt x="31194" y="213376"/>
                    </a:cubicBezTo>
                    <a:cubicBezTo>
                      <a:pt x="13984" y="255251"/>
                      <a:pt x="37654" y="298697"/>
                      <a:pt x="88146" y="318888"/>
                    </a:cubicBezTo>
                    <a:cubicBezTo>
                      <a:pt x="117966" y="311986"/>
                      <a:pt x="119284" y="272686"/>
                      <a:pt x="112074" y="254736"/>
                    </a:cubicBezTo>
                    <a:cubicBezTo>
                      <a:pt x="135357" y="229060"/>
                      <a:pt x="162954" y="191923"/>
                      <a:pt x="190526" y="159757"/>
                    </a:cubicBezTo>
                    <a:cubicBezTo>
                      <a:pt x="182076" y="135626"/>
                      <a:pt x="157760" y="114998"/>
                      <a:pt x="164091" y="87596"/>
                    </a:cubicBezTo>
                    <a:close/>
                  </a:path>
                </a:pathLst>
              </a:custGeom>
              <a:grpFill/>
              <a:ln w="25598" cap="flat">
                <a:noFill/>
                <a:prstDash val="solid"/>
                <a:round/>
              </a:ln>
            </p:spPr>
            <p:txBody>
              <a:bodyPr rtlCol="0" anchor="ctr"/>
              <a:lstStyle/>
              <a:p>
                <a:endParaRPr lang="en-LT"/>
              </a:p>
            </p:txBody>
          </p:sp>
          <p:sp>
            <p:nvSpPr>
              <p:cNvPr id="98" name="Freeform 97">
                <a:extLst>
                  <a:ext uri="{FF2B5EF4-FFF2-40B4-BE49-F238E27FC236}">
                    <a16:creationId xmlns:a16="http://schemas.microsoft.com/office/drawing/2014/main" id="{BE4168E6-7BE3-D542-BC47-263CB62ACAF2}"/>
                  </a:ext>
                </a:extLst>
              </p:cNvPr>
              <p:cNvSpPr/>
              <p:nvPr/>
            </p:nvSpPr>
            <p:spPr>
              <a:xfrm rot="-1917689">
                <a:off x="5606714" y="3094781"/>
                <a:ext cx="66332" cy="106362"/>
              </a:xfrm>
              <a:custGeom>
                <a:avLst/>
                <a:gdLst>
                  <a:gd name="connsiteX0" fmla="*/ 66311 w 66332"/>
                  <a:gd name="connsiteY0" fmla="*/ 106263 h 106362"/>
                  <a:gd name="connsiteX1" fmla="*/ 13468 w 66332"/>
                  <a:gd name="connsiteY1" fmla="*/ -99 h 106362"/>
                  <a:gd name="connsiteX2" fmla="*/ -21 w 66332"/>
                  <a:gd name="connsiteY2" fmla="*/ 15457 h 106362"/>
                  <a:gd name="connsiteX3" fmla="*/ 66311 w 66332"/>
                  <a:gd name="connsiteY3" fmla="*/ 106263 h 106362"/>
                </a:gdLst>
                <a:ahLst/>
                <a:cxnLst>
                  <a:cxn ang="0">
                    <a:pos x="connsiteX0" y="connsiteY0"/>
                  </a:cxn>
                  <a:cxn ang="0">
                    <a:pos x="connsiteX1" y="connsiteY1"/>
                  </a:cxn>
                  <a:cxn ang="0">
                    <a:pos x="connsiteX2" y="connsiteY2"/>
                  </a:cxn>
                  <a:cxn ang="0">
                    <a:pos x="connsiteX3" y="connsiteY3"/>
                  </a:cxn>
                </a:cxnLst>
                <a:rect l="l" t="t" r="r" b="b"/>
                <a:pathLst>
                  <a:path w="66332" h="106362">
                    <a:moveTo>
                      <a:pt x="66311" y="106263"/>
                    </a:moveTo>
                    <a:cubicBezTo>
                      <a:pt x="48171" y="70904"/>
                      <a:pt x="35122" y="34514"/>
                      <a:pt x="13468" y="-99"/>
                    </a:cubicBezTo>
                    <a:cubicBezTo>
                      <a:pt x="9617" y="8374"/>
                      <a:pt x="3493" y="5748"/>
                      <a:pt x="-21" y="15457"/>
                    </a:cubicBezTo>
                    <a:cubicBezTo>
                      <a:pt x="16956" y="45459"/>
                      <a:pt x="17654" y="90168"/>
                      <a:pt x="66311" y="106263"/>
                    </a:cubicBezTo>
                    <a:close/>
                  </a:path>
                </a:pathLst>
              </a:custGeom>
              <a:grpFill/>
              <a:ln w="25598" cap="flat">
                <a:noFill/>
                <a:prstDash val="solid"/>
                <a:round/>
              </a:ln>
            </p:spPr>
            <p:txBody>
              <a:bodyPr rtlCol="0" anchor="ctr"/>
              <a:lstStyle/>
              <a:p>
                <a:endParaRPr lang="en-LT"/>
              </a:p>
            </p:txBody>
          </p:sp>
          <p:sp>
            <p:nvSpPr>
              <p:cNvPr id="99" name="Freeform 98">
                <a:extLst>
                  <a:ext uri="{FF2B5EF4-FFF2-40B4-BE49-F238E27FC236}">
                    <a16:creationId xmlns:a16="http://schemas.microsoft.com/office/drawing/2014/main" id="{05F41DCD-95C4-004E-91CD-530FE1AC894D}"/>
                  </a:ext>
                </a:extLst>
              </p:cNvPr>
              <p:cNvSpPr/>
              <p:nvPr/>
            </p:nvSpPr>
            <p:spPr>
              <a:xfrm rot="-1917689">
                <a:off x="5603413" y="3133769"/>
                <a:ext cx="28480" cy="52691"/>
              </a:xfrm>
              <a:custGeom>
                <a:avLst/>
                <a:gdLst>
                  <a:gd name="connsiteX0" fmla="*/ 34 w 28480"/>
                  <a:gd name="connsiteY0" fmla="*/ -98 h 52691"/>
                  <a:gd name="connsiteX1" fmla="*/ 28459 w 28480"/>
                  <a:gd name="connsiteY1" fmla="*/ 52594 h 52691"/>
                  <a:gd name="connsiteX2" fmla="*/ 34 w 28480"/>
                  <a:gd name="connsiteY2" fmla="*/ -98 h 52691"/>
                </a:gdLst>
                <a:ahLst/>
                <a:cxnLst>
                  <a:cxn ang="0">
                    <a:pos x="connsiteX0" y="connsiteY0"/>
                  </a:cxn>
                  <a:cxn ang="0">
                    <a:pos x="connsiteX1" y="connsiteY1"/>
                  </a:cxn>
                  <a:cxn ang="0">
                    <a:pos x="connsiteX2" y="connsiteY2"/>
                  </a:cxn>
                </a:cxnLst>
                <a:rect l="l" t="t" r="r" b="b"/>
                <a:pathLst>
                  <a:path w="28480" h="52691">
                    <a:moveTo>
                      <a:pt x="34" y="-98"/>
                    </a:moveTo>
                    <a:cubicBezTo>
                      <a:pt x="-947" y="18342"/>
                      <a:pt x="11198" y="45074"/>
                      <a:pt x="28459" y="52594"/>
                    </a:cubicBezTo>
                    <a:cubicBezTo>
                      <a:pt x="19286" y="34952"/>
                      <a:pt x="15074" y="16204"/>
                      <a:pt x="34" y="-98"/>
                    </a:cubicBezTo>
                    <a:close/>
                  </a:path>
                </a:pathLst>
              </a:custGeom>
              <a:grpFill/>
              <a:ln w="25598" cap="flat">
                <a:noFill/>
                <a:prstDash val="solid"/>
                <a:round/>
              </a:ln>
            </p:spPr>
            <p:txBody>
              <a:bodyPr rtlCol="0" anchor="ctr"/>
              <a:lstStyle/>
              <a:p>
                <a:endParaRPr lang="en-LT"/>
              </a:p>
            </p:txBody>
          </p:sp>
          <p:sp>
            <p:nvSpPr>
              <p:cNvPr id="100" name="Freeform 99">
                <a:extLst>
                  <a:ext uri="{FF2B5EF4-FFF2-40B4-BE49-F238E27FC236}">
                    <a16:creationId xmlns:a16="http://schemas.microsoft.com/office/drawing/2014/main" id="{2CF18046-A050-FB4A-9148-BA20805C304C}"/>
                  </a:ext>
                </a:extLst>
              </p:cNvPr>
              <p:cNvSpPr/>
              <p:nvPr/>
            </p:nvSpPr>
            <p:spPr>
              <a:xfrm rot="-1917689">
                <a:off x="5588774" y="3158973"/>
                <a:ext cx="16528" cy="18719"/>
              </a:xfrm>
              <a:custGeom>
                <a:avLst/>
                <a:gdLst>
                  <a:gd name="connsiteX0" fmla="*/ 16507 w 16528"/>
                  <a:gd name="connsiteY0" fmla="*/ 18239 h 18719"/>
                  <a:gd name="connsiteX1" fmla="*/ 4000 w 16528"/>
                  <a:gd name="connsiteY1" fmla="*/ -98 h 18719"/>
                  <a:gd name="connsiteX2" fmla="*/ 16507 w 16528"/>
                  <a:gd name="connsiteY2" fmla="*/ 18239 h 18719"/>
                </a:gdLst>
                <a:ahLst/>
                <a:cxnLst>
                  <a:cxn ang="0">
                    <a:pos x="connsiteX0" y="connsiteY0"/>
                  </a:cxn>
                  <a:cxn ang="0">
                    <a:pos x="connsiteX1" y="connsiteY1"/>
                  </a:cxn>
                  <a:cxn ang="0">
                    <a:pos x="connsiteX2" y="connsiteY2"/>
                  </a:cxn>
                </a:cxnLst>
                <a:rect l="l" t="t" r="r" b="b"/>
                <a:pathLst>
                  <a:path w="16528" h="18719">
                    <a:moveTo>
                      <a:pt x="16507" y="18239"/>
                    </a:moveTo>
                    <a:cubicBezTo>
                      <a:pt x="8341" y="13011"/>
                      <a:pt x="13251" y="4925"/>
                      <a:pt x="4000" y="-98"/>
                    </a:cubicBezTo>
                    <a:cubicBezTo>
                      <a:pt x="-7705" y="8247"/>
                      <a:pt x="9143" y="20995"/>
                      <a:pt x="16507" y="18239"/>
                    </a:cubicBezTo>
                    <a:close/>
                  </a:path>
                </a:pathLst>
              </a:custGeom>
              <a:grpFill/>
              <a:ln w="25598" cap="flat">
                <a:noFill/>
                <a:prstDash val="solid"/>
                <a:round/>
              </a:ln>
            </p:spPr>
            <p:txBody>
              <a:bodyPr rtlCol="0" anchor="ctr"/>
              <a:lstStyle/>
              <a:p>
                <a:endParaRPr lang="en-LT"/>
              </a:p>
            </p:txBody>
          </p:sp>
          <p:sp>
            <p:nvSpPr>
              <p:cNvPr id="101" name="Freeform 100">
                <a:extLst>
                  <a:ext uri="{FF2B5EF4-FFF2-40B4-BE49-F238E27FC236}">
                    <a16:creationId xmlns:a16="http://schemas.microsoft.com/office/drawing/2014/main" id="{530D607C-D10B-E447-A334-143056E026F2}"/>
                  </a:ext>
                </a:extLst>
              </p:cNvPr>
              <p:cNvSpPr/>
              <p:nvPr/>
            </p:nvSpPr>
            <p:spPr>
              <a:xfrm rot="-1917689">
                <a:off x="5588974" y="3169080"/>
                <a:ext cx="58916" cy="54803"/>
              </a:xfrm>
              <a:custGeom>
                <a:avLst/>
                <a:gdLst>
                  <a:gd name="connsiteX0" fmla="*/ -20 w 58916"/>
                  <a:gd name="connsiteY0" fmla="*/ 17003 h 54803"/>
                  <a:gd name="connsiteX1" fmla="*/ 58896 w 58916"/>
                  <a:gd name="connsiteY1" fmla="*/ 54705 h 54803"/>
                  <a:gd name="connsiteX2" fmla="*/ 10988 w 58916"/>
                  <a:gd name="connsiteY2" fmla="*/ -98 h 54803"/>
                  <a:gd name="connsiteX3" fmla="*/ -20 w 58916"/>
                  <a:gd name="connsiteY3" fmla="*/ 17003 h 54803"/>
                </a:gdLst>
                <a:ahLst/>
                <a:cxnLst>
                  <a:cxn ang="0">
                    <a:pos x="connsiteX0" y="connsiteY0"/>
                  </a:cxn>
                  <a:cxn ang="0">
                    <a:pos x="connsiteX1" y="connsiteY1"/>
                  </a:cxn>
                  <a:cxn ang="0">
                    <a:pos x="connsiteX2" y="connsiteY2"/>
                  </a:cxn>
                  <a:cxn ang="0">
                    <a:pos x="connsiteX3" y="connsiteY3"/>
                  </a:cxn>
                </a:cxnLst>
                <a:rect l="l" t="t" r="r" b="b"/>
                <a:pathLst>
                  <a:path w="58916" h="54803">
                    <a:moveTo>
                      <a:pt x="-20" y="17003"/>
                    </a:moveTo>
                    <a:cubicBezTo>
                      <a:pt x="23805" y="27278"/>
                      <a:pt x="37707" y="50868"/>
                      <a:pt x="58896" y="54705"/>
                    </a:cubicBezTo>
                    <a:cubicBezTo>
                      <a:pt x="50705" y="34772"/>
                      <a:pt x="31428" y="17182"/>
                      <a:pt x="10988" y="-98"/>
                    </a:cubicBezTo>
                    <a:cubicBezTo>
                      <a:pt x="7318" y="5619"/>
                      <a:pt x="3623" y="11311"/>
                      <a:pt x="-20" y="17003"/>
                    </a:cubicBezTo>
                    <a:close/>
                  </a:path>
                </a:pathLst>
              </a:custGeom>
              <a:grpFill/>
              <a:ln w="25598" cap="flat">
                <a:noFill/>
                <a:prstDash val="solid"/>
                <a:round/>
              </a:ln>
            </p:spPr>
            <p:txBody>
              <a:bodyPr rtlCol="0" anchor="ctr"/>
              <a:lstStyle/>
              <a:p>
                <a:endParaRPr lang="en-LT"/>
              </a:p>
            </p:txBody>
          </p:sp>
          <p:sp>
            <p:nvSpPr>
              <p:cNvPr id="102" name="Freeform 101">
                <a:extLst>
                  <a:ext uri="{FF2B5EF4-FFF2-40B4-BE49-F238E27FC236}">
                    <a16:creationId xmlns:a16="http://schemas.microsoft.com/office/drawing/2014/main" id="{EDC3C50C-174B-5B4C-BED4-332DE0B6ED46}"/>
                  </a:ext>
                </a:extLst>
              </p:cNvPr>
              <p:cNvSpPr/>
              <p:nvPr/>
            </p:nvSpPr>
            <p:spPr>
              <a:xfrm rot="-1917689">
                <a:off x="5676546" y="3175694"/>
                <a:ext cx="31877" cy="25378"/>
              </a:xfrm>
              <a:custGeom>
                <a:avLst/>
                <a:gdLst>
                  <a:gd name="connsiteX0" fmla="*/ 22100 w 31877"/>
                  <a:gd name="connsiteY0" fmla="*/ 15108 h 25378"/>
                  <a:gd name="connsiteX1" fmla="*/ 6466 w 31877"/>
                  <a:gd name="connsiteY1" fmla="*/ 1613 h 25378"/>
                  <a:gd name="connsiteX2" fmla="*/ -20 w 31877"/>
                  <a:gd name="connsiteY2" fmla="*/ 969 h 25378"/>
                  <a:gd name="connsiteX3" fmla="*/ 22100 w 31877"/>
                  <a:gd name="connsiteY3" fmla="*/ 15108 h 25378"/>
                </a:gdLst>
                <a:ahLst/>
                <a:cxnLst>
                  <a:cxn ang="0">
                    <a:pos x="connsiteX0" y="connsiteY0"/>
                  </a:cxn>
                  <a:cxn ang="0">
                    <a:pos x="connsiteX1" y="connsiteY1"/>
                  </a:cxn>
                  <a:cxn ang="0">
                    <a:pos x="connsiteX2" y="connsiteY2"/>
                  </a:cxn>
                  <a:cxn ang="0">
                    <a:pos x="connsiteX3" y="connsiteY3"/>
                  </a:cxn>
                </a:cxnLst>
                <a:rect l="l" t="t" r="r" b="b"/>
                <a:pathLst>
                  <a:path w="31877" h="25378">
                    <a:moveTo>
                      <a:pt x="22100" y="15108"/>
                    </a:moveTo>
                    <a:cubicBezTo>
                      <a:pt x="15356" y="9159"/>
                      <a:pt x="24942" y="9365"/>
                      <a:pt x="6466" y="1613"/>
                    </a:cubicBezTo>
                    <a:cubicBezTo>
                      <a:pt x="5407" y="1175"/>
                      <a:pt x="84" y="-1580"/>
                      <a:pt x="-20" y="969"/>
                    </a:cubicBezTo>
                    <a:cubicBezTo>
                      <a:pt x="-200" y="6403"/>
                      <a:pt x="53264" y="42535"/>
                      <a:pt x="22100" y="15108"/>
                    </a:cubicBezTo>
                    <a:close/>
                  </a:path>
                </a:pathLst>
              </a:custGeom>
              <a:grpFill/>
              <a:ln w="25598" cap="flat">
                <a:noFill/>
                <a:prstDash val="solid"/>
                <a:round/>
              </a:ln>
            </p:spPr>
            <p:txBody>
              <a:bodyPr rtlCol="0" anchor="ctr"/>
              <a:lstStyle/>
              <a:p>
                <a:endParaRPr lang="en-LT"/>
              </a:p>
            </p:txBody>
          </p:sp>
          <p:sp>
            <p:nvSpPr>
              <p:cNvPr id="103" name="Freeform 102">
                <a:extLst>
                  <a:ext uri="{FF2B5EF4-FFF2-40B4-BE49-F238E27FC236}">
                    <a16:creationId xmlns:a16="http://schemas.microsoft.com/office/drawing/2014/main" id="{67565992-0A02-5F47-9F5E-62EDA4D627AA}"/>
                  </a:ext>
                </a:extLst>
              </p:cNvPr>
              <p:cNvSpPr/>
              <p:nvPr/>
            </p:nvSpPr>
            <p:spPr>
              <a:xfrm rot="-1917689">
                <a:off x="5889555" y="3182606"/>
                <a:ext cx="68763" cy="47308"/>
              </a:xfrm>
              <a:custGeom>
                <a:avLst/>
                <a:gdLst>
                  <a:gd name="connsiteX0" fmla="*/ 68255 w 68763"/>
                  <a:gd name="connsiteY0" fmla="*/ 29383 h 47308"/>
                  <a:gd name="connsiteX1" fmla="*/ 527 w 68763"/>
                  <a:gd name="connsiteY1" fmla="*/ -104 h 47308"/>
                  <a:gd name="connsiteX2" fmla="*/ 63733 w 68763"/>
                  <a:gd name="connsiteY2" fmla="*/ 47205 h 47308"/>
                  <a:gd name="connsiteX3" fmla="*/ 68255 w 68763"/>
                  <a:gd name="connsiteY3" fmla="*/ 29383 h 47308"/>
                </a:gdLst>
                <a:ahLst/>
                <a:cxnLst>
                  <a:cxn ang="0">
                    <a:pos x="connsiteX0" y="connsiteY0"/>
                  </a:cxn>
                  <a:cxn ang="0">
                    <a:pos x="connsiteX1" y="connsiteY1"/>
                  </a:cxn>
                  <a:cxn ang="0">
                    <a:pos x="connsiteX2" y="connsiteY2"/>
                  </a:cxn>
                  <a:cxn ang="0">
                    <a:pos x="connsiteX3" y="connsiteY3"/>
                  </a:cxn>
                </a:cxnLst>
                <a:rect l="l" t="t" r="r" b="b"/>
                <a:pathLst>
                  <a:path w="68763" h="47308">
                    <a:moveTo>
                      <a:pt x="68255" y="29383"/>
                    </a:moveTo>
                    <a:cubicBezTo>
                      <a:pt x="46291" y="22482"/>
                      <a:pt x="23965" y="13468"/>
                      <a:pt x="527" y="-104"/>
                    </a:cubicBezTo>
                    <a:cubicBezTo>
                      <a:pt x="-5700" y="25675"/>
                      <a:pt x="43009" y="39428"/>
                      <a:pt x="63733" y="47205"/>
                    </a:cubicBezTo>
                    <a:cubicBezTo>
                      <a:pt x="67506" y="40741"/>
                      <a:pt x="69806" y="34637"/>
                      <a:pt x="68255" y="29383"/>
                    </a:cubicBezTo>
                    <a:close/>
                  </a:path>
                </a:pathLst>
              </a:custGeom>
              <a:grpFill/>
              <a:ln w="25598" cap="flat">
                <a:noFill/>
                <a:prstDash val="solid"/>
                <a:round/>
              </a:ln>
            </p:spPr>
            <p:txBody>
              <a:bodyPr rtlCol="0" anchor="ctr"/>
              <a:lstStyle/>
              <a:p>
                <a:endParaRPr lang="en-LT"/>
              </a:p>
            </p:txBody>
          </p:sp>
          <p:sp>
            <p:nvSpPr>
              <p:cNvPr id="104" name="Freeform 103">
                <a:extLst>
                  <a:ext uri="{FF2B5EF4-FFF2-40B4-BE49-F238E27FC236}">
                    <a16:creationId xmlns:a16="http://schemas.microsoft.com/office/drawing/2014/main" id="{05AC9298-B536-B541-803B-4111ECF6AF74}"/>
                  </a:ext>
                </a:extLst>
              </p:cNvPr>
              <p:cNvSpPr/>
              <p:nvPr/>
            </p:nvSpPr>
            <p:spPr>
              <a:xfrm rot="-1917689">
                <a:off x="5823948" y="3192074"/>
                <a:ext cx="22164" cy="12543"/>
              </a:xfrm>
              <a:custGeom>
                <a:avLst/>
                <a:gdLst>
                  <a:gd name="connsiteX0" fmla="*/ 22146 w 22164"/>
                  <a:gd name="connsiteY0" fmla="*/ 12441 h 12543"/>
                  <a:gd name="connsiteX1" fmla="*/ 22146 w 22164"/>
                  <a:gd name="connsiteY1" fmla="*/ 12441 h 12543"/>
                </a:gdLst>
                <a:ahLst/>
                <a:cxnLst>
                  <a:cxn ang="0">
                    <a:pos x="connsiteX0" y="connsiteY0"/>
                  </a:cxn>
                  <a:cxn ang="0">
                    <a:pos x="connsiteX1" y="connsiteY1"/>
                  </a:cxn>
                </a:cxnLst>
                <a:rect l="l" t="t" r="r" b="b"/>
                <a:pathLst>
                  <a:path w="22164" h="12543">
                    <a:moveTo>
                      <a:pt x="22146" y="12441"/>
                    </a:moveTo>
                    <a:cubicBezTo>
                      <a:pt x="-8811" y="-11381"/>
                      <a:pt x="-5969" y="4637"/>
                      <a:pt x="22146" y="12441"/>
                    </a:cubicBezTo>
                    <a:close/>
                  </a:path>
                </a:pathLst>
              </a:custGeom>
              <a:grpFill/>
              <a:ln w="25598" cap="flat">
                <a:noFill/>
                <a:prstDash val="solid"/>
                <a:round/>
              </a:ln>
            </p:spPr>
            <p:txBody>
              <a:bodyPr rtlCol="0" anchor="ctr"/>
              <a:lstStyle/>
              <a:p>
                <a:endParaRPr lang="en-LT"/>
              </a:p>
            </p:txBody>
          </p:sp>
          <p:sp>
            <p:nvSpPr>
              <p:cNvPr id="105" name="Freeform 104">
                <a:extLst>
                  <a:ext uri="{FF2B5EF4-FFF2-40B4-BE49-F238E27FC236}">
                    <a16:creationId xmlns:a16="http://schemas.microsoft.com/office/drawing/2014/main" id="{B0788517-871C-C641-A5E2-F0B495C188A0}"/>
                  </a:ext>
                </a:extLst>
              </p:cNvPr>
              <p:cNvSpPr/>
              <p:nvPr/>
            </p:nvSpPr>
            <p:spPr>
              <a:xfrm rot="-1917689">
                <a:off x="5675727" y="3196137"/>
                <a:ext cx="14798" cy="13377"/>
              </a:xfrm>
              <a:custGeom>
                <a:avLst/>
                <a:gdLst>
                  <a:gd name="connsiteX0" fmla="*/ 14779 w 14798"/>
                  <a:gd name="connsiteY0" fmla="*/ 13278 h 13377"/>
                  <a:gd name="connsiteX1" fmla="*/ 14779 w 14798"/>
                  <a:gd name="connsiteY1" fmla="*/ 13278 h 13377"/>
                </a:gdLst>
                <a:ahLst/>
                <a:cxnLst>
                  <a:cxn ang="0">
                    <a:pos x="connsiteX0" y="connsiteY0"/>
                  </a:cxn>
                  <a:cxn ang="0">
                    <a:pos x="connsiteX1" y="connsiteY1"/>
                  </a:cxn>
                </a:cxnLst>
                <a:rect l="l" t="t" r="r" b="b"/>
                <a:pathLst>
                  <a:path w="14798" h="13377">
                    <a:moveTo>
                      <a:pt x="14779" y="13278"/>
                    </a:moveTo>
                    <a:cubicBezTo>
                      <a:pt x="4365" y="-13969"/>
                      <a:pt x="-12535" y="7973"/>
                      <a:pt x="14779" y="13278"/>
                    </a:cubicBezTo>
                    <a:close/>
                  </a:path>
                </a:pathLst>
              </a:custGeom>
              <a:grpFill/>
              <a:ln w="25598" cap="flat">
                <a:noFill/>
                <a:prstDash val="solid"/>
                <a:round/>
              </a:ln>
            </p:spPr>
            <p:txBody>
              <a:bodyPr rtlCol="0" anchor="ctr"/>
              <a:lstStyle/>
              <a:p>
                <a:endParaRPr lang="en-LT"/>
              </a:p>
            </p:txBody>
          </p:sp>
          <p:sp>
            <p:nvSpPr>
              <p:cNvPr id="106" name="Freeform 105">
                <a:extLst>
                  <a:ext uri="{FF2B5EF4-FFF2-40B4-BE49-F238E27FC236}">
                    <a16:creationId xmlns:a16="http://schemas.microsoft.com/office/drawing/2014/main" id="{FE4489C5-9F75-964E-8901-D50AF11467CA}"/>
                  </a:ext>
                </a:extLst>
              </p:cNvPr>
              <p:cNvSpPr/>
              <p:nvPr/>
            </p:nvSpPr>
            <p:spPr>
              <a:xfrm rot="-1917689">
                <a:off x="5700177" y="3191848"/>
                <a:ext cx="30440" cy="24698"/>
              </a:xfrm>
              <a:custGeom>
                <a:avLst/>
                <a:gdLst>
                  <a:gd name="connsiteX0" fmla="*/ 30421 w 30440"/>
                  <a:gd name="connsiteY0" fmla="*/ 22769 h 24698"/>
                  <a:gd name="connsiteX1" fmla="*/ -20 w 30440"/>
                  <a:gd name="connsiteY1" fmla="*/ -100 h 24698"/>
                  <a:gd name="connsiteX2" fmla="*/ 30421 w 30440"/>
                  <a:gd name="connsiteY2" fmla="*/ 22769 h 24698"/>
                </a:gdLst>
                <a:ahLst/>
                <a:cxnLst>
                  <a:cxn ang="0">
                    <a:pos x="connsiteX0" y="connsiteY0"/>
                  </a:cxn>
                  <a:cxn ang="0">
                    <a:pos x="connsiteX1" y="connsiteY1"/>
                  </a:cxn>
                  <a:cxn ang="0">
                    <a:pos x="connsiteX2" y="connsiteY2"/>
                  </a:cxn>
                </a:cxnLst>
                <a:rect l="l" t="t" r="r" b="b"/>
                <a:pathLst>
                  <a:path w="30440" h="24698">
                    <a:moveTo>
                      <a:pt x="30421" y="22769"/>
                    </a:moveTo>
                    <a:cubicBezTo>
                      <a:pt x="26570" y="15146"/>
                      <a:pt x="4012" y="570"/>
                      <a:pt x="-20" y="-100"/>
                    </a:cubicBezTo>
                    <a:cubicBezTo>
                      <a:pt x="4864" y="6647"/>
                      <a:pt x="17836" y="31474"/>
                      <a:pt x="30421" y="22769"/>
                    </a:cubicBezTo>
                    <a:close/>
                  </a:path>
                </a:pathLst>
              </a:custGeom>
              <a:grpFill/>
              <a:ln w="25598" cap="flat">
                <a:noFill/>
                <a:prstDash val="solid"/>
                <a:round/>
              </a:ln>
            </p:spPr>
            <p:txBody>
              <a:bodyPr rtlCol="0" anchor="ctr"/>
              <a:lstStyle/>
              <a:p>
                <a:endParaRPr lang="en-LT"/>
              </a:p>
            </p:txBody>
          </p:sp>
          <p:sp>
            <p:nvSpPr>
              <p:cNvPr id="107" name="Freeform 106">
                <a:extLst>
                  <a:ext uri="{FF2B5EF4-FFF2-40B4-BE49-F238E27FC236}">
                    <a16:creationId xmlns:a16="http://schemas.microsoft.com/office/drawing/2014/main" id="{13A565B4-8649-6D4D-909B-219DAEB588DD}"/>
                  </a:ext>
                </a:extLst>
              </p:cNvPr>
              <p:cNvSpPr/>
              <p:nvPr/>
            </p:nvSpPr>
            <p:spPr>
              <a:xfrm rot="-1917689">
                <a:off x="5770119" y="3191559"/>
                <a:ext cx="47135" cy="29510"/>
              </a:xfrm>
              <a:custGeom>
                <a:avLst/>
                <a:gdLst>
                  <a:gd name="connsiteX0" fmla="*/ 47117 w 47135"/>
                  <a:gd name="connsiteY0" fmla="*/ 29152 h 29510"/>
                  <a:gd name="connsiteX1" fmla="*/ 2929 w 47135"/>
                  <a:gd name="connsiteY1" fmla="*/ 926 h 29510"/>
                  <a:gd name="connsiteX2" fmla="*/ 47117 w 47135"/>
                  <a:gd name="connsiteY2" fmla="*/ 29152 h 29510"/>
                </a:gdLst>
                <a:ahLst/>
                <a:cxnLst>
                  <a:cxn ang="0">
                    <a:pos x="connsiteX0" y="connsiteY0"/>
                  </a:cxn>
                  <a:cxn ang="0">
                    <a:pos x="connsiteX1" y="connsiteY1"/>
                  </a:cxn>
                  <a:cxn ang="0">
                    <a:pos x="connsiteX2" y="connsiteY2"/>
                  </a:cxn>
                </a:cxnLst>
                <a:rect l="l" t="t" r="r" b="b"/>
                <a:pathLst>
                  <a:path w="47135" h="29510">
                    <a:moveTo>
                      <a:pt x="47117" y="29152"/>
                    </a:moveTo>
                    <a:cubicBezTo>
                      <a:pt x="34403" y="21142"/>
                      <a:pt x="4997" y="2085"/>
                      <a:pt x="2929" y="926"/>
                    </a:cubicBezTo>
                    <a:cubicBezTo>
                      <a:pt x="-11179" y="-6929"/>
                      <a:pt x="28951" y="32963"/>
                      <a:pt x="47117" y="29152"/>
                    </a:cubicBezTo>
                    <a:close/>
                  </a:path>
                </a:pathLst>
              </a:custGeom>
              <a:grpFill/>
              <a:ln w="25598" cap="flat">
                <a:noFill/>
                <a:prstDash val="solid"/>
                <a:round/>
              </a:ln>
            </p:spPr>
            <p:txBody>
              <a:bodyPr rtlCol="0" anchor="ctr"/>
              <a:lstStyle/>
              <a:p>
                <a:endParaRPr lang="en-LT"/>
              </a:p>
            </p:txBody>
          </p:sp>
          <p:sp>
            <p:nvSpPr>
              <p:cNvPr id="108" name="Freeform 107">
                <a:extLst>
                  <a:ext uri="{FF2B5EF4-FFF2-40B4-BE49-F238E27FC236}">
                    <a16:creationId xmlns:a16="http://schemas.microsoft.com/office/drawing/2014/main" id="{18FC26E6-35AD-BC4E-BF82-A53B30D57D63}"/>
                  </a:ext>
                </a:extLst>
              </p:cNvPr>
              <p:cNvSpPr/>
              <p:nvPr/>
            </p:nvSpPr>
            <p:spPr>
              <a:xfrm rot="-1917689">
                <a:off x="5597240" y="3190566"/>
                <a:ext cx="68761" cy="43991"/>
              </a:xfrm>
              <a:custGeom>
                <a:avLst/>
                <a:gdLst>
                  <a:gd name="connsiteX0" fmla="*/ -20 w 68761"/>
                  <a:gd name="connsiteY0" fmla="*/ -67 h 43991"/>
                  <a:gd name="connsiteX1" fmla="*/ 68742 w 68761"/>
                  <a:gd name="connsiteY1" fmla="*/ 43894 h 43991"/>
                  <a:gd name="connsiteX2" fmla="*/ -20 w 68761"/>
                  <a:gd name="connsiteY2" fmla="*/ -67 h 43991"/>
                </a:gdLst>
                <a:ahLst/>
                <a:cxnLst>
                  <a:cxn ang="0">
                    <a:pos x="connsiteX0" y="connsiteY0"/>
                  </a:cxn>
                  <a:cxn ang="0">
                    <a:pos x="connsiteX1" y="connsiteY1"/>
                  </a:cxn>
                  <a:cxn ang="0">
                    <a:pos x="connsiteX2" y="connsiteY2"/>
                  </a:cxn>
                </a:cxnLst>
                <a:rect l="l" t="t" r="r" b="b"/>
                <a:pathLst>
                  <a:path w="68761" h="43991">
                    <a:moveTo>
                      <a:pt x="-20" y="-67"/>
                    </a:moveTo>
                    <a:cubicBezTo>
                      <a:pt x="17216" y="14380"/>
                      <a:pt x="47061" y="37352"/>
                      <a:pt x="68742" y="43894"/>
                    </a:cubicBezTo>
                    <a:cubicBezTo>
                      <a:pt x="49000" y="30708"/>
                      <a:pt x="22306" y="-1227"/>
                      <a:pt x="-20" y="-67"/>
                    </a:cubicBezTo>
                    <a:close/>
                  </a:path>
                </a:pathLst>
              </a:custGeom>
              <a:grpFill/>
              <a:ln w="25598" cap="flat">
                <a:noFill/>
                <a:prstDash val="solid"/>
                <a:round/>
              </a:ln>
            </p:spPr>
            <p:txBody>
              <a:bodyPr rtlCol="0" anchor="ctr"/>
              <a:lstStyle/>
              <a:p>
                <a:endParaRPr lang="en-LT"/>
              </a:p>
            </p:txBody>
          </p:sp>
          <p:sp>
            <p:nvSpPr>
              <p:cNvPr id="109" name="Freeform 108">
                <a:extLst>
                  <a:ext uri="{FF2B5EF4-FFF2-40B4-BE49-F238E27FC236}">
                    <a16:creationId xmlns:a16="http://schemas.microsoft.com/office/drawing/2014/main" id="{FAF20D95-870C-C74D-BEA5-333EDE8B482A}"/>
                  </a:ext>
                </a:extLst>
              </p:cNvPr>
              <p:cNvSpPr/>
              <p:nvPr/>
            </p:nvSpPr>
            <p:spPr>
              <a:xfrm rot="-1917689">
                <a:off x="5822172" y="3202226"/>
                <a:ext cx="50699" cy="28947"/>
              </a:xfrm>
              <a:custGeom>
                <a:avLst/>
                <a:gdLst>
                  <a:gd name="connsiteX0" fmla="*/ -19 w 50699"/>
                  <a:gd name="connsiteY0" fmla="*/ -102 h 28947"/>
                  <a:gd name="connsiteX1" fmla="*/ 50681 w 50699"/>
                  <a:gd name="connsiteY1" fmla="*/ 28845 h 28947"/>
                  <a:gd name="connsiteX2" fmla="*/ -19 w 50699"/>
                  <a:gd name="connsiteY2" fmla="*/ -102 h 28947"/>
                </a:gdLst>
                <a:ahLst/>
                <a:cxnLst>
                  <a:cxn ang="0">
                    <a:pos x="connsiteX0" y="connsiteY0"/>
                  </a:cxn>
                  <a:cxn ang="0">
                    <a:pos x="connsiteX1" y="connsiteY1"/>
                  </a:cxn>
                  <a:cxn ang="0">
                    <a:pos x="connsiteX2" y="connsiteY2"/>
                  </a:cxn>
                </a:cxnLst>
                <a:rect l="l" t="t" r="r" b="b"/>
                <a:pathLst>
                  <a:path w="50699" h="28947">
                    <a:moveTo>
                      <a:pt x="-19" y="-102"/>
                    </a:moveTo>
                    <a:cubicBezTo>
                      <a:pt x="16571" y="8267"/>
                      <a:pt x="35512" y="27196"/>
                      <a:pt x="50681" y="28845"/>
                    </a:cubicBezTo>
                    <a:cubicBezTo>
                      <a:pt x="46133" y="12363"/>
                      <a:pt x="14426" y="1391"/>
                      <a:pt x="-19" y="-102"/>
                    </a:cubicBezTo>
                    <a:close/>
                  </a:path>
                </a:pathLst>
              </a:custGeom>
              <a:grpFill/>
              <a:ln w="25598" cap="flat">
                <a:noFill/>
                <a:prstDash val="solid"/>
                <a:round/>
              </a:ln>
            </p:spPr>
            <p:txBody>
              <a:bodyPr rtlCol="0" anchor="ctr"/>
              <a:lstStyle/>
              <a:p>
                <a:endParaRPr lang="en-LT"/>
              </a:p>
            </p:txBody>
          </p:sp>
          <p:sp>
            <p:nvSpPr>
              <p:cNvPr id="110" name="Freeform 109">
                <a:extLst>
                  <a:ext uri="{FF2B5EF4-FFF2-40B4-BE49-F238E27FC236}">
                    <a16:creationId xmlns:a16="http://schemas.microsoft.com/office/drawing/2014/main" id="{7D6DFA84-861A-794E-AC89-94DF11E40555}"/>
                  </a:ext>
                </a:extLst>
              </p:cNvPr>
              <p:cNvSpPr/>
              <p:nvPr/>
            </p:nvSpPr>
            <p:spPr>
              <a:xfrm rot="-1917689">
                <a:off x="5919505" y="3210199"/>
                <a:ext cx="48993" cy="55583"/>
              </a:xfrm>
              <a:custGeom>
                <a:avLst/>
                <a:gdLst>
                  <a:gd name="connsiteX0" fmla="*/ 48976 w 48993"/>
                  <a:gd name="connsiteY0" fmla="*/ 21202 h 55583"/>
                  <a:gd name="connsiteX1" fmla="*/ -18 w 48993"/>
                  <a:gd name="connsiteY1" fmla="*/ 213 h 55583"/>
                  <a:gd name="connsiteX2" fmla="*/ 26908 w 48993"/>
                  <a:gd name="connsiteY2" fmla="*/ 55480 h 55583"/>
                  <a:gd name="connsiteX3" fmla="*/ 48976 w 48993"/>
                  <a:gd name="connsiteY3" fmla="*/ 21202 h 55583"/>
                </a:gdLst>
                <a:ahLst/>
                <a:cxnLst>
                  <a:cxn ang="0">
                    <a:pos x="connsiteX0" y="connsiteY0"/>
                  </a:cxn>
                  <a:cxn ang="0">
                    <a:pos x="connsiteX1" y="connsiteY1"/>
                  </a:cxn>
                  <a:cxn ang="0">
                    <a:pos x="connsiteX2" y="connsiteY2"/>
                  </a:cxn>
                  <a:cxn ang="0">
                    <a:pos x="connsiteX3" y="connsiteY3"/>
                  </a:cxn>
                </a:cxnLst>
                <a:rect l="l" t="t" r="r" b="b"/>
                <a:pathLst>
                  <a:path w="48993" h="55583">
                    <a:moveTo>
                      <a:pt x="48976" y="21202"/>
                    </a:moveTo>
                    <a:cubicBezTo>
                      <a:pt x="33058" y="16206"/>
                      <a:pt x="14091" y="-2775"/>
                      <a:pt x="-18" y="213"/>
                    </a:cubicBezTo>
                    <a:cubicBezTo>
                      <a:pt x="11869" y="18034"/>
                      <a:pt x="16727" y="37272"/>
                      <a:pt x="26908" y="55480"/>
                    </a:cubicBezTo>
                    <a:cubicBezTo>
                      <a:pt x="34221" y="44071"/>
                      <a:pt x="41611" y="32585"/>
                      <a:pt x="48976" y="21202"/>
                    </a:cubicBezTo>
                    <a:close/>
                  </a:path>
                </a:pathLst>
              </a:custGeom>
              <a:grpFill/>
              <a:ln w="25598" cap="flat">
                <a:noFill/>
                <a:prstDash val="solid"/>
                <a:round/>
              </a:ln>
            </p:spPr>
            <p:txBody>
              <a:bodyPr rtlCol="0" anchor="ctr"/>
              <a:lstStyle/>
              <a:p>
                <a:endParaRPr lang="en-LT"/>
              </a:p>
            </p:txBody>
          </p:sp>
          <p:sp>
            <p:nvSpPr>
              <p:cNvPr id="111" name="Freeform 110">
                <a:extLst>
                  <a:ext uri="{FF2B5EF4-FFF2-40B4-BE49-F238E27FC236}">
                    <a16:creationId xmlns:a16="http://schemas.microsoft.com/office/drawing/2014/main" id="{6E6A06A8-629B-B942-90DD-674BBE69E0FD}"/>
                  </a:ext>
                </a:extLst>
              </p:cNvPr>
              <p:cNvSpPr/>
              <p:nvPr/>
            </p:nvSpPr>
            <p:spPr>
              <a:xfrm rot="-1917689">
                <a:off x="5824356" y="3176492"/>
                <a:ext cx="122384" cy="189725"/>
              </a:xfrm>
              <a:custGeom>
                <a:avLst/>
                <a:gdLst>
                  <a:gd name="connsiteX0" fmla="*/ 122363 w 122384"/>
                  <a:gd name="connsiteY0" fmla="*/ 143782 h 189725"/>
                  <a:gd name="connsiteX1" fmla="*/ 90864 w 122384"/>
                  <a:gd name="connsiteY1" fmla="*/ 57971 h 189725"/>
                  <a:gd name="connsiteX2" fmla="*/ -17 w 122384"/>
                  <a:gd name="connsiteY2" fmla="*/ -103 h 189725"/>
                  <a:gd name="connsiteX3" fmla="*/ 85954 w 122384"/>
                  <a:gd name="connsiteY3" fmla="*/ 189623 h 189725"/>
                  <a:gd name="connsiteX4" fmla="*/ 122363 w 122384"/>
                  <a:gd name="connsiteY4" fmla="*/ 143782 h 189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384" h="189725">
                    <a:moveTo>
                      <a:pt x="122363" y="143782"/>
                    </a:moveTo>
                    <a:cubicBezTo>
                      <a:pt x="122699" y="112852"/>
                      <a:pt x="99675" y="86944"/>
                      <a:pt x="90864" y="57971"/>
                    </a:cubicBezTo>
                    <a:cubicBezTo>
                      <a:pt x="56806" y="40819"/>
                      <a:pt x="29544" y="11048"/>
                      <a:pt x="-17" y="-103"/>
                    </a:cubicBezTo>
                    <a:cubicBezTo>
                      <a:pt x="32464" y="62246"/>
                      <a:pt x="54584" y="126913"/>
                      <a:pt x="85954" y="189623"/>
                    </a:cubicBezTo>
                    <a:cubicBezTo>
                      <a:pt x="97660" y="177081"/>
                      <a:pt x="112880" y="135309"/>
                      <a:pt x="122363" y="143782"/>
                    </a:cubicBezTo>
                    <a:close/>
                  </a:path>
                </a:pathLst>
              </a:custGeom>
              <a:grpFill/>
              <a:ln w="25598" cap="flat">
                <a:noFill/>
                <a:prstDash val="solid"/>
                <a:round/>
              </a:ln>
            </p:spPr>
            <p:txBody>
              <a:bodyPr rtlCol="0" anchor="ctr"/>
              <a:lstStyle/>
              <a:p>
                <a:endParaRPr lang="en-LT"/>
              </a:p>
            </p:txBody>
          </p:sp>
          <p:sp>
            <p:nvSpPr>
              <p:cNvPr id="112" name="Freeform 111">
                <a:extLst>
                  <a:ext uri="{FF2B5EF4-FFF2-40B4-BE49-F238E27FC236}">
                    <a16:creationId xmlns:a16="http://schemas.microsoft.com/office/drawing/2014/main" id="{31DAE8BF-C7E1-E945-80F9-4A937C3296FC}"/>
                  </a:ext>
                </a:extLst>
              </p:cNvPr>
              <p:cNvSpPr/>
              <p:nvPr/>
            </p:nvSpPr>
            <p:spPr>
              <a:xfrm rot="-1917689">
                <a:off x="5712989" y="3218388"/>
                <a:ext cx="17713" cy="26496"/>
              </a:xfrm>
              <a:custGeom>
                <a:avLst/>
                <a:gdLst>
                  <a:gd name="connsiteX0" fmla="*/ -19 w 17713"/>
                  <a:gd name="connsiteY0" fmla="*/ -52 h 26496"/>
                  <a:gd name="connsiteX1" fmla="*/ 14219 w 17713"/>
                  <a:gd name="connsiteY1" fmla="*/ 26397 h 26496"/>
                  <a:gd name="connsiteX2" fmla="*/ -19 w 17713"/>
                  <a:gd name="connsiteY2" fmla="*/ -52 h 26496"/>
                </a:gdLst>
                <a:ahLst/>
                <a:cxnLst>
                  <a:cxn ang="0">
                    <a:pos x="connsiteX0" y="connsiteY0"/>
                  </a:cxn>
                  <a:cxn ang="0">
                    <a:pos x="connsiteX1" y="connsiteY1"/>
                  </a:cxn>
                  <a:cxn ang="0">
                    <a:pos x="connsiteX2" y="connsiteY2"/>
                  </a:cxn>
                </a:cxnLst>
                <a:rect l="l" t="t" r="r" b="b"/>
                <a:pathLst>
                  <a:path w="17713" h="26496">
                    <a:moveTo>
                      <a:pt x="-19" y="-52"/>
                    </a:moveTo>
                    <a:cubicBezTo>
                      <a:pt x="7242" y="8214"/>
                      <a:pt x="9542" y="17589"/>
                      <a:pt x="14219" y="26397"/>
                    </a:cubicBezTo>
                    <a:cubicBezTo>
                      <a:pt x="23703" y="15761"/>
                      <a:pt x="12049" y="-1108"/>
                      <a:pt x="-19" y="-52"/>
                    </a:cubicBezTo>
                    <a:close/>
                  </a:path>
                </a:pathLst>
              </a:custGeom>
              <a:grpFill/>
              <a:ln w="25598" cap="flat">
                <a:noFill/>
                <a:prstDash val="solid"/>
                <a:round/>
              </a:ln>
            </p:spPr>
            <p:txBody>
              <a:bodyPr rtlCol="0" anchor="ctr"/>
              <a:lstStyle/>
              <a:p>
                <a:endParaRPr lang="en-LT"/>
              </a:p>
            </p:txBody>
          </p:sp>
          <p:sp>
            <p:nvSpPr>
              <p:cNvPr id="113" name="Freeform 112">
                <a:extLst>
                  <a:ext uri="{FF2B5EF4-FFF2-40B4-BE49-F238E27FC236}">
                    <a16:creationId xmlns:a16="http://schemas.microsoft.com/office/drawing/2014/main" id="{0D6C51F9-A42A-7143-A1DD-B40677275C2B}"/>
                  </a:ext>
                </a:extLst>
              </p:cNvPr>
              <p:cNvSpPr/>
              <p:nvPr/>
            </p:nvSpPr>
            <p:spPr>
              <a:xfrm rot="-1917689">
                <a:off x="5683451" y="1771367"/>
                <a:ext cx="172365" cy="298678"/>
              </a:xfrm>
              <a:custGeom>
                <a:avLst/>
                <a:gdLst>
                  <a:gd name="connsiteX0" fmla="*/ 139932 w 172365"/>
                  <a:gd name="connsiteY0" fmla="*/ 120665 h 298678"/>
                  <a:gd name="connsiteX1" fmla="*/ 109311 w 172365"/>
                  <a:gd name="connsiteY1" fmla="*/ 38924 h 298678"/>
                  <a:gd name="connsiteX2" fmla="*/ 139932 w 172365"/>
                  <a:gd name="connsiteY2" fmla="*/ 120665 h 298678"/>
                  <a:gd name="connsiteX3" fmla="*/ 164119 w 172365"/>
                  <a:gd name="connsiteY3" fmla="*/ 66995 h 298678"/>
                  <a:gd name="connsiteX4" fmla="*/ -46 w 172365"/>
                  <a:gd name="connsiteY4" fmla="*/ 31198 h 298678"/>
                  <a:gd name="connsiteX5" fmla="*/ 115565 w 172365"/>
                  <a:gd name="connsiteY5" fmla="*/ 298570 h 298678"/>
                  <a:gd name="connsiteX6" fmla="*/ 132232 w 172365"/>
                  <a:gd name="connsiteY6" fmla="*/ 278122 h 298678"/>
                  <a:gd name="connsiteX7" fmla="*/ 109182 w 172365"/>
                  <a:gd name="connsiteY7" fmla="*/ 211549 h 298678"/>
                  <a:gd name="connsiteX8" fmla="*/ 136961 w 172365"/>
                  <a:gd name="connsiteY8" fmla="*/ 270731 h 298678"/>
                  <a:gd name="connsiteX9" fmla="*/ 164119 w 172365"/>
                  <a:gd name="connsiteY9" fmla="*/ 66995 h 298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365" h="298678">
                    <a:moveTo>
                      <a:pt x="139932" y="120665"/>
                    </a:moveTo>
                    <a:cubicBezTo>
                      <a:pt x="135695" y="108767"/>
                      <a:pt x="135953" y="59913"/>
                      <a:pt x="109311" y="38924"/>
                    </a:cubicBezTo>
                    <a:cubicBezTo>
                      <a:pt x="140785" y="53114"/>
                      <a:pt x="138821" y="92826"/>
                      <a:pt x="139932" y="120665"/>
                    </a:cubicBezTo>
                    <a:close/>
                    <a:moveTo>
                      <a:pt x="164119" y="66995"/>
                    </a:moveTo>
                    <a:cubicBezTo>
                      <a:pt x="142465" y="-8179"/>
                      <a:pt x="55382" y="-20309"/>
                      <a:pt x="-46" y="31198"/>
                    </a:cubicBezTo>
                    <a:cubicBezTo>
                      <a:pt x="43366" y="119275"/>
                      <a:pt x="70344" y="210931"/>
                      <a:pt x="115565" y="298570"/>
                    </a:cubicBezTo>
                    <a:cubicBezTo>
                      <a:pt x="120578" y="289196"/>
                      <a:pt x="126263" y="282887"/>
                      <a:pt x="132232" y="278122"/>
                    </a:cubicBezTo>
                    <a:cubicBezTo>
                      <a:pt x="126392" y="255536"/>
                      <a:pt x="113601" y="234419"/>
                      <a:pt x="109182" y="211549"/>
                    </a:cubicBezTo>
                    <a:cubicBezTo>
                      <a:pt x="120113" y="230916"/>
                      <a:pt x="122438" y="252214"/>
                      <a:pt x="136961" y="270731"/>
                    </a:cubicBezTo>
                    <a:cubicBezTo>
                      <a:pt x="173809" y="212502"/>
                      <a:pt x="179985" y="122391"/>
                      <a:pt x="164119" y="66995"/>
                    </a:cubicBezTo>
                    <a:close/>
                  </a:path>
                </a:pathLst>
              </a:custGeom>
              <a:grpFill/>
              <a:ln w="25598" cap="flat">
                <a:noFill/>
                <a:prstDash val="solid"/>
                <a:round/>
              </a:ln>
            </p:spPr>
            <p:txBody>
              <a:bodyPr rtlCol="0" anchor="ctr"/>
              <a:lstStyle/>
              <a:p>
                <a:endParaRPr lang="en-LT"/>
              </a:p>
            </p:txBody>
          </p:sp>
          <p:sp>
            <p:nvSpPr>
              <p:cNvPr id="114" name="Freeform 113">
                <a:extLst>
                  <a:ext uri="{FF2B5EF4-FFF2-40B4-BE49-F238E27FC236}">
                    <a16:creationId xmlns:a16="http://schemas.microsoft.com/office/drawing/2014/main" id="{DC6F8CAF-FD6C-364D-81AC-98FB404C54CF}"/>
                  </a:ext>
                </a:extLst>
              </p:cNvPr>
              <p:cNvSpPr/>
              <p:nvPr/>
            </p:nvSpPr>
            <p:spPr>
              <a:xfrm rot="-1917689">
                <a:off x="5535033" y="2320352"/>
                <a:ext cx="123646" cy="252255"/>
              </a:xfrm>
              <a:custGeom>
                <a:avLst/>
                <a:gdLst>
                  <a:gd name="connsiteX0" fmla="*/ -36 w 123646"/>
                  <a:gd name="connsiteY0" fmla="*/ 18364 h 252255"/>
                  <a:gd name="connsiteX1" fmla="*/ 95600 w 123646"/>
                  <a:gd name="connsiteY1" fmla="*/ 252154 h 252255"/>
                  <a:gd name="connsiteX2" fmla="*/ 108882 w 123646"/>
                  <a:gd name="connsiteY2" fmla="*/ 177726 h 252255"/>
                  <a:gd name="connsiteX3" fmla="*/ 118882 w 123646"/>
                  <a:gd name="connsiteY3" fmla="*/ 194466 h 252255"/>
                  <a:gd name="connsiteX4" fmla="*/ 123611 w 123646"/>
                  <a:gd name="connsiteY4" fmla="*/ 187152 h 252255"/>
                  <a:gd name="connsiteX5" fmla="*/ 36037 w 123646"/>
                  <a:gd name="connsiteY5" fmla="*/ -102 h 252255"/>
                  <a:gd name="connsiteX6" fmla="*/ -36 w 123646"/>
                  <a:gd name="connsiteY6" fmla="*/ 18364 h 252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646" h="252255">
                    <a:moveTo>
                      <a:pt x="-36" y="18364"/>
                    </a:moveTo>
                    <a:cubicBezTo>
                      <a:pt x="39190" y="94697"/>
                      <a:pt x="59837" y="175099"/>
                      <a:pt x="95600" y="252154"/>
                    </a:cubicBezTo>
                    <a:cubicBezTo>
                      <a:pt x="109631" y="225293"/>
                      <a:pt x="121285" y="198895"/>
                      <a:pt x="108882" y="177726"/>
                    </a:cubicBezTo>
                    <a:cubicBezTo>
                      <a:pt x="114618" y="182799"/>
                      <a:pt x="111595" y="189830"/>
                      <a:pt x="118882" y="194466"/>
                    </a:cubicBezTo>
                    <a:cubicBezTo>
                      <a:pt x="120458" y="192045"/>
                      <a:pt x="122035" y="189599"/>
                      <a:pt x="123611" y="187152"/>
                    </a:cubicBezTo>
                    <a:cubicBezTo>
                      <a:pt x="96892" y="124210"/>
                      <a:pt x="72059" y="60857"/>
                      <a:pt x="36037" y="-102"/>
                    </a:cubicBezTo>
                    <a:cubicBezTo>
                      <a:pt x="24590" y="8526"/>
                      <a:pt x="10791" y="6491"/>
                      <a:pt x="-36" y="18364"/>
                    </a:cubicBezTo>
                    <a:close/>
                  </a:path>
                </a:pathLst>
              </a:custGeom>
              <a:grpFill/>
              <a:ln w="25598" cap="flat">
                <a:noFill/>
                <a:prstDash val="solid"/>
                <a:round/>
              </a:ln>
            </p:spPr>
            <p:txBody>
              <a:bodyPr rtlCol="0" anchor="ctr"/>
              <a:lstStyle/>
              <a:p>
                <a:endParaRPr lang="en-LT"/>
              </a:p>
            </p:txBody>
          </p:sp>
          <p:sp>
            <p:nvSpPr>
              <p:cNvPr id="115" name="Freeform 114">
                <a:extLst>
                  <a:ext uri="{FF2B5EF4-FFF2-40B4-BE49-F238E27FC236}">
                    <a16:creationId xmlns:a16="http://schemas.microsoft.com/office/drawing/2014/main" id="{EE308A4D-0D01-FF47-A417-EEB83B1BF00D}"/>
                  </a:ext>
                </a:extLst>
              </p:cNvPr>
              <p:cNvSpPr/>
              <p:nvPr/>
            </p:nvSpPr>
            <p:spPr>
              <a:xfrm rot="-1917689">
                <a:off x="5853419" y="2498660"/>
                <a:ext cx="12474" cy="47575"/>
              </a:xfrm>
              <a:custGeom>
                <a:avLst/>
                <a:gdLst>
                  <a:gd name="connsiteX0" fmla="*/ 10407 w 12474"/>
                  <a:gd name="connsiteY0" fmla="*/ 37622 h 47575"/>
                  <a:gd name="connsiteX1" fmla="*/ -33 w 12474"/>
                  <a:gd name="connsiteY1" fmla="*/ -107 h 47575"/>
                  <a:gd name="connsiteX2" fmla="*/ 10407 w 12474"/>
                  <a:gd name="connsiteY2" fmla="*/ 37622 h 47575"/>
                </a:gdLst>
                <a:ahLst/>
                <a:cxnLst>
                  <a:cxn ang="0">
                    <a:pos x="connsiteX0" y="connsiteY0"/>
                  </a:cxn>
                  <a:cxn ang="0">
                    <a:pos x="connsiteX1" y="connsiteY1"/>
                  </a:cxn>
                  <a:cxn ang="0">
                    <a:pos x="connsiteX2" y="connsiteY2"/>
                  </a:cxn>
                </a:cxnLst>
                <a:rect l="l" t="t" r="r" b="b"/>
                <a:pathLst>
                  <a:path w="12474" h="47575">
                    <a:moveTo>
                      <a:pt x="10407" y="37622"/>
                    </a:moveTo>
                    <a:cubicBezTo>
                      <a:pt x="8598" y="30334"/>
                      <a:pt x="7332" y="15345"/>
                      <a:pt x="-33" y="-107"/>
                    </a:cubicBezTo>
                    <a:cubicBezTo>
                      <a:pt x="794" y="15525"/>
                      <a:pt x="18288" y="69376"/>
                      <a:pt x="10407" y="37622"/>
                    </a:cubicBezTo>
                    <a:close/>
                  </a:path>
                </a:pathLst>
              </a:custGeom>
              <a:grpFill/>
              <a:ln w="25598" cap="flat">
                <a:noFill/>
                <a:prstDash val="solid"/>
                <a:round/>
              </a:ln>
            </p:spPr>
            <p:txBody>
              <a:bodyPr rtlCol="0" anchor="ctr"/>
              <a:lstStyle/>
              <a:p>
                <a:endParaRPr lang="en-LT"/>
              </a:p>
            </p:txBody>
          </p:sp>
          <p:sp>
            <p:nvSpPr>
              <p:cNvPr id="116" name="Freeform 115">
                <a:extLst>
                  <a:ext uri="{FF2B5EF4-FFF2-40B4-BE49-F238E27FC236}">
                    <a16:creationId xmlns:a16="http://schemas.microsoft.com/office/drawing/2014/main" id="{11A9D824-A699-314B-9EA6-2836E50458E5}"/>
                  </a:ext>
                </a:extLst>
              </p:cNvPr>
              <p:cNvSpPr/>
              <p:nvPr/>
            </p:nvSpPr>
            <p:spPr>
              <a:xfrm rot="-1917689">
                <a:off x="5773209" y="2467034"/>
                <a:ext cx="144009" cy="324571"/>
              </a:xfrm>
              <a:custGeom>
                <a:avLst/>
                <a:gdLst>
                  <a:gd name="connsiteX0" fmla="*/ 102375 w 144009"/>
                  <a:gd name="connsiteY0" fmla="*/ 234998 h 324571"/>
                  <a:gd name="connsiteX1" fmla="*/ 89765 w 144009"/>
                  <a:gd name="connsiteY1" fmla="*/ 206154 h 324571"/>
                  <a:gd name="connsiteX2" fmla="*/ 99352 w 144009"/>
                  <a:gd name="connsiteY2" fmla="*/ 201982 h 324571"/>
                  <a:gd name="connsiteX3" fmla="*/ 102375 w 144009"/>
                  <a:gd name="connsiteY3" fmla="*/ 234998 h 324571"/>
                  <a:gd name="connsiteX4" fmla="*/ 143979 w 144009"/>
                  <a:gd name="connsiteY4" fmla="*/ 251223 h 324571"/>
                  <a:gd name="connsiteX5" fmla="*/ 114288 w 144009"/>
                  <a:gd name="connsiteY5" fmla="*/ 173524 h 324571"/>
                  <a:gd name="connsiteX6" fmla="*/ 79791 w 144009"/>
                  <a:gd name="connsiteY6" fmla="*/ 103114 h 324571"/>
                  <a:gd name="connsiteX7" fmla="*/ 113771 w 144009"/>
                  <a:gd name="connsiteY7" fmla="*/ 190470 h 324571"/>
                  <a:gd name="connsiteX8" fmla="*/ 31831 w 144009"/>
                  <a:gd name="connsiteY8" fmla="*/ -106 h 324571"/>
                  <a:gd name="connsiteX9" fmla="*/ -31 w 144009"/>
                  <a:gd name="connsiteY9" fmla="*/ 27888 h 324571"/>
                  <a:gd name="connsiteX10" fmla="*/ 107259 w 144009"/>
                  <a:gd name="connsiteY10" fmla="*/ 324465 h 324571"/>
                  <a:gd name="connsiteX11" fmla="*/ 143979 w 144009"/>
                  <a:gd name="connsiteY11" fmla="*/ 251223 h 324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4009" h="324571">
                    <a:moveTo>
                      <a:pt x="102375" y="234998"/>
                    </a:moveTo>
                    <a:cubicBezTo>
                      <a:pt x="98396" y="225340"/>
                      <a:pt x="96070" y="215348"/>
                      <a:pt x="89765" y="206154"/>
                    </a:cubicBezTo>
                    <a:cubicBezTo>
                      <a:pt x="92711" y="203553"/>
                      <a:pt x="96484" y="205098"/>
                      <a:pt x="99352" y="201982"/>
                    </a:cubicBezTo>
                    <a:cubicBezTo>
                      <a:pt x="103771" y="212258"/>
                      <a:pt x="105967" y="222997"/>
                      <a:pt x="102375" y="234998"/>
                    </a:cubicBezTo>
                    <a:close/>
                    <a:moveTo>
                      <a:pt x="143979" y="251223"/>
                    </a:moveTo>
                    <a:cubicBezTo>
                      <a:pt x="136381" y="227349"/>
                      <a:pt x="124081" y="199793"/>
                      <a:pt x="114288" y="173524"/>
                    </a:cubicBezTo>
                    <a:cubicBezTo>
                      <a:pt x="105114" y="149007"/>
                      <a:pt x="100721" y="110351"/>
                      <a:pt x="79791" y="103114"/>
                    </a:cubicBezTo>
                    <a:cubicBezTo>
                      <a:pt x="92866" y="131803"/>
                      <a:pt x="105450" y="160673"/>
                      <a:pt x="113771" y="190470"/>
                    </a:cubicBezTo>
                    <a:cubicBezTo>
                      <a:pt x="85760" y="127091"/>
                      <a:pt x="63873" y="62398"/>
                      <a:pt x="31831" y="-106"/>
                    </a:cubicBezTo>
                    <a:cubicBezTo>
                      <a:pt x="21546" y="10891"/>
                      <a:pt x="11546" y="23175"/>
                      <a:pt x="-31" y="27888"/>
                    </a:cubicBezTo>
                    <a:cubicBezTo>
                      <a:pt x="38834" y="126035"/>
                      <a:pt x="71108" y="225701"/>
                      <a:pt x="107259" y="324465"/>
                    </a:cubicBezTo>
                    <a:cubicBezTo>
                      <a:pt x="119585" y="300051"/>
                      <a:pt x="132040" y="275585"/>
                      <a:pt x="143979" y="251223"/>
                    </a:cubicBezTo>
                    <a:close/>
                  </a:path>
                </a:pathLst>
              </a:custGeom>
              <a:grpFill/>
              <a:ln w="25598" cap="flat">
                <a:noFill/>
                <a:prstDash val="solid"/>
                <a:round/>
              </a:ln>
            </p:spPr>
            <p:txBody>
              <a:bodyPr rtlCol="0" anchor="ctr"/>
              <a:lstStyle/>
              <a:p>
                <a:endParaRPr lang="en-LT"/>
              </a:p>
            </p:txBody>
          </p:sp>
          <p:sp>
            <p:nvSpPr>
              <p:cNvPr id="117" name="Freeform 116">
                <a:extLst>
                  <a:ext uri="{FF2B5EF4-FFF2-40B4-BE49-F238E27FC236}">
                    <a16:creationId xmlns:a16="http://schemas.microsoft.com/office/drawing/2014/main" id="{207528CA-A84E-3745-AEFA-8C82120E878B}"/>
                  </a:ext>
                </a:extLst>
              </p:cNvPr>
              <p:cNvSpPr/>
              <p:nvPr/>
            </p:nvSpPr>
            <p:spPr>
              <a:xfrm rot="-1917689">
                <a:off x="5991541" y="2671545"/>
                <a:ext cx="16873" cy="38372"/>
              </a:xfrm>
              <a:custGeom>
                <a:avLst/>
                <a:gdLst>
                  <a:gd name="connsiteX0" fmla="*/ 16845 w 16873"/>
                  <a:gd name="connsiteY0" fmla="*/ 38264 h 38372"/>
                  <a:gd name="connsiteX1" fmla="*/ -28 w 16873"/>
                  <a:gd name="connsiteY1" fmla="*/ -109 h 38372"/>
                  <a:gd name="connsiteX2" fmla="*/ 16845 w 16873"/>
                  <a:gd name="connsiteY2" fmla="*/ 38264 h 38372"/>
                </a:gdLst>
                <a:ahLst/>
                <a:cxnLst>
                  <a:cxn ang="0">
                    <a:pos x="connsiteX0" y="connsiteY0"/>
                  </a:cxn>
                  <a:cxn ang="0">
                    <a:pos x="connsiteX1" y="connsiteY1"/>
                  </a:cxn>
                  <a:cxn ang="0">
                    <a:pos x="connsiteX2" y="connsiteY2"/>
                  </a:cxn>
                </a:cxnLst>
                <a:rect l="l" t="t" r="r" b="b"/>
                <a:pathLst>
                  <a:path w="16873" h="38372">
                    <a:moveTo>
                      <a:pt x="16845" y="38264"/>
                    </a:moveTo>
                    <a:cubicBezTo>
                      <a:pt x="9610" y="27216"/>
                      <a:pt x="11445" y="3085"/>
                      <a:pt x="-28" y="-109"/>
                    </a:cubicBezTo>
                    <a:cubicBezTo>
                      <a:pt x="6096" y="11223"/>
                      <a:pt x="9248" y="34247"/>
                      <a:pt x="16845" y="38264"/>
                    </a:cubicBezTo>
                    <a:close/>
                  </a:path>
                </a:pathLst>
              </a:custGeom>
              <a:grpFill/>
              <a:ln w="25598" cap="flat">
                <a:noFill/>
                <a:prstDash val="solid"/>
                <a:round/>
              </a:ln>
            </p:spPr>
            <p:txBody>
              <a:bodyPr rtlCol="0" anchor="ctr"/>
              <a:lstStyle/>
              <a:p>
                <a:endParaRPr lang="en-LT"/>
              </a:p>
            </p:txBody>
          </p:sp>
          <p:sp>
            <p:nvSpPr>
              <p:cNvPr id="118" name="Freeform 117">
                <a:extLst>
                  <a:ext uri="{FF2B5EF4-FFF2-40B4-BE49-F238E27FC236}">
                    <a16:creationId xmlns:a16="http://schemas.microsoft.com/office/drawing/2014/main" id="{D119AF6F-DB6A-8344-A87B-89ABB8259029}"/>
                  </a:ext>
                </a:extLst>
              </p:cNvPr>
              <p:cNvSpPr/>
              <p:nvPr/>
            </p:nvSpPr>
            <p:spPr>
              <a:xfrm rot="-1917689">
                <a:off x="5200568" y="2999564"/>
                <a:ext cx="1228017" cy="1141935"/>
              </a:xfrm>
              <a:custGeom>
                <a:avLst/>
                <a:gdLst>
                  <a:gd name="connsiteX0" fmla="*/ 629954 w 1228017"/>
                  <a:gd name="connsiteY0" fmla="*/ 970395 h 1141935"/>
                  <a:gd name="connsiteX1" fmla="*/ 870090 w 1228017"/>
                  <a:gd name="connsiteY1" fmla="*/ 591870 h 1141935"/>
                  <a:gd name="connsiteX2" fmla="*/ 906783 w 1228017"/>
                  <a:gd name="connsiteY2" fmla="*/ 604953 h 1141935"/>
                  <a:gd name="connsiteX3" fmla="*/ 629954 w 1228017"/>
                  <a:gd name="connsiteY3" fmla="*/ 970395 h 1141935"/>
                  <a:gd name="connsiteX4" fmla="*/ 649877 w 1228017"/>
                  <a:gd name="connsiteY4" fmla="*/ 858728 h 1141935"/>
                  <a:gd name="connsiteX5" fmla="*/ 633391 w 1228017"/>
                  <a:gd name="connsiteY5" fmla="*/ 889761 h 1141935"/>
                  <a:gd name="connsiteX6" fmla="*/ 649877 w 1228017"/>
                  <a:gd name="connsiteY6" fmla="*/ 858728 h 1141935"/>
                  <a:gd name="connsiteX7" fmla="*/ 725435 w 1228017"/>
                  <a:gd name="connsiteY7" fmla="*/ 741292 h 1141935"/>
                  <a:gd name="connsiteX8" fmla="*/ 704297 w 1228017"/>
                  <a:gd name="connsiteY8" fmla="*/ 779510 h 1141935"/>
                  <a:gd name="connsiteX9" fmla="*/ 725435 w 1228017"/>
                  <a:gd name="connsiteY9" fmla="*/ 741292 h 1141935"/>
                  <a:gd name="connsiteX10" fmla="*/ 774092 w 1228017"/>
                  <a:gd name="connsiteY10" fmla="*/ 654889 h 1141935"/>
                  <a:gd name="connsiteX11" fmla="*/ 834817 w 1228017"/>
                  <a:gd name="connsiteY11" fmla="*/ 565911 h 1141935"/>
                  <a:gd name="connsiteX12" fmla="*/ 749105 w 1228017"/>
                  <a:gd name="connsiteY12" fmla="*/ 704516 h 1141935"/>
                  <a:gd name="connsiteX13" fmla="*/ 774092 w 1228017"/>
                  <a:gd name="connsiteY13" fmla="*/ 654889 h 1141935"/>
                  <a:gd name="connsiteX14" fmla="*/ 897636 w 1228017"/>
                  <a:gd name="connsiteY14" fmla="*/ 505853 h 1141935"/>
                  <a:gd name="connsiteX15" fmla="*/ 945777 w 1228017"/>
                  <a:gd name="connsiteY15" fmla="*/ 522799 h 1141935"/>
                  <a:gd name="connsiteX16" fmla="*/ 919187 w 1228017"/>
                  <a:gd name="connsiteY16" fmla="*/ 574898 h 1141935"/>
                  <a:gd name="connsiteX17" fmla="*/ 873216 w 1228017"/>
                  <a:gd name="connsiteY17" fmla="*/ 538560 h 1141935"/>
                  <a:gd name="connsiteX18" fmla="*/ 897636 w 1228017"/>
                  <a:gd name="connsiteY18" fmla="*/ 505853 h 1141935"/>
                  <a:gd name="connsiteX19" fmla="*/ 904638 w 1228017"/>
                  <a:gd name="connsiteY19" fmla="*/ 759088 h 1141935"/>
                  <a:gd name="connsiteX20" fmla="*/ 922675 w 1228017"/>
                  <a:gd name="connsiteY20" fmla="*/ 725660 h 1141935"/>
                  <a:gd name="connsiteX21" fmla="*/ 904638 w 1228017"/>
                  <a:gd name="connsiteY21" fmla="*/ 759088 h 1141935"/>
                  <a:gd name="connsiteX22" fmla="*/ 698431 w 1228017"/>
                  <a:gd name="connsiteY22" fmla="*/ 1041835 h 1141935"/>
                  <a:gd name="connsiteX23" fmla="*/ 736598 w 1228017"/>
                  <a:gd name="connsiteY23" fmla="*/ 1004055 h 1141935"/>
                  <a:gd name="connsiteX24" fmla="*/ 698431 w 1228017"/>
                  <a:gd name="connsiteY24" fmla="*/ 1041835 h 1141935"/>
                  <a:gd name="connsiteX25" fmla="*/ 595405 w 1228017"/>
                  <a:gd name="connsiteY25" fmla="*/ 937997 h 1141935"/>
                  <a:gd name="connsiteX26" fmla="*/ 605535 w 1228017"/>
                  <a:gd name="connsiteY26" fmla="*/ 916828 h 1141935"/>
                  <a:gd name="connsiteX27" fmla="*/ 595405 w 1228017"/>
                  <a:gd name="connsiteY27" fmla="*/ 937997 h 1141935"/>
                  <a:gd name="connsiteX28" fmla="*/ 538272 w 1228017"/>
                  <a:gd name="connsiteY28" fmla="*/ 638870 h 1141935"/>
                  <a:gd name="connsiteX29" fmla="*/ 554706 w 1228017"/>
                  <a:gd name="connsiteY29" fmla="*/ 607966 h 1141935"/>
                  <a:gd name="connsiteX30" fmla="*/ 538272 w 1228017"/>
                  <a:gd name="connsiteY30" fmla="*/ 638870 h 1141935"/>
                  <a:gd name="connsiteX31" fmla="*/ 366019 w 1228017"/>
                  <a:gd name="connsiteY31" fmla="*/ 1057390 h 1141935"/>
                  <a:gd name="connsiteX32" fmla="*/ 388371 w 1228017"/>
                  <a:gd name="connsiteY32" fmla="*/ 995659 h 1141935"/>
                  <a:gd name="connsiteX33" fmla="*/ 366019 w 1228017"/>
                  <a:gd name="connsiteY33" fmla="*/ 1057390 h 1141935"/>
                  <a:gd name="connsiteX34" fmla="*/ 545688 w 1228017"/>
                  <a:gd name="connsiteY34" fmla="*/ 422541 h 1141935"/>
                  <a:gd name="connsiteX35" fmla="*/ 532458 w 1228017"/>
                  <a:gd name="connsiteY35" fmla="*/ 448578 h 1141935"/>
                  <a:gd name="connsiteX36" fmla="*/ 545688 w 1228017"/>
                  <a:gd name="connsiteY36" fmla="*/ 422541 h 1141935"/>
                  <a:gd name="connsiteX37" fmla="*/ 667965 w 1228017"/>
                  <a:gd name="connsiteY37" fmla="*/ 286459 h 1141935"/>
                  <a:gd name="connsiteX38" fmla="*/ 671480 w 1228017"/>
                  <a:gd name="connsiteY38" fmla="*/ 302530 h 1141935"/>
                  <a:gd name="connsiteX39" fmla="*/ 649050 w 1228017"/>
                  <a:gd name="connsiteY39" fmla="*/ 315844 h 1141935"/>
                  <a:gd name="connsiteX40" fmla="*/ 667965 w 1228017"/>
                  <a:gd name="connsiteY40" fmla="*/ 286459 h 1141935"/>
                  <a:gd name="connsiteX41" fmla="*/ 798486 w 1228017"/>
                  <a:gd name="connsiteY41" fmla="*/ 977992 h 1141935"/>
                  <a:gd name="connsiteX42" fmla="*/ 986449 w 1228017"/>
                  <a:gd name="connsiteY42" fmla="*/ 718036 h 1141935"/>
                  <a:gd name="connsiteX43" fmla="*/ 943890 w 1228017"/>
                  <a:gd name="connsiteY43" fmla="*/ 601064 h 1141935"/>
                  <a:gd name="connsiteX44" fmla="*/ 1008827 w 1228017"/>
                  <a:gd name="connsiteY44" fmla="*/ 473224 h 1141935"/>
                  <a:gd name="connsiteX45" fmla="*/ 1035495 w 1228017"/>
                  <a:gd name="connsiteY45" fmla="*/ 469567 h 1141935"/>
                  <a:gd name="connsiteX46" fmla="*/ 1228006 w 1228017"/>
                  <a:gd name="connsiteY46" fmla="*/ 143476 h 1141935"/>
                  <a:gd name="connsiteX47" fmla="*/ 1181700 w 1228017"/>
                  <a:gd name="connsiteY47" fmla="*/ -100 h 1141935"/>
                  <a:gd name="connsiteX48" fmla="*/ 1067950 w 1228017"/>
                  <a:gd name="connsiteY48" fmla="*/ 203585 h 1141935"/>
                  <a:gd name="connsiteX49" fmla="*/ 1105419 w 1228017"/>
                  <a:gd name="connsiteY49" fmla="*/ 307011 h 1141935"/>
                  <a:gd name="connsiteX50" fmla="*/ 1064126 w 1228017"/>
                  <a:gd name="connsiteY50" fmla="*/ 214916 h 1141935"/>
                  <a:gd name="connsiteX51" fmla="*/ 1027200 w 1228017"/>
                  <a:gd name="connsiteY51" fmla="*/ 277703 h 1141935"/>
                  <a:gd name="connsiteX52" fmla="*/ 1066219 w 1228017"/>
                  <a:gd name="connsiteY52" fmla="*/ 378683 h 1141935"/>
                  <a:gd name="connsiteX53" fmla="*/ 1020921 w 1228017"/>
                  <a:gd name="connsiteY53" fmla="*/ 287490 h 1141935"/>
                  <a:gd name="connsiteX54" fmla="*/ 1018957 w 1228017"/>
                  <a:gd name="connsiteY54" fmla="*/ 317364 h 1141935"/>
                  <a:gd name="connsiteX55" fmla="*/ 1008336 w 1228017"/>
                  <a:gd name="connsiteY55" fmla="*/ 307088 h 1141935"/>
                  <a:gd name="connsiteX56" fmla="*/ 1038751 w 1228017"/>
                  <a:gd name="connsiteY56" fmla="*/ 426739 h 1141935"/>
                  <a:gd name="connsiteX57" fmla="*/ 992548 w 1228017"/>
                  <a:gd name="connsiteY57" fmla="*/ 331580 h 1141935"/>
                  <a:gd name="connsiteX58" fmla="*/ 928799 w 1228017"/>
                  <a:gd name="connsiteY58" fmla="*/ 435933 h 1141935"/>
                  <a:gd name="connsiteX59" fmla="*/ 930918 w 1228017"/>
                  <a:gd name="connsiteY59" fmla="*/ 464931 h 1141935"/>
                  <a:gd name="connsiteX60" fmla="*/ 912029 w 1228017"/>
                  <a:gd name="connsiteY60" fmla="*/ 445925 h 1141935"/>
                  <a:gd name="connsiteX61" fmla="*/ 847092 w 1228017"/>
                  <a:gd name="connsiteY61" fmla="*/ 525349 h 1141935"/>
                  <a:gd name="connsiteX62" fmla="*/ 800682 w 1228017"/>
                  <a:gd name="connsiteY62" fmla="*/ 554399 h 1141935"/>
                  <a:gd name="connsiteX63" fmla="*/ 549978 w 1228017"/>
                  <a:gd name="connsiteY63" fmla="*/ 933207 h 1141935"/>
                  <a:gd name="connsiteX64" fmla="*/ 542665 w 1228017"/>
                  <a:gd name="connsiteY64" fmla="*/ 928468 h 1141935"/>
                  <a:gd name="connsiteX65" fmla="*/ 831122 w 1228017"/>
                  <a:gd name="connsiteY65" fmla="*/ 490968 h 1141935"/>
                  <a:gd name="connsiteX66" fmla="*/ 729543 w 1228017"/>
                  <a:gd name="connsiteY66" fmla="*/ 287850 h 1141935"/>
                  <a:gd name="connsiteX67" fmla="*/ 378448 w 1228017"/>
                  <a:gd name="connsiteY67" fmla="*/ 844203 h 1141935"/>
                  <a:gd name="connsiteX68" fmla="*/ 299299 w 1228017"/>
                  <a:gd name="connsiteY68" fmla="*/ 810903 h 1141935"/>
                  <a:gd name="connsiteX69" fmla="*/ 709698 w 1228017"/>
                  <a:gd name="connsiteY69" fmla="*/ 264801 h 1141935"/>
                  <a:gd name="connsiteX70" fmla="*/ 610496 w 1228017"/>
                  <a:gd name="connsiteY70" fmla="*/ 149554 h 1141935"/>
                  <a:gd name="connsiteX71" fmla="*/ 128519 w 1228017"/>
                  <a:gd name="connsiteY71" fmla="*/ 763929 h 1141935"/>
                  <a:gd name="connsiteX72" fmla="*/ -11 w 1228017"/>
                  <a:gd name="connsiteY72" fmla="*/ 775081 h 1141935"/>
                  <a:gd name="connsiteX73" fmla="*/ 121491 w 1228017"/>
                  <a:gd name="connsiteY73" fmla="*/ 780231 h 1141935"/>
                  <a:gd name="connsiteX74" fmla="*/ 112421 w 1228017"/>
                  <a:gd name="connsiteY74" fmla="*/ 815823 h 1141935"/>
                  <a:gd name="connsiteX75" fmla="*/ 29989 w 1228017"/>
                  <a:gd name="connsiteY75" fmla="*/ 960068 h 1141935"/>
                  <a:gd name="connsiteX76" fmla="*/ 77174 w 1228017"/>
                  <a:gd name="connsiteY76" fmla="*/ 972970 h 1141935"/>
                  <a:gd name="connsiteX77" fmla="*/ 209736 w 1228017"/>
                  <a:gd name="connsiteY77" fmla="*/ 874618 h 1141935"/>
                  <a:gd name="connsiteX78" fmla="*/ 229400 w 1228017"/>
                  <a:gd name="connsiteY78" fmla="*/ 887211 h 1141935"/>
                  <a:gd name="connsiteX79" fmla="*/ 288265 w 1228017"/>
                  <a:gd name="connsiteY79" fmla="*/ 828055 h 1141935"/>
                  <a:gd name="connsiteX80" fmla="*/ 372996 w 1228017"/>
                  <a:gd name="connsiteY80" fmla="*/ 858032 h 1141935"/>
                  <a:gd name="connsiteX81" fmla="*/ 329455 w 1228017"/>
                  <a:gd name="connsiteY81" fmla="*/ 958008 h 1141935"/>
                  <a:gd name="connsiteX82" fmla="*/ 347517 w 1228017"/>
                  <a:gd name="connsiteY82" fmla="*/ 973022 h 1141935"/>
                  <a:gd name="connsiteX83" fmla="*/ 317594 w 1228017"/>
                  <a:gd name="connsiteY83" fmla="*/ 1067898 h 1141935"/>
                  <a:gd name="connsiteX84" fmla="*/ 97071 w 1228017"/>
                  <a:gd name="connsiteY84" fmla="*/ 1044385 h 1141935"/>
                  <a:gd name="connsiteX85" fmla="*/ 270022 w 1228017"/>
                  <a:gd name="connsiteY85" fmla="*/ 1071992 h 1141935"/>
                  <a:gd name="connsiteX86" fmla="*/ 319791 w 1228017"/>
                  <a:gd name="connsiteY86" fmla="*/ 1096948 h 1141935"/>
                  <a:gd name="connsiteX87" fmla="*/ 240719 w 1228017"/>
                  <a:gd name="connsiteY87" fmla="*/ 1112091 h 1141935"/>
                  <a:gd name="connsiteX88" fmla="*/ 335993 w 1228017"/>
                  <a:gd name="connsiteY88" fmla="*/ 1141836 h 1141935"/>
                  <a:gd name="connsiteX89" fmla="*/ 454885 w 1228017"/>
                  <a:gd name="connsiteY89" fmla="*/ 1134908 h 1141935"/>
                  <a:gd name="connsiteX90" fmla="*/ 427132 w 1228017"/>
                  <a:gd name="connsiteY90" fmla="*/ 1124092 h 1141935"/>
                  <a:gd name="connsiteX91" fmla="*/ 567032 w 1228017"/>
                  <a:gd name="connsiteY91" fmla="*/ 1116752 h 1141935"/>
                  <a:gd name="connsiteX92" fmla="*/ 408682 w 1228017"/>
                  <a:gd name="connsiteY92" fmla="*/ 1088140 h 1141935"/>
                  <a:gd name="connsiteX93" fmla="*/ 437520 w 1228017"/>
                  <a:gd name="connsiteY93" fmla="*/ 1027078 h 1141935"/>
                  <a:gd name="connsiteX94" fmla="*/ 456978 w 1228017"/>
                  <a:gd name="connsiteY94" fmla="*/ 1029190 h 1141935"/>
                  <a:gd name="connsiteX95" fmla="*/ 537910 w 1228017"/>
                  <a:gd name="connsiteY95" fmla="*/ 935885 h 1141935"/>
                  <a:gd name="connsiteX96" fmla="*/ 577730 w 1228017"/>
                  <a:gd name="connsiteY96" fmla="*/ 992363 h 1141935"/>
                  <a:gd name="connsiteX97" fmla="*/ 621659 w 1228017"/>
                  <a:gd name="connsiteY97" fmla="*/ 1048042 h 1141935"/>
                  <a:gd name="connsiteX98" fmla="*/ 798486 w 1228017"/>
                  <a:gd name="connsiteY98" fmla="*/ 977992 h 114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28017" h="1141935">
                    <a:moveTo>
                      <a:pt x="629954" y="970395"/>
                    </a:moveTo>
                    <a:cubicBezTo>
                      <a:pt x="714504" y="843559"/>
                      <a:pt x="790630" y="711057"/>
                      <a:pt x="870090" y="591870"/>
                    </a:cubicBezTo>
                    <a:cubicBezTo>
                      <a:pt x="877919" y="576238"/>
                      <a:pt x="894793" y="601682"/>
                      <a:pt x="906783" y="604953"/>
                    </a:cubicBezTo>
                    <a:cubicBezTo>
                      <a:pt x="810605" y="708945"/>
                      <a:pt x="734530" y="904646"/>
                      <a:pt x="629954" y="970395"/>
                    </a:cubicBezTo>
                    <a:close/>
                    <a:moveTo>
                      <a:pt x="649877" y="858728"/>
                    </a:moveTo>
                    <a:cubicBezTo>
                      <a:pt x="657293" y="857955"/>
                      <a:pt x="637499" y="881030"/>
                      <a:pt x="633391" y="889761"/>
                    </a:cubicBezTo>
                    <a:cubicBezTo>
                      <a:pt x="625923" y="890534"/>
                      <a:pt x="645743" y="867484"/>
                      <a:pt x="649877" y="858728"/>
                    </a:cubicBezTo>
                    <a:close/>
                    <a:moveTo>
                      <a:pt x="725435" y="741292"/>
                    </a:moveTo>
                    <a:cubicBezTo>
                      <a:pt x="731766" y="742734"/>
                      <a:pt x="709672" y="768513"/>
                      <a:pt x="704297" y="779510"/>
                    </a:cubicBezTo>
                    <a:cubicBezTo>
                      <a:pt x="697966" y="777991"/>
                      <a:pt x="720060" y="752314"/>
                      <a:pt x="725435" y="741292"/>
                    </a:cubicBezTo>
                    <a:close/>
                    <a:moveTo>
                      <a:pt x="774092" y="654889"/>
                    </a:moveTo>
                    <a:cubicBezTo>
                      <a:pt x="789364" y="628620"/>
                      <a:pt x="814352" y="591201"/>
                      <a:pt x="834817" y="565911"/>
                    </a:cubicBezTo>
                    <a:cubicBezTo>
                      <a:pt x="817479" y="593492"/>
                      <a:pt x="767038" y="679381"/>
                      <a:pt x="749105" y="704516"/>
                    </a:cubicBezTo>
                    <a:cubicBezTo>
                      <a:pt x="714814" y="752572"/>
                      <a:pt x="767296" y="666478"/>
                      <a:pt x="774092" y="654889"/>
                    </a:cubicBezTo>
                    <a:close/>
                    <a:moveTo>
                      <a:pt x="897636" y="505853"/>
                    </a:moveTo>
                    <a:cubicBezTo>
                      <a:pt x="915130" y="517829"/>
                      <a:pt x="931952" y="527306"/>
                      <a:pt x="945777" y="522799"/>
                    </a:cubicBezTo>
                    <a:cubicBezTo>
                      <a:pt x="951332" y="536964"/>
                      <a:pt x="926525" y="557824"/>
                      <a:pt x="919187" y="574898"/>
                    </a:cubicBezTo>
                    <a:cubicBezTo>
                      <a:pt x="900995" y="563387"/>
                      <a:pt x="887765" y="550793"/>
                      <a:pt x="873216" y="538560"/>
                    </a:cubicBezTo>
                    <a:cubicBezTo>
                      <a:pt x="880659" y="524267"/>
                      <a:pt x="889470" y="516387"/>
                      <a:pt x="897636" y="505853"/>
                    </a:cubicBezTo>
                    <a:close/>
                    <a:moveTo>
                      <a:pt x="904638" y="759088"/>
                    </a:moveTo>
                    <a:cubicBezTo>
                      <a:pt x="903527" y="748786"/>
                      <a:pt x="912804" y="732252"/>
                      <a:pt x="922675" y="725660"/>
                    </a:cubicBezTo>
                    <a:cubicBezTo>
                      <a:pt x="924587" y="735060"/>
                      <a:pt x="909367" y="748168"/>
                      <a:pt x="904638" y="759088"/>
                    </a:cubicBezTo>
                    <a:close/>
                    <a:moveTo>
                      <a:pt x="698431" y="1041835"/>
                    </a:moveTo>
                    <a:cubicBezTo>
                      <a:pt x="703083" y="1030555"/>
                      <a:pt x="725822" y="1019069"/>
                      <a:pt x="736598" y="1004055"/>
                    </a:cubicBezTo>
                    <a:cubicBezTo>
                      <a:pt x="733962" y="1024374"/>
                      <a:pt x="710628" y="1033182"/>
                      <a:pt x="698431" y="1041835"/>
                    </a:cubicBezTo>
                    <a:close/>
                    <a:moveTo>
                      <a:pt x="595405" y="937997"/>
                    </a:moveTo>
                    <a:cubicBezTo>
                      <a:pt x="586826" y="941809"/>
                      <a:pt x="602770" y="922468"/>
                      <a:pt x="605535" y="916828"/>
                    </a:cubicBezTo>
                    <a:cubicBezTo>
                      <a:pt x="614062" y="913068"/>
                      <a:pt x="598093" y="932306"/>
                      <a:pt x="595405" y="937997"/>
                    </a:cubicBezTo>
                    <a:close/>
                    <a:moveTo>
                      <a:pt x="538272" y="638870"/>
                    </a:moveTo>
                    <a:cubicBezTo>
                      <a:pt x="535791" y="630294"/>
                      <a:pt x="550469" y="617959"/>
                      <a:pt x="554706" y="607966"/>
                    </a:cubicBezTo>
                    <a:cubicBezTo>
                      <a:pt x="557885" y="607425"/>
                      <a:pt x="546980" y="636501"/>
                      <a:pt x="538272" y="638870"/>
                    </a:cubicBezTo>
                    <a:close/>
                    <a:moveTo>
                      <a:pt x="366019" y="1057390"/>
                    </a:moveTo>
                    <a:cubicBezTo>
                      <a:pt x="364882" y="1038668"/>
                      <a:pt x="377286" y="1017086"/>
                      <a:pt x="388371" y="995659"/>
                    </a:cubicBezTo>
                    <a:cubicBezTo>
                      <a:pt x="385865" y="1015257"/>
                      <a:pt x="378423" y="1035757"/>
                      <a:pt x="366019" y="1057390"/>
                    </a:cubicBezTo>
                    <a:close/>
                    <a:moveTo>
                      <a:pt x="545688" y="422541"/>
                    </a:moveTo>
                    <a:cubicBezTo>
                      <a:pt x="549228" y="429546"/>
                      <a:pt x="535714" y="440182"/>
                      <a:pt x="532458" y="448578"/>
                    </a:cubicBezTo>
                    <a:cubicBezTo>
                      <a:pt x="521941" y="440105"/>
                      <a:pt x="542355" y="429546"/>
                      <a:pt x="545688" y="422541"/>
                    </a:cubicBezTo>
                    <a:close/>
                    <a:moveTo>
                      <a:pt x="667965" y="286459"/>
                    </a:moveTo>
                    <a:cubicBezTo>
                      <a:pt x="673237" y="290940"/>
                      <a:pt x="668637" y="297585"/>
                      <a:pt x="671480" y="302530"/>
                    </a:cubicBezTo>
                    <a:cubicBezTo>
                      <a:pt x="664968" y="311569"/>
                      <a:pt x="655149" y="305208"/>
                      <a:pt x="649050" y="315844"/>
                    </a:cubicBezTo>
                    <a:cubicBezTo>
                      <a:pt x="646466" y="303405"/>
                      <a:pt x="663392" y="298306"/>
                      <a:pt x="667965" y="286459"/>
                    </a:cubicBezTo>
                    <a:close/>
                    <a:moveTo>
                      <a:pt x="798486" y="977992"/>
                    </a:moveTo>
                    <a:cubicBezTo>
                      <a:pt x="849624" y="910441"/>
                      <a:pt x="950867" y="792232"/>
                      <a:pt x="986449" y="718036"/>
                    </a:cubicBezTo>
                    <a:cubicBezTo>
                      <a:pt x="1010094" y="668719"/>
                      <a:pt x="968878" y="634106"/>
                      <a:pt x="943890" y="601064"/>
                    </a:cubicBezTo>
                    <a:cubicBezTo>
                      <a:pt x="974485" y="556923"/>
                      <a:pt x="976217" y="511133"/>
                      <a:pt x="1008827" y="473224"/>
                    </a:cubicBezTo>
                    <a:cubicBezTo>
                      <a:pt x="1016967" y="468434"/>
                      <a:pt x="1028750" y="480589"/>
                      <a:pt x="1035495" y="469567"/>
                    </a:cubicBezTo>
                    <a:cubicBezTo>
                      <a:pt x="1115419" y="365858"/>
                      <a:pt x="1156325" y="252439"/>
                      <a:pt x="1228006" y="143476"/>
                    </a:cubicBezTo>
                    <a:cubicBezTo>
                      <a:pt x="1214208" y="95266"/>
                      <a:pt x="1201804" y="46720"/>
                      <a:pt x="1181700" y="-100"/>
                    </a:cubicBezTo>
                    <a:cubicBezTo>
                      <a:pt x="1143766" y="67761"/>
                      <a:pt x="1105626" y="135724"/>
                      <a:pt x="1067950" y="203585"/>
                    </a:cubicBezTo>
                    <a:cubicBezTo>
                      <a:pt x="1080018" y="238172"/>
                      <a:pt x="1101207" y="270698"/>
                      <a:pt x="1105419" y="307011"/>
                    </a:cubicBezTo>
                    <a:cubicBezTo>
                      <a:pt x="1087434" y="277266"/>
                      <a:pt x="1081930" y="244713"/>
                      <a:pt x="1064126" y="214916"/>
                    </a:cubicBezTo>
                    <a:cubicBezTo>
                      <a:pt x="1049268" y="236343"/>
                      <a:pt x="1043893" y="255813"/>
                      <a:pt x="1027200" y="277703"/>
                    </a:cubicBezTo>
                    <a:cubicBezTo>
                      <a:pt x="1039526" y="311492"/>
                      <a:pt x="1069682" y="341392"/>
                      <a:pt x="1066219" y="378683"/>
                    </a:cubicBezTo>
                    <a:cubicBezTo>
                      <a:pt x="1049965" y="348525"/>
                      <a:pt x="1040895" y="316823"/>
                      <a:pt x="1020921" y="287490"/>
                    </a:cubicBezTo>
                    <a:cubicBezTo>
                      <a:pt x="1003039" y="299851"/>
                      <a:pt x="1028311" y="313835"/>
                      <a:pt x="1018957" y="317364"/>
                    </a:cubicBezTo>
                    <a:cubicBezTo>
                      <a:pt x="1018052" y="314067"/>
                      <a:pt x="1013091" y="296426"/>
                      <a:pt x="1008336" y="307088"/>
                    </a:cubicBezTo>
                    <a:cubicBezTo>
                      <a:pt x="993013" y="352517"/>
                      <a:pt x="1048182" y="382623"/>
                      <a:pt x="1038751" y="426739"/>
                    </a:cubicBezTo>
                    <a:cubicBezTo>
                      <a:pt x="1019319" y="395912"/>
                      <a:pt x="1013324" y="362123"/>
                      <a:pt x="992548" y="331580"/>
                    </a:cubicBezTo>
                    <a:cubicBezTo>
                      <a:pt x="967793" y="367119"/>
                      <a:pt x="954511" y="400213"/>
                      <a:pt x="928799" y="435933"/>
                    </a:cubicBezTo>
                    <a:cubicBezTo>
                      <a:pt x="924381" y="446260"/>
                      <a:pt x="943218" y="459677"/>
                      <a:pt x="930918" y="464931"/>
                    </a:cubicBezTo>
                    <a:cubicBezTo>
                      <a:pt x="923476" y="458956"/>
                      <a:pt x="926551" y="443813"/>
                      <a:pt x="912029" y="445925"/>
                    </a:cubicBezTo>
                    <a:cubicBezTo>
                      <a:pt x="887842" y="460965"/>
                      <a:pt x="867273" y="492281"/>
                      <a:pt x="847092" y="525349"/>
                    </a:cubicBezTo>
                    <a:cubicBezTo>
                      <a:pt x="828461" y="530165"/>
                      <a:pt x="813654" y="538869"/>
                      <a:pt x="800682" y="554399"/>
                    </a:cubicBezTo>
                    <a:cubicBezTo>
                      <a:pt x="709930" y="661997"/>
                      <a:pt x="651557" y="841885"/>
                      <a:pt x="549978" y="933207"/>
                    </a:cubicBezTo>
                    <a:cubicBezTo>
                      <a:pt x="547549" y="931636"/>
                      <a:pt x="545068" y="930039"/>
                      <a:pt x="542665" y="928468"/>
                    </a:cubicBezTo>
                    <a:cubicBezTo>
                      <a:pt x="628610" y="774797"/>
                      <a:pt x="738355" y="646184"/>
                      <a:pt x="831122" y="490968"/>
                    </a:cubicBezTo>
                    <a:cubicBezTo>
                      <a:pt x="795902" y="423545"/>
                      <a:pt x="765487" y="355067"/>
                      <a:pt x="729543" y="287850"/>
                    </a:cubicBezTo>
                    <a:cubicBezTo>
                      <a:pt x="609773" y="478503"/>
                      <a:pt x="482379" y="657954"/>
                      <a:pt x="378448" y="844203"/>
                    </a:cubicBezTo>
                    <a:cubicBezTo>
                      <a:pt x="351523" y="830631"/>
                      <a:pt x="326561" y="826201"/>
                      <a:pt x="299299" y="810903"/>
                    </a:cubicBezTo>
                    <a:cubicBezTo>
                      <a:pt x="440672" y="649738"/>
                      <a:pt x="568221" y="425657"/>
                      <a:pt x="709698" y="264801"/>
                    </a:cubicBezTo>
                    <a:cubicBezTo>
                      <a:pt x="721559" y="216564"/>
                      <a:pt x="648947" y="186768"/>
                      <a:pt x="610496" y="149554"/>
                    </a:cubicBezTo>
                    <a:cubicBezTo>
                      <a:pt x="449251" y="351616"/>
                      <a:pt x="291857" y="571602"/>
                      <a:pt x="128519" y="763929"/>
                    </a:cubicBezTo>
                    <a:cubicBezTo>
                      <a:pt x="85882" y="762229"/>
                      <a:pt x="26785" y="736888"/>
                      <a:pt x="-11" y="775081"/>
                    </a:cubicBezTo>
                    <a:cubicBezTo>
                      <a:pt x="39137" y="770677"/>
                      <a:pt x="79784" y="772994"/>
                      <a:pt x="121491" y="780231"/>
                    </a:cubicBezTo>
                    <a:cubicBezTo>
                      <a:pt x="106891" y="794550"/>
                      <a:pt x="114643" y="804105"/>
                      <a:pt x="112421" y="815823"/>
                    </a:cubicBezTo>
                    <a:cubicBezTo>
                      <a:pt x="79500" y="858702"/>
                      <a:pt x="35648" y="921927"/>
                      <a:pt x="29989" y="960068"/>
                    </a:cubicBezTo>
                    <a:cubicBezTo>
                      <a:pt x="51670" y="970858"/>
                      <a:pt x="58853" y="964832"/>
                      <a:pt x="77174" y="972970"/>
                    </a:cubicBezTo>
                    <a:cubicBezTo>
                      <a:pt x="122679" y="946109"/>
                      <a:pt x="169890" y="926923"/>
                      <a:pt x="209736" y="874618"/>
                    </a:cubicBezTo>
                    <a:cubicBezTo>
                      <a:pt x="216299" y="878790"/>
                      <a:pt x="222863" y="883013"/>
                      <a:pt x="229400" y="887211"/>
                    </a:cubicBezTo>
                    <a:cubicBezTo>
                      <a:pt x="249246" y="868540"/>
                      <a:pt x="268549" y="847113"/>
                      <a:pt x="288265" y="828055"/>
                    </a:cubicBezTo>
                    <a:cubicBezTo>
                      <a:pt x="316354" y="837198"/>
                      <a:pt x="343745" y="843533"/>
                      <a:pt x="372996" y="858032"/>
                    </a:cubicBezTo>
                    <a:cubicBezTo>
                      <a:pt x="351316" y="892877"/>
                      <a:pt x="341290" y="925326"/>
                      <a:pt x="329455" y="958008"/>
                    </a:cubicBezTo>
                    <a:cubicBezTo>
                      <a:pt x="334390" y="963287"/>
                      <a:pt x="349249" y="966403"/>
                      <a:pt x="347517" y="973022"/>
                    </a:cubicBezTo>
                    <a:cubicBezTo>
                      <a:pt x="335889" y="1005034"/>
                      <a:pt x="329713" y="1035835"/>
                      <a:pt x="317594" y="1067898"/>
                    </a:cubicBezTo>
                    <a:cubicBezTo>
                      <a:pt x="240538" y="1043664"/>
                      <a:pt x="165988" y="1031431"/>
                      <a:pt x="97071" y="1044385"/>
                    </a:cubicBezTo>
                    <a:cubicBezTo>
                      <a:pt x="152060" y="1057313"/>
                      <a:pt x="212888" y="1059116"/>
                      <a:pt x="270022" y="1071992"/>
                    </a:cubicBezTo>
                    <a:cubicBezTo>
                      <a:pt x="286405" y="1075727"/>
                      <a:pt x="315811" y="1075006"/>
                      <a:pt x="319791" y="1096948"/>
                    </a:cubicBezTo>
                    <a:cubicBezTo>
                      <a:pt x="294777" y="1101712"/>
                      <a:pt x="255732" y="1093935"/>
                      <a:pt x="240719" y="1112091"/>
                    </a:cubicBezTo>
                    <a:cubicBezTo>
                      <a:pt x="273019" y="1121079"/>
                      <a:pt x="311082" y="1109850"/>
                      <a:pt x="335993" y="1141836"/>
                    </a:cubicBezTo>
                    <a:cubicBezTo>
                      <a:pt x="368862" y="1115413"/>
                      <a:pt x="425995" y="1148043"/>
                      <a:pt x="454885" y="1134908"/>
                    </a:cubicBezTo>
                    <a:cubicBezTo>
                      <a:pt x="447468" y="1136840"/>
                      <a:pt x="425065" y="1138952"/>
                      <a:pt x="427132" y="1124092"/>
                    </a:cubicBezTo>
                    <a:cubicBezTo>
                      <a:pt x="472870" y="1117576"/>
                      <a:pt x="521036" y="1122109"/>
                      <a:pt x="567032" y="1116752"/>
                    </a:cubicBezTo>
                    <a:cubicBezTo>
                      <a:pt x="531993" y="1111421"/>
                      <a:pt x="462120" y="1113147"/>
                      <a:pt x="408682" y="1088140"/>
                    </a:cubicBezTo>
                    <a:cubicBezTo>
                      <a:pt x="423178" y="1066739"/>
                      <a:pt x="433101" y="1046316"/>
                      <a:pt x="437520" y="1027078"/>
                    </a:cubicBezTo>
                    <a:cubicBezTo>
                      <a:pt x="442869" y="1022623"/>
                      <a:pt x="453024" y="1040187"/>
                      <a:pt x="456978" y="1029190"/>
                    </a:cubicBezTo>
                    <a:cubicBezTo>
                      <a:pt x="485687" y="1006038"/>
                      <a:pt x="508969" y="958008"/>
                      <a:pt x="537910" y="935885"/>
                    </a:cubicBezTo>
                    <a:cubicBezTo>
                      <a:pt x="566386" y="947758"/>
                      <a:pt x="568454" y="976267"/>
                      <a:pt x="577730" y="992363"/>
                    </a:cubicBezTo>
                    <a:cubicBezTo>
                      <a:pt x="589049" y="1011910"/>
                      <a:pt x="602511" y="1032332"/>
                      <a:pt x="621659" y="1048042"/>
                    </a:cubicBezTo>
                    <a:cubicBezTo>
                      <a:pt x="706571" y="1117550"/>
                      <a:pt x="746650" y="1046316"/>
                      <a:pt x="798486" y="977992"/>
                    </a:cubicBezTo>
                    <a:close/>
                  </a:path>
                </a:pathLst>
              </a:custGeom>
              <a:grpFill/>
              <a:ln w="25598" cap="flat">
                <a:noFill/>
                <a:prstDash val="solid"/>
                <a:round/>
              </a:ln>
            </p:spPr>
            <p:txBody>
              <a:bodyPr rtlCol="0" anchor="ctr"/>
              <a:lstStyle/>
              <a:p>
                <a:endParaRPr lang="en-LT" dirty="0"/>
              </a:p>
            </p:txBody>
          </p:sp>
          <p:sp>
            <p:nvSpPr>
              <p:cNvPr id="119" name="Freeform 118">
                <a:extLst>
                  <a:ext uri="{FF2B5EF4-FFF2-40B4-BE49-F238E27FC236}">
                    <a16:creationId xmlns:a16="http://schemas.microsoft.com/office/drawing/2014/main" id="{B64FFBFD-809C-D64A-BEEB-6AE8401D7873}"/>
                  </a:ext>
                </a:extLst>
              </p:cNvPr>
              <p:cNvSpPr/>
              <p:nvPr/>
            </p:nvSpPr>
            <p:spPr>
              <a:xfrm rot="-1917689">
                <a:off x="5495934" y="2325758"/>
                <a:ext cx="395075" cy="751126"/>
              </a:xfrm>
              <a:custGeom>
                <a:avLst/>
                <a:gdLst>
                  <a:gd name="connsiteX0" fmla="*/ 316309 w 395075"/>
                  <a:gd name="connsiteY0" fmla="*/ 600109 h 751126"/>
                  <a:gd name="connsiteX1" fmla="*/ 296722 w 395075"/>
                  <a:gd name="connsiteY1" fmla="*/ 635983 h 751126"/>
                  <a:gd name="connsiteX2" fmla="*/ 288350 w 395075"/>
                  <a:gd name="connsiteY2" fmla="*/ 616797 h 751126"/>
                  <a:gd name="connsiteX3" fmla="*/ 316309 w 395075"/>
                  <a:gd name="connsiteY3" fmla="*/ 600109 h 751126"/>
                  <a:gd name="connsiteX4" fmla="*/ 395045 w 395075"/>
                  <a:gd name="connsiteY4" fmla="*/ 564054 h 751126"/>
                  <a:gd name="connsiteX5" fmla="*/ 277032 w 395075"/>
                  <a:gd name="connsiteY5" fmla="*/ 257175 h 751126"/>
                  <a:gd name="connsiteX6" fmla="*/ 234317 w 395075"/>
                  <a:gd name="connsiteY6" fmla="*/ 129618 h 751126"/>
                  <a:gd name="connsiteX7" fmla="*/ 182585 w 395075"/>
                  <a:gd name="connsiteY7" fmla="*/ -102 h 751126"/>
                  <a:gd name="connsiteX8" fmla="*/ -30 w 395075"/>
                  <a:gd name="connsiteY8" fmla="*/ 197530 h 751126"/>
                  <a:gd name="connsiteX9" fmla="*/ 56871 w 395075"/>
                  <a:gd name="connsiteY9" fmla="*/ 303016 h 751126"/>
                  <a:gd name="connsiteX10" fmla="*/ 77646 w 395075"/>
                  <a:gd name="connsiteY10" fmla="*/ 330135 h 751126"/>
                  <a:gd name="connsiteX11" fmla="*/ 157623 w 395075"/>
                  <a:gd name="connsiteY11" fmla="*/ 232709 h 751126"/>
                  <a:gd name="connsiteX12" fmla="*/ 88680 w 395075"/>
                  <a:gd name="connsiteY12" fmla="*/ 361348 h 751126"/>
                  <a:gd name="connsiteX13" fmla="*/ 271347 w 395075"/>
                  <a:gd name="connsiteY13" fmla="*/ 751024 h 751126"/>
                  <a:gd name="connsiteX14" fmla="*/ 395045 w 395075"/>
                  <a:gd name="connsiteY14" fmla="*/ 564054 h 75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5075" h="751126">
                    <a:moveTo>
                      <a:pt x="316309" y="600109"/>
                    </a:moveTo>
                    <a:cubicBezTo>
                      <a:pt x="317756" y="610384"/>
                      <a:pt x="301994" y="624342"/>
                      <a:pt x="296722" y="635983"/>
                    </a:cubicBezTo>
                    <a:cubicBezTo>
                      <a:pt x="293492" y="629699"/>
                      <a:pt x="291554" y="623081"/>
                      <a:pt x="288350" y="616797"/>
                    </a:cubicBezTo>
                    <a:cubicBezTo>
                      <a:pt x="296774" y="607294"/>
                      <a:pt x="307420" y="607783"/>
                      <a:pt x="316309" y="600109"/>
                    </a:cubicBezTo>
                    <a:close/>
                    <a:moveTo>
                      <a:pt x="395045" y="564054"/>
                    </a:moveTo>
                    <a:cubicBezTo>
                      <a:pt x="350470" y="462894"/>
                      <a:pt x="333829" y="355656"/>
                      <a:pt x="277032" y="257175"/>
                    </a:cubicBezTo>
                    <a:cubicBezTo>
                      <a:pt x="274319" y="212004"/>
                      <a:pt x="250054" y="172008"/>
                      <a:pt x="234317" y="129618"/>
                    </a:cubicBezTo>
                    <a:cubicBezTo>
                      <a:pt x="218296" y="86713"/>
                      <a:pt x="202559" y="38322"/>
                      <a:pt x="182585" y="-102"/>
                    </a:cubicBezTo>
                    <a:cubicBezTo>
                      <a:pt x="114495" y="32888"/>
                      <a:pt x="57026" y="114295"/>
                      <a:pt x="-30" y="197530"/>
                    </a:cubicBezTo>
                    <a:cubicBezTo>
                      <a:pt x="24467" y="228280"/>
                      <a:pt x="40669" y="270953"/>
                      <a:pt x="56871" y="303016"/>
                    </a:cubicBezTo>
                    <a:cubicBezTo>
                      <a:pt x="62375" y="313807"/>
                      <a:pt x="69016" y="328100"/>
                      <a:pt x="77646" y="330135"/>
                    </a:cubicBezTo>
                    <a:cubicBezTo>
                      <a:pt x="103900" y="295908"/>
                      <a:pt x="127441" y="249346"/>
                      <a:pt x="157623" y="232709"/>
                    </a:cubicBezTo>
                    <a:cubicBezTo>
                      <a:pt x="159380" y="270206"/>
                      <a:pt x="111368" y="318520"/>
                      <a:pt x="88680" y="361348"/>
                    </a:cubicBezTo>
                    <a:cubicBezTo>
                      <a:pt x="152868" y="490450"/>
                      <a:pt x="216022" y="619861"/>
                      <a:pt x="271347" y="751024"/>
                    </a:cubicBezTo>
                    <a:cubicBezTo>
                      <a:pt x="310831" y="676416"/>
                      <a:pt x="366827" y="634824"/>
                      <a:pt x="395045" y="564054"/>
                    </a:cubicBezTo>
                    <a:close/>
                  </a:path>
                </a:pathLst>
              </a:custGeom>
              <a:grpFill/>
              <a:ln w="25598" cap="flat">
                <a:noFill/>
                <a:prstDash val="solid"/>
                <a:round/>
              </a:ln>
            </p:spPr>
            <p:txBody>
              <a:bodyPr rtlCol="0" anchor="ctr"/>
              <a:lstStyle/>
              <a:p>
                <a:endParaRPr lang="en-LT"/>
              </a:p>
            </p:txBody>
          </p:sp>
          <p:sp>
            <p:nvSpPr>
              <p:cNvPr id="120" name="Freeform 119">
                <a:extLst>
                  <a:ext uri="{FF2B5EF4-FFF2-40B4-BE49-F238E27FC236}">
                    <a16:creationId xmlns:a16="http://schemas.microsoft.com/office/drawing/2014/main" id="{761ED7F7-66F0-FD4C-B339-9C03DCA1EF07}"/>
                  </a:ext>
                </a:extLst>
              </p:cNvPr>
              <p:cNvSpPr/>
              <p:nvPr/>
            </p:nvSpPr>
            <p:spPr>
              <a:xfrm rot="-1917689">
                <a:off x="5665027" y="2786882"/>
                <a:ext cx="213111" cy="395419"/>
              </a:xfrm>
              <a:custGeom>
                <a:avLst/>
                <a:gdLst>
                  <a:gd name="connsiteX0" fmla="*/ 210447 w 213111"/>
                  <a:gd name="connsiteY0" fmla="*/ 391789 h 395419"/>
                  <a:gd name="connsiteX1" fmla="*/ 197346 w 213111"/>
                  <a:gd name="connsiteY1" fmla="*/ 341982 h 395419"/>
                  <a:gd name="connsiteX2" fmla="*/ 18866 w 213111"/>
                  <a:gd name="connsiteY2" fmla="*/ -102 h 395419"/>
                  <a:gd name="connsiteX3" fmla="*/ -24 w 213111"/>
                  <a:gd name="connsiteY3" fmla="*/ 29257 h 395419"/>
                  <a:gd name="connsiteX4" fmla="*/ 128765 w 213111"/>
                  <a:gd name="connsiteY4" fmla="*/ 260085 h 395419"/>
                  <a:gd name="connsiteX5" fmla="*/ 130497 w 213111"/>
                  <a:gd name="connsiteY5" fmla="*/ 270309 h 395419"/>
                  <a:gd name="connsiteX6" fmla="*/ 204866 w 213111"/>
                  <a:gd name="connsiteY6" fmla="*/ 395111 h 395419"/>
                  <a:gd name="connsiteX7" fmla="*/ 210447 w 213111"/>
                  <a:gd name="connsiteY7" fmla="*/ 391789 h 395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111" h="395419">
                    <a:moveTo>
                      <a:pt x="210447" y="391789"/>
                    </a:moveTo>
                    <a:cubicBezTo>
                      <a:pt x="219181" y="374405"/>
                      <a:pt x="204013" y="355785"/>
                      <a:pt x="197346" y="341982"/>
                    </a:cubicBezTo>
                    <a:cubicBezTo>
                      <a:pt x="141841" y="226220"/>
                      <a:pt x="82330" y="110999"/>
                      <a:pt x="18866" y="-102"/>
                    </a:cubicBezTo>
                    <a:cubicBezTo>
                      <a:pt x="12561" y="9684"/>
                      <a:pt x="6255" y="19496"/>
                      <a:pt x="-24" y="29257"/>
                    </a:cubicBezTo>
                    <a:cubicBezTo>
                      <a:pt x="44990" y="105745"/>
                      <a:pt x="77549" y="184937"/>
                      <a:pt x="128765" y="260085"/>
                    </a:cubicBezTo>
                    <a:cubicBezTo>
                      <a:pt x="128972" y="263099"/>
                      <a:pt x="129670" y="266627"/>
                      <a:pt x="130497" y="270309"/>
                    </a:cubicBezTo>
                    <a:cubicBezTo>
                      <a:pt x="159231" y="311051"/>
                      <a:pt x="177552" y="354060"/>
                      <a:pt x="204866" y="395111"/>
                    </a:cubicBezTo>
                    <a:cubicBezTo>
                      <a:pt x="207036" y="395755"/>
                      <a:pt x="209026" y="394956"/>
                      <a:pt x="210447" y="391789"/>
                    </a:cubicBezTo>
                    <a:close/>
                  </a:path>
                </a:pathLst>
              </a:custGeom>
              <a:grpFill/>
              <a:ln w="25598" cap="flat">
                <a:noFill/>
                <a:prstDash val="solid"/>
                <a:round/>
              </a:ln>
            </p:spPr>
            <p:txBody>
              <a:bodyPr rtlCol="0" anchor="ctr"/>
              <a:lstStyle/>
              <a:p>
                <a:endParaRPr lang="en-LT"/>
              </a:p>
            </p:txBody>
          </p:sp>
          <p:sp>
            <p:nvSpPr>
              <p:cNvPr id="121" name="Freeform 120">
                <a:extLst>
                  <a:ext uri="{FF2B5EF4-FFF2-40B4-BE49-F238E27FC236}">
                    <a16:creationId xmlns:a16="http://schemas.microsoft.com/office/drawing/2014/main" id="{77EDA951-7DB1-7A4A-A8C7-79FA308FC540}"/>
                  </a:ext>
                </a:extLst>
              </p:cNvPr>
              <p:cNvSpPr/>
              <p:nvPr/>
            </p:nvSpPr>
            <p:spPr>
              <a:xfrm rot="-1917689">
                <a:off x="5827547" y="3030662"/>
                <a:ext cx="2661" cy="4893"/>
              </a:xfrm>
              <a:custGeom>
                <a:avLst/>
                <a:gdLst>
                  <a:gd name="connsiteX0" fmla="*/ 2639 w 2661"/>
                  <a:gd name="connsiteY0" fmla="*/ 4790 h 4893"/>
                  <a:gd name="connsiteX1" fmla="*/ 2432 w 2661"/>
                  <a:gd name="connsiteY1" fmla="*/ 3657 h 4893"/>
                  <a:gd name="connsiteX2" fmla="*/ -22 w 2661"/>
                  <a:gd name="connsiteY2" fmla="*/ -103 h 4893"/>
                  <a:gd name="connsiteX3" fmla="*/ 2639 w 2661"/>
                  <a:gd name="connsiteY3" fmla="*/ 4790 h 4893"/>
                </a:gdLst>
                <a:ahLst/>
                <a:cxnLst>
                  <a:cxn ang="0">
                    <a:pos x="connsiteX0" y="connsiteY0"/>
                  </a:cxn>
                  <a:cxn ang="0">
                    <a:pos x="connsiteX1" y="connsiteY1"/>
                  </a:cxn>
                  <a:cxn ang="0">
                    <a:pos x="connsiteX2" y="connsiteY2"/>
                  </a:cxn>
                  <a:cxn ang="0">
                    <a:pos x="connsiteX3" y="connsiteY3"/>
                  </a:cxn>
                </a:cxnLst>
                <a:rect l="l" t="t" r="r" b="b"/>
                <a:pathLst>
                  <a:path w="2661" h="4893">
                    <a:moveTo>
                      <a:pt x="2639" y="4790"/>
                    </a:moveTo>
                    <a:cubicBezTo>
                      <a:pt x="2536" y="4378"/>
                      <a:pt x="2536" y="4043"/>
                      <a:pt x="2432" y="3657"/>
                    </a:cubicBezTo>
                    <a:cubicBezTo>
                      <a:pt x="1554" y="2421"/>
                      <a:pt x="882" y="1133"/>
                      <a:pt x="-22" y="-103"/>
                    </a:cubicBezTo>
                    <a:cubicBezTo>
                      <a:pt x="856" y="1468"/>
                      <a:pt x="1735" y="3219"/>
                      <a:pt x="2639" y="4790"/>
                    </a:cubicBezTo>
                    <a:close/>
                  </a:path>
                </a:pathLst>
              </a:custGeom>
              <a:grpFill/>
              <a:ln w="25598" cap="flat">
                <a:noFill/>
                <a:prstDash val="solid"/>
                <a:round/>
              </a:ln>
            </p:spPr>
            <p:txBody>
              <a:bodyPr rtlCol="0" anchor="ctr"/>
              <a:lstStyle/>
              <a:p>
                <a:endParaRPr lang="en-LT"/>
              </a:p>
            </p:txBody>
          </p:sp>
          <p:sp>
            <p:nvSpPr>
              <p:cNvPr id="122" name="Freeform 121">
                <a:extLst>
                  <a:ext uri="{FF2B5EF4-FFF2-40B4-BE49-F238E27FC236}">
                    <a16:creationId xmlns:a16="http://schemas.microsoft.com/office/drawing/2014/main" id="{1F137A97-4BD8-EA45-A1F6-D7FE31F43F3E}"/>
                  </a:ext>
                </a:extLst>
              </p:cNvPr>
              <p:cNvSpPr/>
              <p:nvPr/>
            </p:nvSpPr>
            <p:spPr>
              <a:xfrm rot="-1917689">
                <a:off x="5862100" y="3005744"/>
                <a:ext cx="69896" cy="135900"/>
              </a:xfrm>
              <a:custGeom>
                <a:avLst/>
                <a:gdLst>
                  <a:gd name="connsiteX0" fmla="*/ 66286 w 69896"/>
                  <a:gd name="connsiteY0" fmla="*/ 135797 h 135900"/>
                  <a:gd name="connsiteX1" fmla="*/ 54218 w 69896"/>
                  <a:gd name="connsiteY1" fmla="*/ 100515 h 135900"/>
                  <a:gd name="connsiteX2" fmla="*/ -21 w 69896"/>
                  <a:gd name="connsiteY2" fmla="*/ -104 h 135900"/>
                  <a:gd name="connsiteX3" fmla="*/ 45536 w 69896"/>
                  <a:gd name="connsiteY3" fmla="*/ 108755 h 135900"/>
                  <a:gd name="connsiteX4" fmla="*/ 66286 w 69896"/>
                  <a:gd name="connsiteY4" fmla="*/ 135797 h 13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896" h="135900">
                    <a:moveTo>
                      <a:pt x="66286" y="135797"/>
                    </a:moveTo>
                    <a:cubicBezTo>
                      <a:pt x="77371" y="122096"/>
                      <a:pt x="59748" y="110507"/>
                      <a:pt x="54218" y="100515"/>
                    </a:cubicBezTo>
                    <a:cubicBezTo>
                      <a:pt x="35432" y="66520"/>
                      <a:pt x="17809" y="31856"/>
                      <a:pt x="-21" y="-104"/>
                    </a:cubicBezTo>
                    <a:cubicBezTo>
                      <a:pt x="7162" y="30105"/>
                      <a:pt x="31943" y="79294"/>
                      <a:pt x="45536" y="108755"/>
                    </a:cubicBezTo>
                    <a:cubicBezTo>
                      <a:pt x="50523" y="119598"/>
                      <a:pt x="57267" y="134689"/>
                      <a:pt x="66286" y="135797"/>
                    </a:cubicBezTo>
                    <a:close/>
                  </a:path>
                </a:pathLst>
              </a:custGeom>
              <a:grpFill/>
              <a:ln w="25598" cap="flat">
                <a:noFill/>
                <a:prstDash val="solid"/>
                <a:round/>
              </a:ln>
            </p:spPr>
            <p:txBody>
              <a:bodyPr rtlCol="0" anchor="ctr"/>
              <a:lstStyle/>
              <a:p>
                <a:endParaRPr lang="en-LT"/>
              </a:p>
            </p:txBody>
          </p:sp>
          <p:sp>
            <p:nvSpPr>
              <p:cNvPr id="123" name="Freeform 122">
                <a:extLst>
                  <a:ext uri="{FF2B5EF4-FFF2-40B4-BE49-F238E27FC236}">
                    <a16:creationId xmlns:a16="http://schemas.microsoft.com/office/drawing/2014/main" id="{05FD6DCB-6E0E-A64A-A876-334943F1A08C}"/>
                  </a:ext>
                </a:extLst>
              </p:cNvPr>
              <p:cNvSpPr/>
              <p:nvPr/>
            </p:nvSpPr>
            <p:spPr>
              <a:xfrm rot="-1917689">
                <a:off x="5629209" y="2848440"/>
                <a:ext cx="260704" cy="419756"/>
              </a:xfrm>
              <a:custGeom>
                <a:avLst/>
                <a:gdLst>
                  <a:gd name="connsiteX0" fmla="*/ 182722 w 260704"/>
                  <a:gd name="connsiteY0" fmla="*/ 321302 h 419756"/>
                  <a:gd name="connsiteX1" fmla="*/ 177218 w 260704"/>
                  <a:gd name="connsiteY1" fmla="*/ 286663 h 419756"/>
                  <a:gd name="connsiteX2" fmla="*/ 182722 w 260704"/>
                  <a:gd name="connsiteY2" fmla="*/ 321302 h 419756"/>
                  <a:gd name="connsiteX3" fmla="*/ 153884 w 260704"/>
                  <a:gd name="connsiteY3" fmla="*/ 247595 h 419756"/>
                  <a:gd name="connsiteX4" fmla="*/ 169672 w 260704"/>
                  <a:gd name="connsiteY4" fmla="*/ 271495 h 419756"/>
                  <a:gd name="connsiteX5" fmla="*/ 153884 w 260704"/>
                  <a:gd name="connsiteY5" fmla="*/ 247595 h 419756"/>
                  <a:gd name="connsiteX6" fmla="*/ 260682 w 260704"/>
                  <a:gd name="connsiteY6" fmla="*/ 378037 h 419756"/>
                  <a:gd name="connsiteX7" fmla="*/ 63675 w 260704"/>
                  <a:gd name="connsiteY7" fmla="*/ -102 h 419756"/>
                  <a:gd name="connsiteX8" fmla="*/ -22 w 260704"/>
                  <a:gd name="connsiteY8" fmla="*/ 104277 h 419756"/>
                  <a:gd name="connsiteX9" fmla="*/ 125563 w 260704"/>
                  <a:gd name="connsiteY9" fmla="*/ 340050 h 419756"/>
                  <a:gd name="connsiteX10" fmla="*/ 140705 w 260704"/>
                  <a:gd name="connsiteY10" fmla="*/ 370440 h 419756"/>
                  <a:gd name="connsiteX11" fmla="*/ 233912 w 260704"/>
                  <a:gd name="connsiteY11" fmla="*/ 419655 h 419756"/>
                  <a:gd name="connsiteX12" fmla="*/ 260682 w 260704"/>
                  <a:gd name="connsiteY12" fmla="*/ 378037 h 419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0704" h="419756">
                    <a:moveTo>
                      <a:pt x="182722" y="321302"/>
                    </a:moveTo>
                    <a:cubicBezTo>
                      <a:pt x="175383" y="311001"/>
                      <a:pt x="173652" y="299411"/>
                      <a:pt x="177218" y="286663"/>
                    </a:cubicBezTo>
                    <a:cubicBezTo>
                      <a:pt x="181094" y="297789"/>
                      <a:pt x="194686" y="306751"/>
                      <a:pt x="182722" y="321302"/>
                    </a:cubicBezTo>
                    <a:close/>
                    <a:moveTo>
                      <a:pt x="153884" y="247595"/>
                    </a:moveTo>
                    <a:cubicBezTo>
                      <a:pt x="164297" y="246127"/>
                      <a:pt x="164194" y="264953"/>
                      <a:pt x="169672" y="271495"/>
                    </a:cubicBezTo>
                    <a:cubicBezTo>
                      <a:pt x="157269" y="273323"/>
                      <a:pt x="159026" y="254291"/>
                      <a:pt x="153884" y="247595"/>
                    </a:cubicBezTo>
                    <a:close/>
                    <a:moveTo>
                      <a:pt x="260682" y="378037"/>
                    </a:moveTo>
                    <a:cubicBezTo>
                      <a:pt x="197838" y="251330"/>
                      <a:pt x="145330" y="122485"/>
                      <a:pt x="63675" y="-102"/>
                    </a:cubicBezTo>
                    <a:cubicBezTo>
                      <a:pt x="46284" y="33841"/>
                      <a:pt x="22717" y="69098"/>
                      <a:pt x="-22" y="104277"/>
                    </a:cubicBezTo>
                    <a:cubicBezTo>
                      <a:pt x="44242" y="179787"/>
                      <a:pt x="87448" y="263794"/>
                      <a:pt x="125563" y="340050"/>
                    </a:cubicBezTo>
                    <a:cubicBezTo>
                      <a:pt x="130912" y="350712"/>
                      <a:pt x="135718" y="365418"/>
                      <a:pt x="140705" y="370440"/>
                    </a:cubicBezTo>
                    <a:cubicBezTo>
                      <a:pt x="166158" y="396219"/>
                      <a:pt x="205694" y="393953"/>
                      <a:pt x="233912" y="419655"/>
                    </a:cubicBezTo>
                    <a:cubicBezTo>
                      <a:pt x="242801" y="405799"/>
                      <a:pt x="251742" y="391918"/>
                      <a:pt x="260682" y="378037"/>
                    </a:cubicBezTo>
                    <a:close/>
                  </a:path>
                </a:pathLst>
              </a:custGeom>
              <a:grpFill/>
              <a:ln w="25598" cap="flat">
                <a:noFill/>
                <a:prstDash val="solid"/>
                <a:round/>
              </a:ln>
            </p:spPr>
            <p:txBody>
              <a:bodyPr rtlCol="0" anchor="ctr"/>
              <a:lstStyle/>
              <a:p>
                <a:endParaRPr lang="en-LT"/>
              </a:p>
            </p:txBody>
          </p:sp>
          <p:sp>
            <p:nvSpPr>
              <p:cNvPr id="124" name="Freeform 123">
                <a:extLst>
                  <a:ext uri="{FF2B5EF4-FFF2-40B4-BE49-F238E27FC236}">
                    <a16:creationId xmlns:a16="http://schemas.microsoft.com/office/drawing/2014/main" id="{1872BFC3-D751-7042-A82F-0BFD33308AEE}"/>
                  </a:ext>
                </a:extLst>
              </p:cNvPr>
              <p:cNvSpPr/>
              <p:nvPr/>
            </p:nvSpPr>
            <p:spPr>
              <a:xfrm rot="-1917689">
                <a:off x="5623603" y="3005208"/>
                <a:ext cx="154836" cy="239764"/>
              </a:xfrm>
              <a:custGeom>
                <a:avLst/>
                <a:gdLst>
                  <a:gd name="connsiteX0" fmla="*/ -21 w 154836"/>
                  <a:gd name="connsiteY0" fmla="*/ 43990 h 239764"/>
                  <a:gd name="connsiteX1" fmla="*/ 154815 w 154836"/>
                  <a:gd name="connsiteY1" fmla="*/ 239665 h 239764"/>
                  <a:gd name="connsiteX2" fmla="*/ 28326 w 154836"/>
                  <a:gd name="connsiteY2" fmla="*/ -100 h 239764"/>
                  <a:gd name="connsiteX3" fmla="*/ -21 w 154836"/>
                  <a:gd name="connsiteY3" fmla="*/ 43990 h 239764"/>
                </a:gdLst>
                <a:ahLst/>
                <a:cxnLst>
                  <a:cxn ang="0">
                    <a:pos x="connsiteX0" y="connsiteY0"/>
                  </a:cxn>
                  <a:cxn ang="0">
                    <a:pos x="connsiteX1" y="connsiteY1"/>
                  </a:cxn>
                  <a:cxn ang="0">
                    <a:pos x="connsiteX2" y="connsiteY2"/>
                  </a:cxn>
                  <a:cxn ang="0">
                    <a:pos x="connsiteX3" y="connsiteY3"/>
                  </a:cxn>
                </a:cxnLst>
                <a:rect l="l" t="t" r="r" b="b"/>
                <a:pathLst>
                  <a:path w="154836" h="239764">
                    <a:moveTo>
                      <a:pt x="-21" y="43990"/>
                    </a:moveTo>
                    <a:cubicBezTo>
                      <a:pt x="40057" y="112855"/>
                      <a:pt x="49851" y="192665"/>
                      <a:pt x="154815" y="239665"/>
                    </a:cubicBezTo>
                    <a:cubicBezTo>
                      <a:pt x="118096" y="158542"/>
                      <a:pt x="74632" y="78938"/>
                      <a:pt x="28326" y="-100"/>
                    </a:cubicBezTo>
                    <a:cubicBezTo>
                      <a:pt x="18868" y="14605"/>
                      <a:pt x="9462" y="29285"/>
                      <a:pt x="-21" y="43990"/>
                    </a:cubicBezTo>
                    <a:close/>
                  </a:path>
                </a:pathLst>
              </a:custGeom>
              <a:grpFill/>
              <a:ln w="25598" cap="flat">
                <a:noFill/>
                <a:prstDash val="solid"/>
                <a:round/>
              </a:ln>
            </p:spPr>
            <p:txBody>
              <a:bodyPr rtlCol="0" anchor="ctr"/>
              <a:lstStyle/>
              <a:p>
                <a:endParaRPr lang="en-LT"/>
              </a:p>
            </p:txBody>
          </p:sp>
          <p:sp>
            <p:nvSpPr>
              <p:cNvPr id="125" name="Freeform 124">
                <a:extLst>
                  <a:ext uri="{FF2B5EF4-FFF2-40B4-BE49-F238E27FC236}">
                    <a16:creationId xmlns:a16="http://schemas.microsoft.com/office/drawing/2014/main" id="{9A0A4C8C-D42A-9043-B5D3-AEAE576F917A}"/>
                  </a:ext>
                </a:extLst>
              </p:cNvPr>
              <p:cNvSpPr/>
              <p:nvPr/>
            </p:nvSpPr>
            <p:spPr>
              <a:xfrm rot="-1917689">
                <a:off x="5725460" y="4230670"/>
                <a:ext cx="51655" cy="8881"/>
              </a:xfrm>
              <a:custGeom>
                <a:avLst/>
                <a:gdLst>
                  <a:gd name="connsiteX0" fmla="*/ 2 w 51655"/>
                  <a:gd name="connsiteY0" fmla="*/ 4876 h 8881"/>
                  <a:gd name="connsiteX1" fmla="*/ 51657 w 51655"/>
                  <a:gd name="connsiteY1" fmla="*/ -94 h 8881"/>
                  <a:gd name="connsiteX2" fmla="*/ 2 w 51655"/>
                  <a:gd name="connsiteY2" fmla="*/ 4876 h 8881"/>
                </a:gdLst>
                <a:ahLst/>
                <a:cxnLst>
                  <a:cxn ang="0">
                    <a:pos x="connsiteX0" y="connsiteY0"/>
                  </a:cxn>
                  <a:cxn ang="0">
                    <a:pos x="connsiteX1" y="connsiteY1"/>
                  </a:cxn>
                  <a:cxn ang="0">
                    <a:pos x="connsiteX2" y="connsiteY2"/>
                  </a:cxn>
                </a:cxnLst>
                <a:rect l="l" t="t" r="r" b="b"/>
                <a:pathLst>
                  <a:path w="51655" h="8881">
                    <a:moveTo>
                      <a:pt x="2" y="4876"/>
                    </a:moveTo>
                    <a:cubicBezTo>
                      <a:pt x="16126" y="4515"/>
                      <a:pt x="46101" y="16645"/>
                      <a:pt x="51657" y="-94"/>
                    </a:cubicBezTo>
                    <a:cubicBezTo>
                      <a:pt x="36385" y="4206"/>
                      <a:pt x="7341" y="-3340"/>
                      <a:pt x="2" y="4876"/>
                    </a:cubicBezTo>
                    <a:close/>
                  </a:path>
                </a:pathLst>
              </a:custGeom>
              <a:grpFill/>
              <a:ln w="25598" cap="flat">
                <a:noFill/>
                <a:prstDash val="solid"/>
                <a:round/>
              </a:ln>
            </p:spPr>
            <p:txBody>
              <a:bodyPr rtlCol="0" anchor="ctr"/>
              <a:lstStyle/>
              <a:p>
                <a:endParaRPr lang="en-LT"/>
              </a:p>
            </p:txBody>
          </p:sp>
          <p:sp>
            <p:nvSpPr>
              <p:cNvPr id="126" name="Freeform 125">
                <a:extLst>
                  <a:ext uri="{FF2B5EF4-FFF2-40B4-BE49-F238E27FC236}">
                    <a16:creationId xmlns:a16="http://schemas.microsoft.com/office/drawing/2014/main" id="{186C6BFC-9A62-104B-AA1A-65E7C208366C}"/>
                  </a:ext>
                </a:extLst>
              </p:cNvPr>
              <p:cNvSpPr/>
              <p:nvPr/>
            </p:nvSpPr>
            <p:spPr>
              <a:xfrm rot="-1917689">
                <a:off x="5519663" y="4263724"/>
                <a:ext cx="223546" cy="24702"/>
              </a:xfrm>
              <a:custGeom>
                <a:avLst/>
                <a:gdLst>
                  <a:gd name="connsiteX0" fmla="*/ 223548 w 223546"/>
                  <a:gd name="connsiteY0" fmla="*/ 19245 h 24702"/>
                  <a:gd name="connsiteX1" fmla="*/ 2 w 223546"/>
                  <a:gd name="connsiteY1" fmla="*/ 11082 h 24702"/>
                  <a:gd name="connsiteX2" fmla="*/ 203393 w 223546"/>
                  <a:gd name="connsiteY2" fmla="*/ 23598 h 24702"/>
                  <a:gd name="connsiteX3" fmla="*/ 223548 w 223546"/>
                  <a:gd name="connsiteY3" fmla="*/ 19245 h 24702"/>
                </a:gdLst>
                <a:ahLst/>
                <a:cxnLst>
                  <a:cxn ang="0">
                    <a:pos x="connsiteX0" y="connsiteY0"/>
                  </a:cxn>
                  <a:cxn ang="0">
                    <a:pos x="connsiteX1" y="connsiteY1"/>
                  </a:cxn>
                  <a:cxn ang="0">
                    <a:pos x="connsiteX2" y="connsiteY2"/>
                  </a:cxn>
                  <a:cxn ang="0">
                    <a:pos x="connsiteX3" y="connsiteY3"/>
                  </a:cxn>
                </a:cxnLst>
                <a:rect l="l" t="t" r="r" b="b"/>
                <a:pathLst>
                  <a:path w="223546" h="24702">
                    <a:moveTo>
                      <a:pt x="223548" y="19245"/>
                    </a:moveTo>
                    <a:cubicBezTo>
                      <a:pt x="150755" y="18035"/>
                      <a:pt x="59203" y="-17685"/>
                      <a:pt x="2" y="11082"/>
                    </a:cubicBezTo>
                    <a:cubicBezTo>
                      <a:pt x="66748" y="22388"/>
                      <a:pt x="142693" y="26791"/>
                      <a:pt x="203393" y="23598"/>
                    </a:cubicBezTo>
                    <a:cubicBezTo>
                      <a:pt x="210163" y="23186"/>
                      <a:pt x="222282" y="26920"/>
                      <a:pt x="223548" y="19245"/>
                    </a:cubicBezTo>
                    <a:close/>
                  </a:path>
                </a:pathLst>
              </a:custGeom>
              <a:grpFill/>
              <a:ln w="25598" cap="flat">
                <a:noFill/>
                <a:prstDash val="solid"/>
                <a:round/>
              </a:ln>
            </p:spPr>
            <p:txBody>
              <a:bodyPr rtlCol="0" anchor="ctr"/>
              <a:lstStyle/>
              <a:p>
                <a:endParaRPr lang="en-LT"/>
              </a:p>
            </p:txBody>
          </p:sp>
          <p:sp>
            <p:nvSpPr>
              <p:cNvPr id="127" name="Freeform 126">
                <a:extLst>
                  <a:ext uri="{FF2B5EF4-FFF2-40B4-BE49-F238E27FC236}">
                    <a16:creationId xmlns:a16="http://schemas.microsoft.com/office/drawing/2014/main" id="{BCED195B-F21F-B84A-AA9B-1C214D9512FB}"/>
                  </a:ext>
                </a:extLst>
              </p:cNvPr>
              <p:cNvSpPr/>
              <p:nvPr/>
            </p:nvSpPr>
            <p:spPr>
              <a:xfrm rot="-1917689">
                <a:off x="5540538" y="4253345"/>
                <a:ext cx="63128" cy="11590"/>
              </a:xfrm>
              <a:custGeom>
                <a:avLst/>
                <a:gdLst>
                  <a:gd name="connsiteX0" fmla="*/ 63130 w 63128"/>
                  <a:gd name="connsiteY0" fmla="*/ 4794 h 11590"/>
                  <a:gd name="connsiteX1" fmla="*/ 1 w 63128"/>
                  <a:gd name="connsiteY1" fmla="*/ 5901 h 11590"/>
                  <a:gd name="connsiteX2" fmla="*/ 63130 w 63128"/>
                  <a:gd name="connsiteY2" fmla="*/ 4794 h 11590"/>
                </a:gdLst>
                <a:ahLst/>
                <a:cxnLst>
                  <a:cxn ang="0">
                    <a:pos x="connsiteX0" y="connsiteY0"/>
                  </a:cxn>
                  <a:cxn ang="0">
                    <a:pos x="connsiteX1" y="connsiteY1"/>
                  </a:cxn>
                  <a:cxn ang="0">
                    <a:pos x="connsiteX2" y="connsiteY2"/>
                  </a:cxn>
                </a:cxnLst>
                <a:rect l="l" t="t" r="r" b="b"/>
                <a:pathLst>
                  <a:path w="63128" h="11590">
                    <a:moveTo>
                      <a:pt x="63130" y="4794"/>
                    </a:moveTo>
                    <a:cubicBezTo>
                      <a:pt x="43207" y="10434"/>
                      <a:pt x="17754" y="-9551"/>
                      <a:pt x="1" y="5901"/>
                    </a:cubicBezTo>
                    <a:cubicBezTo>
                      <a:pt x="21836" y="15610"/>
                      <a:pt x="51734" y="11000"/>
                      <a:pt x="63130" y="4794"/>
                    </a:cubicBezTo>
                    <a:close/>
                  </a:path>
                </a:pathLst>
              </a:custGeom>
              <a:grpFill/>
              <a:ln w="25598" cap="flat">
                <a:noFill/>
                <a:prstDash val="solid"/>
                <a:round/>
              </a:ln>
            </p:spPr>
            <p:txBody>
              <a:bodyPr rtlCol="0" anchor="ctr"/>
              <a:lstStyle/>
              <a:p>
                <a:endParaRPr lang="en-LT"/>
              </a:p>
            </p:txBody>
          </p:sp>
          <p:sp>
            <p:nvSpPr>
              <p:cNvPr id="128" name="Freeform 127">
                <a:extLst>
                  <a:ext uri="{FF2B5EF4-FFF2-40B4-BE49-F238E27FC236}">
                    <a16:creationId xmlns:a16="http://schemas.microsoft.com/office/drawing/2014/main" id="{7C9A6B36-DDBE-634E-939C-361F0EF0DAD4}"/>
                  </a:ext>
                </a:extLst>
              </p:cNvPr>
              <p:cNvSpPr/>
              <p:nvPr/>
            </p:nvSpPr>
            <p:spPr>
              <a:xfrm rot="-1917689">
                <a:off x="5867773" y="2258160"/>
                <a:ext cx="238350" cy="486122"/>
              </a:xfrm>
              <a:custGeom>
                <a:avLst/>
                <a:gdLst>
                  <a:gd name="connsiteX0" fmla="*/ 205296 w 238350"/>
                  <a:gd name="connsiteY0" fmla="*/ 191265 h 486122"/>
                  <a:gd name="connsiteX1" fmla="*/ 172091 w 238350"/>
                  <a:gd name="connsiteY1" fmla="*/ 280603 h 486122"/>
                  <a:gd name="connsiteX2" fmla="*/ 205296 w 238350"/>
                  <a:gd name="connsiteY2" fmla="*/ 191265 h 486122"/>
                  <a:gd name="connsiteX3" fmla="*/ 186355 w 238350"/>
                  <a:gd name="connsiteY3" fmla="*/ 123842 h 486122"/>
                  <a:gd name="connsiteX4" fmla="*/ 193539 w 238350"/>
                  <a:gd name="connsiteY4" fmla="*/ 166516 h 486122"/>
                  <a:gd name="connsiteX5" fmla="*/ 186355 w 238350"/>
                  <a:gd name="connsiteY5" fmla="*/ 123842 h 486122"/>
                  <a:gd name="connsiteX6" fmla="*/ 43612 w 238350"/>
                  <a:gd name="connsiteY6" fmla="*/ 291755 h 486122"/>
                  <a:gd name="connsiteX7" fmla="*/ 84802 w 238350"/>
                  <a:gd name="connsiteY7" fmla="*/ 238600 h 486122"/>
                  <a:gd name="connsiteX8" fmla="*/ 51571 w 238350"/>
                  <a:gd name="connsiteY8" fmla="*/ 327964 h 486122"/>
                  <a:gd name="connsiteX9" fmla="*/ 85319 w 238350"/>
                  <a:gd name="connsiteY9" fmla="*/ 453152 h 486122"/>
                  <a:gd name="connsiteX10" fmla="*/ 98885 w 238350"/>
                  <a:gd name="connsiteY10" fmla="*/ 486013 h 486122"/>
                  <a:gd name="connsiteX11" fmla="*/ 232455 w 238350"/>
                  <a:gd name="connsiteY11" fmla="*/ 122245 h 486122"/>
                  <a:gd name="connsiteX12" fmla="*/ 219069 w 238350"/>
                  <a:gd name="connsiteY12" fmla="*/ 99891 h 486122"/>
                  <a:gd name="connsiteX13" fmla="*/ 216253 w 238350"/>
                  <a:gd name="connsiteY13" fmla="*/ 77357 h 486122"/>
                  <a:gd name="connsiteX14" fmla="*/ 127439 w 238350"/>
                  <a:gd name="connsiteY14" fmla="*/ -109 h 486122"/>
                  <a:gd name="connsiteX15" fmla="*/ 83174 w 238350"/>
                  <a:gd name="connsiteY15" fmla="*/ 57913 h 486122"/>
                  <a:gd name="connsiteX16" fmla="*/ 113511 w 238350"/>
                  <a:gd name="connsiteY16" fmla="*/ 80756 h 486122"/>
                  <a:gd name="connsiteX17" fmla="*/ 78445 w 238350"/>
                  <a:gd name="connsiteY17" fmla="*/ 65279 h 486122"/>
                  <a:gd name="connsiteX18" fmla="*/ -32 w 238350"/>
                  <a:gd name="connsiteY18" fmla="*/ 160206 h 486122"/>
                  <a:gd name="connsiteX19" fmla="*/ 43612 w 238350"/>
                  <a:gd name="connsiteY19" fmla="*/ 291755 h 48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8350" h="486122">
                    <a:moveTo>
                      <a:pt x="205296" y="191265"/>
                    </a:moveTo>
                    <a:cubicBezTo>
                      <a:pt x="199456" y="219954"/>
                      <a:pt x="185683" y="250317"/>
                      <a:pt x="172091" y="280603"/>
                    </a:cubicBezTo>
                    <a:cubicBezTo>
                      <a:pt x="176122" y="252507"/>
                      <a:pt x="174572" y="212331"/>
                      <a:pt x="205296" y="191265"/>
                    </a:cubicBezTo>
                    <a:close/>
                    <a:moveTo>
                      <a:pt x="186355" y="123842"/>
                    </a:moveTo>
                    <a:cubicBezTo>
                      <a:pt x="198965" y="135895"/>
                      <a:pt x="198991" y="150548"/>
                      <a:pt x="193539" y="166516"/>
                    </a:cubicBezTo>
                    <a:cubicBezTo>
                      <a:pt x="190050" y="152532"/>
                      <a:pt x="183125" y="139294"/>
                      <a:pt x="186355" y="123842"/>
                    </a:cubicBezTo>
                    <a:close/>
                    <a:moveTo>
                      <a:pt x="43612" y="291755"/>
                    </a:moveTo>
                    <a:cubicBezTo>
                      <a:pt x="55499" y="276741"/>
                      <a:pt x="63923" y="235303"/>
                      <a:pt x="84802" y="238600"/>
                    </a:cubicBezTo>
                    <a:cubicBezTo>
                      <a:pt x="88936" y="265074"/>
                      <a:pt x="60176" y="298708"/>
                      <a:pt x="51571" y="327964"/>
                    </a:cubicBezTo>
                    <a:cubicBezTo>
                      <a:pt x="54491" y="368140"/>
                      <a:pt x="74388" y="415088"/>
                      <a:pt x="85319" y="453152"/>
                    </a:cubicBezTo>
                    <a:cubicBezTo>
                      <a:pt x="89040" y="465977"/>
                      <a:pt x="85939" y="484185"/>
                      <a:pt x="98885" y="486013"/>
                    </a:cubicBezTo>
                    <a:cubicBezTo>
                      <a:pt x="152194" y="362345"/>
                      <a:pt x="265246" y="221680"/>
                      <a:pt x="232455" y="122245"/>
                    </a:cubicBezTo>
                    <a:cubicBezTo>
                      <a:pt x="229974" y="114725"/>
                      <a:pt x="221937" y="108004"/>
                      <a:pt x="219069" y="99891"/>
                    </a:cubicBezTo>
                    <a:cubicBezTo>
                      <a:pt x="216433" y="92448"/>
                      <a:pt x="219405" y="84001"/>
                      <a:pt x="216253" y="77357"/>
                    </a:cubicBezTo>
                    <a:cubicBezTo>
                      <a:pt x="202428" y="47895"/>
                      <a:pt x="163176" y="20596"/>
                      <a:pt x="127439" y="-109"/>
                    </a:cubicBezTo>
                    <a:cubicBezTo>
                      <a:pt x="112891" y="19927"/>
                      <a:pt x="97645" y="37284"/>
                      <a:pt x="83174" y="57913"/>
                    </a:cubicBezTo>
                    <a:cubicBezTo>
                      <a:pt x="92037" y="65819"/>
                      <a:pt x="111314" y="71408"/>
                      <a:pt x="113511" y="80756"/>
                    </a:cubicBezTo>
                    <a:cubicBezTo>
                      <a:pt x="103330" y="79675"/>
                      <a:pt x="84053" y="76250"/>
                      <a:pt x="78445" y="65279"/>
                    </a:cubicBezTo>
                    <a:cubicBezTo>
                      <a:pt x="52501" y="97702"/>
                      <a:pt x="27255" y="133551"/>
                      <a:pt x="-32" y="160206"/>
                    </a:cubicBezTo>
                    <a:cubicBezTo>
                      <a:pt x="14206" y="204090"/>
                      <a:pt x="25886" y="248592"/>
                      <a:pt x="43612" y="291755"/>
                    </a:cubicBezTo>
                    <a:close/>
                  </a:path>
                </a:pathLst>
              </a:custGeom>
              <a:grpFill/>
              <a:ln w="25598" cap="flat">
                <a:noFill/>
                <a:prstDash val="solid"/>
                <a:round/>
              </a:ln>
            </p:spPr>
            <p:txBody>
              <a:bodyPr rtlCol="0" anchor="ctr"/>
              <a:lstStyle/>
              <a:p>
                <a:endParaRPr lang="en-LT"/>
              </a:p>
            </p:txBody>
          </p:sp>
          <p:sp>
            <p:nvSpPr>
              <p:cNvPr id="129" name="Freeform 128">
                <a:extLst>
                  <a:ext uri="{FF2B5EF4-FFF2-40B4-BE49-F238E27FC236}">
                    <a16:creationId xmlns:a16="http://schemas.microsoft.com/office/drawing/2014/main" id="{559DD6E4-6B83-7D45-8B1D-2CEE0F4231B3}"/>
                  </a:ext>
                </a:extLst>
              </p:cNvPr>
              <p:cNvSpPr/>
              <p:nvPr/>
            </p:nvSpPr>
            <p:spPr>
              <a:xfrm rot="-1917689">
                <a:off x="5422447" y="2809993"/>
                <a:ext cx="142071" cy="222502"/>
              </a:xfrm>
              <a:custGeom>
                <a:avLst/>
                <a:gdLst>
                  <a:gd name="connsiteX0" fmla="*/ 90363 w 142071"/>
                  <a:gd name="connsiteY0" fmla="*/ 35667 h 222502"/>
                  <a:gd name="connsiteX1" fmla="*/ 46770 w 142071"/>
                  <a:gd name="connsiteY1" fmla="*/ 87303 h 222502"/>
                  <a:gd name="connsiteX2" fmla="*/ 86151 w 142071"/>
                  <a:gd name="connsiteY2" fmla="*/ 26086 h 222502"/>
                  <a:gd name="connsiteX3" fmla="*/ 61396 w 142071"/>
                  <a:gd name="connsiteY3" fmla="*/ -79 h 222502"/>
                  <a:gd name="connsiteX4" fmla="*/ -27 w 142071"/>
                  <a:gd name="connsiteY4" fmla="*/ 95441 h 222502"/>
                  <a:gd name="connsiteX5" fmla="*/ 74316 w 142071"/>
                  <a:gd name="connsiteY5" fmla="*/ 222405 h 222502"/>
                  <a:gd name="connsiteX6" fmla="*/ 142044 w 142071"/>
                  <a:gd name="connsiteY6" fmla="*/ 117125 h 222502"/>
                  <a:gd name="connsiteX7" fmla="*/ 90363 w 142071"/>
                  <a:gd name="connsiteY7" fmla="*/ 35667 h 222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071" h="222502">
                    <a:moveTo>
                      <a:pt x="90363" y="35667"/>
                    </a:moveTo>
                    <a:cubicBezTo>
                      <a:pt x="74084" y="44784"/>
                      <a:pt x="64652" y="85448"/>
                      <a:pt x="46770" y="87303"/>
                    </a:cubicBezTo>
                    <a:cubicBezTo>
                      <a:pt x="60879" y="67241"/>
                      <a:pt x="76358" y="38577"/>
                      <a:pt x="86151" y="26086"/>
                    </a:cubicBezTo>
                    <a:cubicBezTo>
                      <a:pt x="76280" y="19030"/>
                      <a:pt x="74704" y="-775"/>
                      <a:pt x="61396" y="-79"/>
                    </a:cubicBezTo>
                    <a:cubicBezTo>
                      <a:pt x="47365" y="22532"/>
                      <a:pt x="19302" y="64794"/>
                      <a:pt x="-27" y="95441"/>
                    </a:cubicBezTo>
                    <a:cubicBezTo>
                      <a:pt x="24082" y="136518"/>
                      <a:pt x="46254" y="189080"/>
                      <a:pt x="74316" y="222405"/>
                    </a:cubicBezTo>
                    <a:cubicBezTo>
                      <a:pt x="96333" y="190986"/>
                      <a:pt x="132328" y="143677"/>
                      <a:pt x="142044" y="117125"/>
                    </a:cubicBezTo>
                    <a:cubicBezTo>
                      <a:pt x="126178" y="109116"/>
                      <a:pt x="122586" y="76692"/>
                      <a:pt x="90363" y="35667"/>
                    </a:cubicBezTo>
                    <a:close/>
                  </a:path>
                </a:pathLst>
              </a:custGeom>
              <a:grpFill/>
              <a:ln w="25598" cap="flat">
                <a:noFill/>
                <a:prstDash val="solid"/>
                <a:round/>
              </a:ln>
            </p:spPr>
            <p:txBody>
              <a:bodyPr rtlCol="0" anchor="ctr"/>
              <a:lstStyle/>
              <a:p>
                <a:endParaRPr lang="en-LT"/>
              </a:p>
            </p:txBody>
          </p:sp>
          <p:sp>
            <p:nvSpPr>
              <p:cNvPr id="130" name="Freeform 129">
                <a:extLst>
                  <a:ext uri="{FF2B5EF4-FFF2-40B4-BE49-F238E27FC236}">
                    <a16:creationId xmlns:a16="http://schemas.microsoft.com/office/drawing/2014/main" id="{E75C082B-974A-0941-91FF-41DAA1D37281}"/>
                  </a:ext>
                </a:extLst>
              </p:cNvPr>
              <p:cNvSpPr/>
              <p:nvPr/>
            </p:nvSpPr>
            <p:spPr>
              <a:xfrm rot="-1917689">
                <a:off x="5803477" y="3184122"/>
                <a:ext cx="111010" cy="234975"/>
              </a:xfrm>
              <a:custGeom>
                <a:avLst/>
                <a:gdLst>
                  <a:gd name="connsiteX0" fmla="*/ 110994 w 111010"/>
                  <a:gd name="connsiteY0" fmla="*/ 212879 h 234975"/>
                  <a:gd name="connsiteX1" fmla="*/ 15772 w 111010"/>
                  <a:gd name="connsiteY1" fmla="*/ -102 h 234975"/>
                  <a:gd name="connsiteX2" fmla="*/ 25746 w 111010"/>
                  <a:gd name="connsiteY2" fmla="*/ 65054 h 234975"/>
                  <a:gd name="connsiteX3" fmla="*/ 54377 w 111010"/>
                  <a:gd name="connsiteY3" fmla="*/ 128228 h 234975"/>
                  <a:gd name="connsiteX4" fmla="*/ -17 w 111010"/>
                  <a:gd name="connsiteY4" fmla="*/ 24415 h 234975"/>
                  <a:gd name="connsiteX5" fmla="*/ 96833 w 111010"/>
                  <a:gd name="connsiteY5" fmla="*/ 234873 h 234975"/>
                  <a:gd name="connsiteX6" fmla="*/ 110994 w 111010"/>
                  <a:gd name="connsiteY6" fmla="*/ 212879 h 2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010" h="234975">
                    <a:moveTo>
                      <a:pt x="110994" y="212879"/>
                    </a:moveTo>
                    <a:cubicBezTo>
                      <a:pt x="78849" y="141877"/>
                      <a:pt x="53344" y="69613"/>
                      <a:pt x="15772" y="-102"/>
                    </a:cubicBezTo>
                    <a:cubicBezTo>
                      <a:pt x="-3298" y="22921"/>
                      <a:pt x="17374" y="47568"/>
                      <a:pt x="25746" y="65054"/>
                    </a:cubicBezTo>
                    <a:cubicBezTo>
                      <a:pt x="36057" y="86661"/>
                      <a:pt x="49029" y="106955"/>
                      <a:pt x="54377" y="128228"/>
                    </a:cubicBezTo>
                    <a:cubicBezTo>
                      <a:pt x="34971" y="93898"/>
                      <a:pt x="22671" y="58024"/>
                      <a:pt x="-17" y="24415"/>
                    </a:cubicBezTo>
                    <a:cubicBezTo>
                      <a:pt x="23266" y="96473"/>
                      <a:pt x="66109" y="164308"/>
                      <a:pt x="96833" y="234873"/>
                    </a:cubicBezTo>
                    <a:cubicBezTo>
                      <a:pt x="101536" y="227507"/>
                      <a:pt x="106265" y="220193"/>
                      <a:pt x="110994" y="212879"/>
                    </a:cubicBezTo>
                    <a:close/>
                  </a:path>
                </a:pathLst>
              </a:custGeom>
              <a:grpFill/>
              <a:ln w="25598" cap="flat">
                <a:noFill/>
                <a:prstDash val="solid"/>
                <a:round/>
              </a:ln>
            </p:spPr>
            <p:txBody>
              <a:bodyPr rtlCol="0" anchor="ctr"/>
              <a:lstStyle/>
              <a:p>
                <a:endParaRPr lang="en-LT"/>
              </a:p>
            </p:txBody>
          </p:sp>
        </p:grpSp>
      </p:grpSp>
      <p:grpSp>
        <p:nvGrpSpPr>
          <p:cNvPr id="178" name="Graphic 177">
            <a:extLst>
              <a:ext uri="{FF2B5EF4-FFF2-40B4-BE49-F238E27FC236}">
                <a16:creationId xmlns:a16="http://schemas.microsoft.com/office/drawing/2014/main" id="{7C8C996E-6E80-1945-98FC-F1FF51AAE6F6}"/>
              </a:ext>
            </a:extLst>
          </p:cNvPr>
          <p:cNvGrpSpPr/>
          <p:nvPr/>
        </p:nvGrpSpPr>
        <p:grpSpPr>
          <a:xfrm>
            <a:off x="2843825" y="1404768"/>
            <a:ext cx="840379" cy="1286928"/>
            <a:chOff x="4990387" y="1748539"/>
            <a:chExt cx="1648380" cy="2630334"/>
          </a:xfrm>
          <a:solidFill>
            <a:schemeClr val="bg1"/>
          </a:solidFill>
        </p:grpSpPr>
        <p:sp>
          <p:nvSpPr>
            <p:cNvPr id="179" name="Freeform 178">
              <a:extLst>
                <a:ext uri="{FF2B5EF4-FFF2-40B4-BE49-F238E27FC236}">
                  <a16:creationId xmlns:a16="http://schemas.microsoft.com/office/drawing/2014/main" id="{7C64DD5A-94DE-6941-B9EC-BF487A263232}"/>
                </a:ext>
              </a:extLst>
            </p:cNvPr>
            <p:cNvSpPr/>
            <p:nvPr/>
          </p:nvSpPr>
          <p:spPr>
            <a:xfrm rot="-1917689">
              <a:off x="5846942" y="3093935"/>
              <a:ext cx="12114" cy="34638"/>
            </a:xfrm>
            <a:custGeom>
              <a:avLst/>
              <a:gdLst>
                <a:gd name="connsiteX0" fmla="*/ 7272 w 12114"/>
                <a:gd name="connsiteY0" fmla="*/ 34535 h 34638"/>
                <a:gd name="connsiteX1" fmla="*/ 1768 w 12114"/>
                <a:gd name="connsiteY1" fmla="*/ -103 h 34638"/>
                <a:gd name="connsiteX2" fmla="*/ 7272 w 12114"/>
                <a:gd name="connsiteY2" fmla="*/ 34535 h 34638"/>
              </a:gdLst>
              <a:ahLst/>
              <a:cxnLst>
                <a:cxn ang="0">
                  <a:pos x="connsiteX0" y="connsiteY0"/>
                </a:cxn>
                <a:cxn ang="0">
                  <a:pos x="connsiteX1" y="connsiteY1"/>
                </a:cxn>
                <a:cxn ang="0">
                  <a:pos x="connsiteX2" y="connsiteY2"/>
                </a:cxn>
              </a:cxnLst>
              <a:rect l="l" t="t" r="r" b="b"/>
              <a:pathLst>
                <a:path w="12114" h="34638">
                  <a:moveTo>
                    <a:pt x="7272" y="34535"/>
                  </a:moveTo>
                  <a:cubicBezTo>
                    <a:pt x="19236" y="19985"/>
                    <a:pt x="5644" y="11023"/>
                    <a:pt x="1768" y="-103"/>
                  </a:cubicBezTo>
                  <a:cubicBezTo>
                    <a:pt x="-1798" y="12645"/>
                    <a:pt x="-67" y="24234"/>
                    <a:pt x="7272" y="34535"/>
                  </a:cubicBezTo>
                  <a:close/>
                </a:path>
              </a:pathLst>
            </a:custGeom>
            <a:grpFill/>
            <a:ln w="25598" cap="flat">
              <a:noFill/>
              <a:prstDash val="solid"/>
              <a:round/>
            </a:ln>
          </p:spPr>
          <p:txBody>
            <a:bodyPr rtlCol="0" anchor="ctr"/>
            <a:lstStyle/>
            <a:p>
              <a:endParaRPr lang="en-LT"/>
            </a:p>
          </p:txBody>
        </p:sp>
        <p:sp>
          <p:nvSpPr>
            <p:cNvPr id="180" name="Freeform 179">
              <a:extLst>
                <a:ext uri="{FF2B5EF4-FFF2-40B4-BE49-F238E27FC236}">
                  <a16:creationId xmlns:a16="http://schemas.microsoft.com/office/drawing/2014/main" id="{8B89C2CF-EF02-A441-9A74-6A4AE4CD5009}"/>
                </a:ext>
              </a:extLst>
            </p:cNvPr>
            <p:cNvSpPr/>
            <p:nvPr/>
          </p:nvSpPr>
          <p:spPr>
            <a:xfrm rot="-1917689">
              <a:off x="5750093" y="1800622"/>
              <a:ext cx="30621" cy="81741"/>
            </a:xfrm>
            <a:custGeom>
              <a:avLst/>
              <a:gdLst>
                <a:gd name="connsiteX0" fmla="*/ -47 w 30621"/>
                <a:gd name="connsiteY0" fmla="*/ -109 h 81741"/>
                <a:gd name="connsiteX1" fmla="*/ 30574 w 30621"/>
                <a:gd name="connsiteY1" fmla="*/ 81633 h 81741"/>
                <a:gd name="connsiteX2" fmla="*/ -47 w 30621"/>
                <a:gd name="connsiteY2" fmla="*/ -109 h 81741"/>
              </a:gdLst>
              <a:ahLst/>
              <a:cxnLst>
                <a:cxn ang="0">
                  <a:pos x="connsiteX0" y="connsiteY0"/>
                </a:cxn>
                <a:cxn ang="0">
                  <a:pos x="connsiteX1" y="connsiteY1"/>
                </a:cxn>
                <a:cxn ang="0">
                  <a:pos x="connsiteX2" y="connsiteY2"/>
                </a:cxn>
              </a:cxnLst>
              <a:rect l="l" t="t" r="r" b="b"/>
              <a:pathLst>
                <a:path w="30621" h="81741">
                  <a:moveTo>
                    <a:pt x="-47" y="-109"/>
                  </a:moveTo>
                  <a:cubicBezTo>
                    <a:pt x="26594" y="20880"/>
                    <a:pt x="26336" y="69735"/>
                    <a:pt x="30574" y="81633"/>
                  </a:cubicBezTo>
                  <a:cubicBezTo>
                    <a:pt x="29463" y="53793"/>
                    <a:pt x="31426" y="14081"/>
                    <a:pt x="-47" y="-109"/>
                  </a:cubicBezTo>
                  <a:close/>
                </a:path>
              </a:pathLst>
            </a:custGeom>
            <a:grpFill/>
            <a:ln w="25598" cap="flat">
              <a:noFill/>
              <a:prstDash val="solid"/>
              <a:round/>
            </a:ln>
          </p:spPr>
          <p:txBody>
            <a:bodyPr rtlCol="0" anchor="ctr"/>
            <a:lstStyle/>
            <a:p>
              <a:endParaRPr lang="en-LT"/>
            </a:p>
          </p:txBody>
        </p:sp>
        <p:sp>
          <p:nvSpPr>
            <p:cNvPr id="181" name="Freeform 180">
              <a:extLst>
                <a:ext uri="{FF2B5EF4-FFF2-40B4-BE49-F238E27FC236}">
                  <a16:creationId xmlns:a16="http://schemas.microsoft.com/office/drawing/2014/main" id="{FCC50013-45D9-4744-864B-A33FE847BC76}"/>
                </a:ext>
              </a:extLst>
            </p:cNvPr>
            <p:cNvSpPr/>
            <p:nvPr/>
          </p:nvSpPr>
          <p:spPr>
            <a:xfrm rot="-1917689">
              <a:off x="5446056" y="3054622"/>
              <a:ext cx="18631" cy="21864"/>
            </a:xfrm>
            <a:custGeom>
              <a:avLst/>
              <a:gdLst>
                <a:gd name="connsiteX0" fmla="*/ 9460 w 18631"/>
                <a:gd name="connsiteY0" fmla="*/ -95 h 21864"/>
                <a:gd name="connsiteX1" fmla="*/ -24 w 18631"/>
                <a:gd name="connsiteY1" fmla="*/ 14584 h 21864"/>
                <a:gd name="connsiteX2" fmla="*/ 5790 w 18631"/>
                <a:gd name="connsiteY2" fmla="*/ 21769 h 21864"/>
                <a:gd name="connsiteX3" fmla="*/ 18607 w 18631"/>
                <a:gd name="connsiteY3" fmla="*/ 12679 h 21864"/>
                <a:gd name="connsiteX4" fmla="*/ 9460 w 18631"/>
                <a:gd name="connsiteY4" fmla="*/ -95 h 21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31" h="21864">
                  <a:moveTo>
                    <a:pt x="9460" y="-95"/>
                  </a:moveTo>
                  <a:cubicBezTo>
                    <a:pt x="6281" y="4798"/>
                    <a:pt x="3154" y="9717"/>
                    <a:pt x="-24" y="14584"/>
                  </a:cubicBezTo>
                  <a:cubicBezTo>
                    <a:pt x="3439" y="16645"/>
                    <a:pt x="4679" y="19194"/>
                    <a:pt x="5790" y="21769"/>
                  </a:cubicBezTo>
                  <a:cubicBezTo>
                    <a:pt x="10390" y="20147"/>
                    <a:pt x="14007" y="14275"/>
                    <a:pt x="18607" y="12679"/>
                  </a:cubicBezTo>
                  <a:cubicBezTo>
                    <a:pt x="14602" y="8609"/>
                    <a:pt x="15868" y="3433"/>
                    <a:pt x="9460" y="-95"/>
                  </a:cubicBezTo>
                  <a:close/>
                </a:path>
              </a:pathLst>
            </a:custGeom>
            <a:grpFill/>
            <a:ln w="25598" cap="flat">
              <a:noFill/>
              <a:prstDash val="solid"/>
              <a:round/>
            </a:ln>
          </p:spPr>
          <p:txBody>
            <a:bodyPr rtlCol="0" anchor="ctr"/>
            <a:lstStyle/>
            <a:p>
              <a:endParaRPr lang="en-LT"/>
            </a:p>
          </p:txBody>
        </p:sp>
        <p:sp>
          <p:nvSpPr>
            <p:cNvPr id="182" name="Freeform 181">
              <a:extLst>
                <a:ext uri="{FF2B5EF4-FFF2-40B4-BE49-F238E27FC236}">
                  <a16:creationId xmlns:a16="http://schemas.microsoft.com/office/drawing/2014/main" id="{EA8571BC-48D2-014F-A7BD-98AAEC1325A0}"/>
                </a:ext>
              </a:extLst>
            </p:cNvPr>
            <p:cNvSpPr/>
            <p:nvPr/>
          </p:nvSpPr>
          <p:spPr>
            <a:xfrm rot="-1917689">
              <a:off x="5500118" y="2744212"/>
              <a:ext cx="21617" cy="19191"/>
            </a:xfrm>
            <a:custGeom>
              <a:avLst/>
              <a:gdLst>
                <a:gd name="connsiteX0" fmla="*/ 21573 w 21617"/>
                <a:gd name="connsiteY0" fmla="*/ -98 h 19191"/>
                <a:gd name="connsiteX1" fmla="*/ -30 w 21617"/>
                <a:gd name="connsiteY1" fmla="*/ 17234 h 19191"/>
                <a:gd name="connsiteX2" fmla="*/ 21573 w 21617"/>
                <a:gd name="connsiteY2" fmla="*/ -98 h 19191"/>
              </a:gdLst>
              <a:ahLst/>
              <a:cxnLst>
                <a:cxn ang="0">
                  <a:pos x="connsiteX0" y="connsiteY0"/>
                </a:cxn>
                <a:cxn ang="0">
                  <a:pos x="connsiteX1" y="connsiteY1"/>
                </a:cxn>
                <a:cxn ang="0">
                  <a:pos x="connsiteX2" y="connsiteY2"/>
                </a:cxn>
              </a:cxnLst>
              <a:rect l="l" t="t" r="r" b="b"/>
              <a:pathLst>
                <a:path w="21617" h="19191">
                  <a:moveTo>
                    <a:pt x="21573" y="-98"/>
                  </a:moveTo>
                  <a:cubicBezTo>
                    <a:pt x="14131" y="4666"/>
                    <a:pt x="6378" y="7757"/>
                    <a:pt x="-30" y="17234"/>
                  </a:cubicBezTo>
                  <a:cubicBezTo>
                    <a:pt x="8988" y="25655"/>
                    <a:pt x="22089" y="2915"/>
                    <a:pt x="21573" y="-98"/>
                  </a:cubicBezTo>
                  <a:close/>
                </a:path>
              </a:pathLst>
            </a:custGeom>
            <a:grpFill/>
            <a:ln w="25598" cap="flat">
              <a:noFill/>
              <a:prstDash val="solid"/>
              <a:round/>
            </a:ln>
          </p:spPr>
          <p:txBody>
            <a:bodyPr rtlCol="0" anchor="ctr"/>
            <a:lstStyle/>
            <a:p>
              <a:endParaRPr lang="en-LT"/>
            </a:p>
          </p:txBody>
        </p:sp>
        <p:sp>
          <p:nvSpPr>
            <p:cNvPr id="183" name="Freeform 182">
              <a:extLst>
                <a:ext uri="{FF2B5EF4-FFF2-40B4-BE49-F238E27FC236}">
                  <a16:creationId xmlns:a16="http://schemas.microsoft.com/office/drawing/2014/main" id="{6DE9912A-6858-2F43-8C7A-6EE2494DBC1D}"/>
                </a:ext>
              </a:extLst>
            </p:cNvPr>
            <p:cNvSpPr/>
            <p:nvPr/>
          </p:nvSpPr>
          <p:spPr>
            <a:xfrm rot="-1917689">
              <a:off x="5804793" y="3071917"/>
              <a:ext cx="15788" cy="24103"/>
            </a:xfrm>
            <a:custGeom>
              <a:avLst/>
              <a:gdLst>
                <a:gd name="connsiteX0" fmla="*/ -21 w 15788"/>
                <a:gd name="connsiteY0" fmla="*/ -21 h 24103"/>
                <a:gd name="connsiteX1" fmla="*/ 15767 w 15788"/>
                <a:gd name="connsiteY1" fmla="*/ 23878 h 24103"/>
                <a:gd name="connsiteX2" fmla="*/ -21 w 15788"/>
                <a:gd name="connsiteY2" fmla="*/ -21 h 24103"/>
              </a:gdLst>
              <a:ahLst/>
              <a:cxnLst>
                <a:cxn ang="0">
                  <a:pos x="connsiteX0" y="connsiteY0"/>
                </a:cxn>
                <a:cxn ang="0">
                  <a:pos x="connsiteX1" y="connsiteY1"/>
                </a:cxn>
                <a:cxn ang="0">
                  <a:pos x="connsiteX2" y="connsiteY2"/>
                </a:cxn>
              </a:cxnLst>
              <a:rect l="l" t="t" r="r" b="b"/>
              <a:pathLst>
                <a:path w="15788" h="24103">
                  <a:moveTo>
                    <a:pt x="-21" y="-21"/>
                  </a:moveTo>
                  <a:cubicBezTo>
                    <a:pt x="5121" y="6675"/>
                    <a:pt x="3364" y="25706"/>
                    <a:pt x="15767" y="23878"/>
                  </a:cubicBezTo>
                  <a:cubicBezTo>
                    <a:pt x="10289" y="17337"/>
                    <a:pt x="10392" y="-1489"/>
                    <a:pt x="-21" y="-21"/>
                  </a:cubicBezTo>
                  <a:close/>
                </a:path>
              </a:pathLst>
            </a:custGeom>
            <a:grpFill/>
            <a:ln w="25598" cap="flat">
              <a:noFill/>
              <a:prstDash val="solid"/>
              <a:round/>
            </a:ln>
          </p:spPr>
          <p:txBody>
            <a:bodyPr rtlCol="0" anchor="ctr"/>
            <a:lstStyle/>
            <a:p>
              <a:endParaRPr lang="en-LT"/>
            </a:p>
          </p:txBody>
        </p:sp>
        <p:sp>
          <p:nvSpPr>
            <p:cNvPr id="184" name="Freeform 183">
              <a:extLst>
                <a:ext uri="{FF2B5EF4-FFF2-40B4-BE49-F238E27FC236}">
                  <a16:creationId xmlns:a16="http://schemas.microsoft.com/office/drawing/2014/main" id="{09A7FDEB-4A62-4E46-A4D7-229341B52490}"/>
                </a:ext>
              </a:extLst>
            </p:cNvPr>
            <p:cNvSpPr/>
            <p:nvPr/>
          </p:nvSpPr>
          <p:spPr>
            <a:xfrm rot="-1917689">
              <a:off x="5673228" y="1831202"/>
              <a:ext cx="138556" cy="290473"/>
            </a:xfrm>
            <a:custGeom>
              <a:avLst/>
              <a:gdLst>
                <a:gd name="connsiteX0" fmla="*/ 59983 w 138556"/>
                <a:gd name="connsiteY0" fmla="*/ 134017 h 290473"/>
                <a:gd name="connsiteX1" fmla="*/ 72412 w 138556"/>
                <a:gd name="connsiteY1" fmla="*/ 103962 h 290473"/>
                <a:gd name="connsiteX2" fmla="*/ 28483 w 138556"/>
                <a:gd name="connsiteY2" fmla="*/ -108 h 290473"/>
                <a:gd name="connsiteX3" fmla="*/ -45 w 138556"/>
                <a:gd name="connsiteY3" fmla="*/ 33501 h 290473"/>
                <a:gd name="connsiteX4" fmla="*/ 15046 w 138556"/>
                <a:gd name="connsiteY4" fmla="*/ 63838 h 290473"/>
                <a:gd name="connsiteX5" fmla="*/ 28509 w 138556"/>
                <a:gd name="connsiteY5" fmla="*/ 48309 h 290473"/>
                <a:gd name="connsiteX6" fmla="*/ 15925 w 138556"/>
                <a:gd name="connsiteY6" fmla="*/ 67856 h 290473"/>
                <a:gd name="connsiteX7" fmla="*/ 115411 w 138556"/>
                <a:gd name="connsiteY7" fmla="*/ 290366 h 290473"/>
                <a:gd name="connsiteX8" fmla="*/ 138512 w 138556"/>
                <a:gd name="connsiteY8" fmla="*/ 270613 h 290473"/>
                <a:gd name="connsiteX9" fmla="*/ 74143 w 138556"/>
                <a:gd name="connsiteY9" fmla="*/ 111997 h 290473"/>
                <a:gd name="connsiteX10" fmla="*/ 59983 w 138556"/>
                <a:gd name="connsiteY10" fmla="*/ 134017 h 290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556" h="290473">
                  <a:moveTo>
                    <a:pt x="59983" y="134017"/>
                  </a:moveTo>
                  <a:cubicBezTo>
                    <a:pt x="58820" y="125132"/>
                    <a:pt x="64376" y="114856"/>
                    <a:pt x="72412" y="103962"/>
                  </a:cubicBezTo>
                  <a:cubicBezTo>
                    <a:pt x="58872" y="68989"/>
                    <a:pt x="43781" y="34428"/>
                    <a:pt x="28483" y="-108"/>
                  </a:cubicBezTo>
                  <a:cubicBezTo>
                    <a:pt x="18121" y="7335"/>
                    <a:pt x="8612" y="18435"/>
                    <a:pt x="-45" y="33501"/>
                  </a:cubicBezTo>
                  <a:cubicBezTo>
                    <a:pt x="6700" y="43184"/>
                    <a:pt x="8224" y="54104"/>
                    <a:pt x="15046" y="63838"/>
                  </a:cubicBezTo>
                  <a:cubicBezTo>
                    <a:pt x="19749" y="59718"/>
                    <a:pt x="22385" y="45811"/>
                    <a:pt x="28509" y="48309"/>
                  </a:cubicBezTo>
                  <a:cubicBezTo>
                    <a:pt x="24323" y="54799"/>
                    <a:pt x="20111" y="61366"/>
                    <a:pt x="15925" y="67856"/>
                  </a:cubicBezTo>
                  <a:cubicBezTo>
                    <a:pt x="49828" y="141897"/>
                    <a:pt x="77425" y="217303"/>
                    <a:pt x="115411" y="290366"/>
                  </a:cubicBezTo>
                  <a:cubicBezTo>
                    <a:pt x="122698" y="281893"/>
                    <a:pt x="131819" y="281687"/>
                    <a:pt x="138512" y="270613"/>
                  </a:cubicBezTo>
                  <a:cubicBezTo>
                    <a:pt x="120475" y="216994"/>
                    <a:pt x="99054" y="164122"/>
                    <a:pt x="74143" y="111997"/>
                  </a:cubicBezTo>
                  <a:cubicBezTo>
                    <a:pt x="66546" y="118745"/>
                    <a:pt x="70991" y="133579"/>
                    <a:pt x="59983" y="134017"/>
                  </a:cubicBezTo>
                  <a:close/>
                </a:path>
              </a:pathLst>
            </a:custGeom>
            <a:grpFill/>
            <a:ln w="25598" cap="flat">
              <a:noFill/>
              <a:prstDash val="solid"/>
              <a:round/>
            </a:ln>
          </p:spPr>
          <p:txBody>
            <a:bodyPr rtlCol="0" anchor="ctr"/>
            <a:lstStyle/>
            <a:p>
              <a:endParaRPr lang="en-LT"/>
            </a:p>
          </p:txBody>
        </p:sp>
        <p:sp>
          <p:nvSpPr>
            <p:cNvPr id="185" name="Freeform 184">
              <a:extLst>
                <a:ext uri="{FF2B5EF4-FFF2-40B4-BE49-F238E27FC236}">
                  <a16:creationId xmlns:a16="http://schemas.microsoft.com/office/drawing/2014/main" id="{1E1C1302-A925-C54D-A8FD-F52359A7A60C}"/>
                </a:ext>
              </a:extLst>
            </p:cNvPr>
            <p:cNvSpPr/>
            <p:nvPr/>
          </p:nvSpPr>
          <p:spPr>
            <a:xfrm rot="-1917689">
              <a:off x="5637861" y="1895610"/>
              <a:ext cx="163883" cy="281205"/>
            </a:xfrm>
            <a:custGeom>
              <a:avLst/>
              <a:gdLst>
                <a:gd name="connsiteX0" fmla="*/ 33578 w 163883"/>
                <a:gd name="connsiteY0" fmla="*/ 171283 h 281205"/>
                <a:gd name="connsiteX1" fmla="*/ 59005 w 163883"/>
                <a:gd name="connsiteY1" fmla="*/ 228971 h 281205"/>
                <a:gd name="connsiteX2" fmla="*/ 59884 w 163883"/>
                <a:gd name="connsiteY2" fmla="*/ 233014 h 281205"/>
                <a:gd name="connsiteX3" fmla="*/ 32958 w 163883"/>
                <a:gd name="connsiteY3" fmla="*/ 177747 h 281205"/>
                <a:gd name="connsiteX4" fmla="*/ 33578 w 163883"/>
                <a:gd name="connsiteY4" fmla="*/ 171283 h 281205"/>
                <a:gd name="connsiteX5" fmla="*/ 114536 w 163883"/>
                <a:gd name="connsiteY5" fmla="*/ 212617 h 281205"/>
                <a:gd name="connsiteX6" fmla="*/ 99316 w 163883"/>
                <a:gd name="connsiteY6" fmla="*/ 220189 h 281205"/>
                <a:gd name="connsiteX7" fmla="*/ 114536 w 163883"/>
                <a:gd name="connsiteY7" fmla="*/ 212617 h 281205"/>
                <a:gd name="connsiteX8" fmla="*/ 163840 w 163883"/>
                <a:gd name="connsiteY8" fmla="*/ 254518 h 281205"/>
                <a:gd name="connsiteX9" fmla="*/ 57325 w 163883"/>
                <a:gd name="connsiteY9" fmla="*/ -107 h 281205"/>
                <a:gd name="connsiteX10" fmla="*/ 14792 w 163883"/>
                <a:gd name="connsiteY10" fmla="*/ 249058 h 281205"/>
                <a:gd name="connsiteX11" fmla="*/ 163840 w 163883"/>
                <a:gd name="connsiteY11" fmla="*/ 254518 h 28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883" h="281205">
                  <a:moveTo>
                    <a:pt x="33578" y="171283"/>
                  </a:moveTo>
                  <a:cubicBezTo>
                    <a:pt x="39030" y="191216"/>
                    <a:pt x="42932" y="211433"/>
                    <a:pt x="59005" y="228971"/>
                  </a:cubicBezTo>
                  <a:cubicBezTo>
                    <a:pt x="63760" y="231057"/>
                    <a:pt x="62494" y="234508"/>
                    <a:pt x="59884" y="233014"/>
                  </a:cubicBezTo>
                  <a:cubicBezTo>
                    <a:pt x="40994" y="216712"/>
                    <a:pt x="34508" y="197809"/>
                    <a:pt x="32958" y="177747"/>
                  </a:cubicBezTo>
                  <a:cubicBezTo>
                    <a:pt x="30581" y="176202"/>
                    <a:pt x="32984" y="173601"/>
                    <a:pt x="33578" y="171283"/>
                  </a:cubicBezTo>
                  <a:close/>
                  <a:moveTo>
                    <a:pt x="114536" y="212617"/>
                  </a:moveTo>
                  <a:cubicBezTo>
                    <a:pt x="110738" y="221090"/>
                    <a:pt x="103735" y="214883"/>
                    <a:pt x="99316" y="220189"/>
                  </a:cubicBezTo>
                  <a:cubicBezTo>
                    <a:pt x="95569" y="214729"/>
                    <a:pt x="108877" y="207029"/>
                    <a:pt x="114536" y="212617"/>
                  </a:cubicBezTo>
                  <a:close/>
                  <a:moveTo>
                    <a:pt x="163840" y="254518"/>
                  </a:moveTo>
                  <a:cubicBezTo>
                    <a:pt x="133684" y="168450"/>
                    <a:pt x="91719" y="84983"/>
                    <a:pt x="57325" y="-107"/>
                  </a:cubicBezTo>
                  <a:cubicBezTo>
                    <a:pt x="2259" y="52070"/>
                    <a:pt x="-15855" y="210660"/>
                    <a:pt x="14792" y="249058"/>
                  </a:cubicBezTo>
                  <a:cubicBezTo>
                    <a:pt x="56990" y="302059"/>
                    <a:pt x="120531" y="278675"/>
                    <a:pt x="163840" y="254518"/>
                  </a:cubicBezTo>
                  <a:close/>
                </a:path>
              </a:pathLst>
            </a:custGeom>
            <a:grpFill/>
            <a:ln w="25598" cap="flat">
              <a:noFill/>
              <a:prstDash val="solid"/>
              <a:round/>
            </a:ln>
          </p:spPr>
          <p:txBody>
            <a:bodyPr rtlCol="0" anchor="ctr"/>
            <a:lstStyle/>
            <a:p>
              <a:endParaRPr lang="en-LT"/>
            </a:p>
          </p:txBody>
        </p:sp>
        <p:sp>
          <p:nvSpPr>
            <p:cNvPr id="186" name="Freeform 185">
              <a:extLst>
                <a:ext uri="{FF2B5EF4-FFF2-40B4-BE49-F238E27FC236}">
                  <a16:creationId xmlns:a16="http://schemas.microsoft.com/office/drawing/2014/main" id="{6DFF6281-AF71-D247-B9BA-E06C0D85C05B}"/>
                </a:ext>
              </a:extLst>
            </p:cNvPr>
            <p:cNvSpPr/>
            <p:nvPr/>
          </p:nvSpPr>
          <p:spPr>
            <a:xfrm rot="-1917689">
              <a:off x="5622252" y="2299690"/>
              <a:ext cx="34186" cy="45750"/>
            </a:xfrm>
            <a:custGeom>
              <a:avLst/>
              <a:gdLst>
                <a:gd name="connsiteX0" fmla="*/ 34149 w 34186"/>
                <a:gd name="connsiteY0" fmla="*/ 13146 h 45750"/>
                <a:gd name="connsiteX1" fmla="*/ -38 w 34186"/>
                <a:gd name="connsiteY1" fmla="*/ 1660 h 45750"/>
                <a:gd name="connsiteX2" fmla="*/ 20169 w 34186"/>
                <a:gd name="connsiteY2" fmla="*/ 45647 h 45750"/>
                <a:gd name="connsiteX3" fmla="*/ 34149 w 34186"/>
                <a:gd name="connsiteY3" fmla="*/ 13146 h 45750"/>
              </a:gdLst>
              <a:ahLst/>
              <a:cxnLst>
                <a:cxn ang="0">
                  <a:pos x="connsiteX0" y="connsiteY0"/>
                </a:cxn>
                <a:cxn ang="0">
                  <a:pos x="connsiteX1" y="connsiteY1"/>
                </a:cxn>
                <a:cxn ang="0">
                  <a:pos x="connsiteX2" y="connsiteY2"/>
                </a:cxn>
                <a:cxn ang="0">
                  <a:pos x="connsiteX3" y="connsiteY3"/>
                </a:cxn>
              </a:cxnLst>
              <a:rect l="l" t="t" r="r" b="b"/>
              <a:pathLst>
                <a:path w="34186" h="45750">
                  <a:moveTo>
                    <a:pt x="34149" y="13146"/>
                  </a:moveTo>
                  <a:cubicBezTo>
                    <a:pt x="22443" y="7789"/>
                    <a:pt x="9109" y="-4701"/>
                    <a:pt x="-38" y="1660"/>
                  </a:cubicBezTo>
                  <a:cubicBezTo>
                    <a:pt x="10169" y="15567"/>
                    <a:pt x="11125" y="31534"/>
                    <a:pt x="20169" y="45647"/>
                  </a:cubicBezTo>
                  <a:cubicBezTo>
                    <a:pt x="26836" y="34367"/>
                    <a:pt x="31668" y="23473"/>
                    <a:pt x="34149" y="13146"/>
                  </a:cubicBezTo>
                  <a:close/>
                </a:path>
              </a:pathLst>
            </a:custGeom>
            <a:grpFill/>
            <a:ln w="25598" cap="flat">
              <a:noFill/>
              <a:prstDash val="solid"/>
              <a:round/>
            </a:ln>
          </p:spPr>
          <p:txBody>
            <a:bodyPr rtlCol="0" anchor="ctr"/>
            <a:lstStyle/>
            <a:p>
              <a:endParaRPr lang="en-LT"/>
            </a:p>
          </p:txBody>
        </p:sp>
        <p:sp>
          <p:nvSpPr>
            <p:cNvPr id="187" name="Freeform 186">
              <a:extLst>
                <a:ext uri="{FF2B5EF4-FFF2-40B4-BE49-F238E27FC236}">
                  <a16:creationId xmlns:a16="http://schemas.microsoft.com/office/drawing/2014/main" id="{57159CFD-8570-404C-81F4-8ACEBE99E4DC}"/>
                </a:ext>
              </a:extLst>
            </p:cNvPr>
            <p:cNvSpPr/>
            <p:nvPr/>
          </p:nvSpPr>
          <p:spPr>
            <a:xfrm rot="-1917689">
              <a:off x="5598406" y="2289163"/>
              <a:ext cx="41249" cy="96910"/>
            </a:xfrm>
            <a:custGeom>
              <a:avLst/>
              <a:gdLst>
                <a:gd name="connsiteX0" fmla="*/ -38 w 41249"/>
                <a:gd name="connsiteY0" fmla="*/ -103 h 96910"/>
                <a:gd name="connsiteX1" fmla="*/ 38103 w 41249"/>
                <a:gd name="connsiteY1" fmla="*/ 96807 h 96910"/>
                <a:gd name="connsiteX2" fmla="*/ -38 w 41249"/>
                <a:gd name="connsiteY2" fmla="*/ -103 h 96910"/>
              </a:gdLst>
              <a:ahLst/>
              <a:cxnLst>
                <a:cxn ang="0">
                  <a:pos x="connsiteX0" y="connsiteY0"/>
                </a:cxn>
                <a:cxn ang="0">
                  <a:pos x="connsiteX1" y="connsiteY1"/>
                </a:cxn>
                <a:cxn ang="0">
                  <a:pos x="connsiteX2" y="connsiteY2"/>
                </a:cxn>
              </a:cxnLst>
              <a:rect l="l" t="t" r="r" b="b"/>
              <a:pathLst>
                <a:path w="41249" h="96910">
                  <a:moveTo>
                    <a:pt x="-38" y="-103"/>
                  </a:moveTo>
                  <a:cubicBezTo>
                    <a:pt x="7404" y="33325"/>
                    <a:pt x="22934" y="65028"/>
                    <a:pt x="38103" y="96807"/>
                  </a:cubicBezTo>
                  <a:cubicBezTo>
                    <a:pt x="48103" y="59542"/>
                    <a:pt x="33606" y="27634"/>
                    <a:pt x="-38" y="-103"/>
                  </a:cubicBezTo>
                  <a:close/>
                </a:path>
              </a:pathLst>
            </a:custGeom>
            <a:grpFill/>
            <a:ln w="25598" cap="flat">
              <a:noFill/>
              <a:prstDash val="solid"/>
              <a:round/>
            </a:ln>
          </p:spPr>
          <p:txBody>
            <a:bodyPr rtlCol="0" anchor="ctr"/>
            <a:lstStyle/>
            <a:p>
              <a:endParaRPr lang="en-LT"/>
            </a:p>
          </p:txBody>
        </p:sp>
        <p:sp>
          <p:nvSpPr>
            <p:cNvPr id="188" name="Freeform 187">
              <a:extLst>
                <a:ext uri="{FF2B5EF4-FFF2-40B4-BE49-F238E27FC236}">
                  <a16:creationId xmlns:a16="http://schemas.microsoft.com/office/drawing/2014/main" id="{BA074575-5D08-4643-AC9E-A212217A6A28}"/>
                </a:ext>
              </a:extLst>
            </p:cNvPr>
            <p:cNvSpPr/>
            <p:nvPr/>
          </p:nvSpPr>
          <p:spPr>
            <a:xfrm rot="-1917689">
              <a:off x="5583680" y="2288598"/>
              <a:ext cx="58657" cy="140407"/>
            </a:xfrm>
            <a:custGeom>
              <a:avLst/>
              <a:gdLst>
                <a:gd name="connsiteX0" fmla="*/ 50067 w 58657"/>
                <a:gd name="connsiteY0" fmla="*/ 140305 h 140407"/>
                <a:gd name="connsiteX1" fmla="*/ 58620 w 58657"/>
                <a:gd name="connsiteY1" fmla="*/ 121608 h 140407"/>
                <a:gd name="connsiteX2" fmla="*/ 8696 w 58657"/>
                <a:gd name="connsiteY2" fmla="*/ -103 h 140407"/>
                <a:gd name="connsiteX3" fmla="*/ -38 w 58657"/>
                <a:gd name="connsiteY3" fmla="*/ 8087 h 140407"/>
                <a:gd name="connsiteX4" fmla="*/ 50067 w 58657"/>
                <a:gd name="connsiteY4" fmla="*/ 140305 h 140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57" h="140407">
                  <a:moveTo>
                    <a:pt x="50067" y="140305"/>
                  </a:moveTo>
                  <a:cubicBezTo>
                    <a:pt x="52987" y="134099"/>
                    <a:pt x="52134" y="128639"/>
                    <a:pt x="58620" y="121608"/>
                  </a:cubicBezTo>
                  <a:cubicBezTo>
                    <a:pt x="42082" y="81021"/>
                    <a:pt x="28749" y="39712"/>
                    <a:pt x="8696" y="-103"/>
                  </a:cubicBezTo>
                  <a:cubicBezTo>
                    <a:pt x="5802" y="2653"/>
                    <a:pt x="2236" y="2318"/>
                    <a:pt x="-38" y="8087"/>
                  </a:cubicBezTo>
                  <a:cubicBezTo>
                    <a:pt x="13193" y="52949"/>
                    <a:pt x="34692" y="95906"/>
                    <a:pt x="50067" y="140305"/>
                  </a:cubicBezTo>
                  <a:close/>
                </a:path>
              </a:pathLst>
            </a:custGeom>
            <a:grpFill/>
            <a:ln w="25598" cap="flat">
              <a:noFill/>
              <a:prstDash val="solid"/>
              <a:round/>
            </a:ln>
          </p:spPr>
          <p:txBody>
            <a:bodyPr rtlCol="0" anchor="ctr"/>
            <a:lstStyle/>
            <a:p>
              <a:endParaRPr lang="en-LT"/>
            </a:p>
          </p:txBody>
        </p:sp>
        <p:sp>
          <p:nvSpPr>
            <p:cNvPr id="189" name="Freeform 188">
              <a:extLst>
                <a:ext uri="{FF2B5EF4-FFF2-40B4-BE49-F238E27FC236}">
                  <a16:creationId xmlns:a16="http://schemas.microsoft.com/office/drawing/2014/main" id="{7C8F1C16-8837-0F4C-848E-4D81DA78D26D}"/>
                </a:ext>
              </a:extLst>
            </p:cNvPr>
            <p:cNvSpPr/>
            <p:nvPr/>
          </p:nvSpPr>
          <p:spPr>
            <a:xfrm rot="-1917689">
              <a:off x="5715833" y="2310043"/>
              <a:ext cx="70828" cy="68150"/>
            </a:xfrm>
            <a:custGeom>
              <a:avLst/>
              <a:gdLst>
                <a:gd name="connsiteX0" fmla="*/ 35494 w 70828"/>
                <a:gd name="connsiteY0" fmla="*/ -106 h 68150"/>
                <a:gd name="connsiteX1" fmla="*/ -37 w 70828"/>
                <a:gd name="connsiteY1" fmla="*/ 49702 h 68150"/>
                <a:gd name="connsiteX2" fmla="*/ 58569 w 70828"/>
                <a:gd name="connsiteY2" fmla="*/ 66441 h 68150"/>
                <a:gd name="connsiteX3" fmla="*/ 70792 w 70828"/>
                <a:gd name="connsiteY3" fmla="*/ 25931 h 68150"/>
                <a:gd name="connsiteX4" fmla="*/ 35494 w 70828"/>
                <a:gd name="connsiteY4" fmla="*/ -106 h 6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28" h="68150">
                  <a:moveTo>
                    <a:pt x="35494" y="-106"/>
                  </a:moveTo>
                  <a:cubicBezTo>
                    <a:pt x="23245" y="13389"/>
                    <a:pt x="4666" y="32292"/>
                    <a:pt x="-37" y="49702"/>
                  </a:cubicBezTo>
                  <a:cubicBezTo>
                    <a:pt x="12651" y="57428"/>
                    <a:pt x="42316" y="73086"/>
                    <a:pt x="58569" y="66441"/>
                  </a:cubicBezTo>
                  <a:cubicBezTo>
                    <a:pt x="63014" y="52818"/>
                    <a:pt x="68854" y="38937"/>
                    <a:pt x="70792" y="25931"/>
                  </a:cubicBezTo>
                  <a:cubicBezTo>
                    <a:pt x="65055" y="16634"/>
                    <a:pt x="49602" y="616"/>
                    <a:pt x="35494" y="-106"/>
                  </a:cubicBezTo>
                  <a:close/>
                </a:path>
              </a:pathLst>
            </a:custGeom>
            <a:grpFill/>
            <a:ln w="25598" cap="flat">
              <a:noFill/>
              <a:prstDash val="solid"/>
              <a:round/>
            </a:ln>
          </p:spPr>
          <p:txBody>
            <a:bodyPr rtlCol="0" anchor="ctr"/>
            <a:lstStyle/>
            <a:p>
              <a:endParaRPr lang="en-LT"/>
            </a:p>
          </p:txBody>
        </p:sp>
        <p:sp>
          <p:nvSpPr>
            <p:cNvPr id="190" name="Freeform 189">
              <a:extLst>
                <a:ext uri="{FF2B5EF4-FFF2-40B4-BE49-F238E27FC236}">
                  <a16:creationId xmlns:a16="http://schemas.microsoft.com/office/drawing/2014/main" id="{7D9E1BC0-6B45-C843-99B7-0B560FFC0828}"/>
                </a:ext>
              </a:extLst>
            </p:cNvPr>
            <p:cNvSpPr/>
            <p:nvPr/>
          </p:nvSpPr>
          <p:spPr>
            <a:xfrm rot="-1917689">
              <a:off x="5556386" y="2306445"/>
              <a:ext cx="89847" cy="172863"/>
            </a:xfrm>
            <a:custGeom>
              <a:avLst/>
              <a:gdLst>
                <a:gd name="connsiteX0" fmla="*/ 34718 w 89847"/>
                <a:gd name="connsiteY0" fmla="*/ 47754 h 172863"/>
                <a:gd name="connsiteX1" fmla="*/ 47897 w 89847"/>
                <a:gd name="connsiteY1" fmla="*/ 59601 h 172863"/>
                <a:gd name="connsiteX2" fmla="*/ 34718 w 89847"/>
                <a:gd name="connsiteY2" fmla="*/ 47754 h 172863"/>
                <a:gd name="connsiteX3" fmla="*/ -37 w 89847"/>
                <a:gd name="connsiteY3" fmla="*/ 4771 h 172863"/>
                <a:gd name="connsiteX4" fmla="*/ 78983 w 89847"/>
                <a:gd name="connsiteY4" fmla="*/ 172761 h 172863"/>
                <a:gd name="connsiteX5" fmla="*/ 89810 w 89847"/>
                <a:gd name="connsiteY5" fmla="*/ 145153 h 172863"/>
                <a:gd name="connsiteX6" fmla="*/ 30584 w 89847"/>
                <a:gd name="connsiteY6" fmla="*/ 187 h 172863"/>
                <a:gd name="connsiteX7" fmla="*/ -37 w 89847"/>
                <a:gd name="connsiteY7" fmla="*/ 4771 h 17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847" h="172863">
                  <a:moveTo>
                    <a:pt x="34718" y="47754"/>
                  </a:moveTo>
                  <a:cubicBezTo>
                    <a:pt x="43272" y="45642"/>
                    <a:pt x="45882" y="54167"/>
                    <a:pt x="47897" y="59601"/>
                  </a:cubicBezTo>
                  <a:cubicBezTo>
                    <a:pt x="45339" y="63283"/>
                    <a:pt x="26140" y="53265"/>
                    <a:pt x="34718" y="47754"/>
                  </a:cubicBezTo>
                  <a:close/>
                  <a:moveTo>
                    <a:pt x="-37" y="4771"/>
                  </a:moveTo>
                  <a:cubicBezTo>
                    <a:pt x="28439" y="60296"/>
                    <a:pt x="52419" y="116799"/>
                    <a:pt x="78983" y="172761"/>
                  </a:cubicBezTo>
                  <a:cubicBezTo>
                    <a:pt x="86167" y="162820"/>
                    <a:pt x="85392" y="154554"/>
                    <a:pt x="89810" y="145153"/>
                  </a:cubicBezTo>
                  <a:cubicBezTo>
                    <a:pt x="68983" y="97072"/>
                    <a:pt x="55830" y="47342"/>
                    <a:pt x="30584" y="187"/>
                  </a:cubicBezTo>
                  <a:cubicBezTo>
                    <a:pt x="20868" y="4076"/>
                    <a:pt x="8284" y="-5350"/>
                    <a:pt x="-37" y="4771"/>
                  </a:cubicBezTo>
                  <a:close/>
                </a:path>
              </a:pathLst>
            </a:custGeom>
            <a:grpFill/>
            <a:ln w="25598" cap="flat">
              <a:noFill/>
              <a:prstDash val="solid"/>
              <a:round/>
            </a:ln>
          </p:spPr>
          <p:txBody>
            <a:bodyPr rtlCol="0" anchor="ctr"/>
            <a:lstStyle/>
            <a:p>
              <a:endParaRPr lang="en-LT"/>
            </a:p>
          </p:txBody>
        </p:sp>
        <p:sp>
          <p:nvSpPr>
            <p:cNvPr id="191" name="Freeform 190">
              <a:extLst>
                <a:ext uri="{FF2B5EF4-FFF2-40B4-BE49-F238E27FC236}">
                  <a16:creationId xmlns:a16="http://schemas.microsoft.com/office/drawing/2014/main" id="{AD1B6B25-467C-A74D-9E20-BCB171527076}"/>
                </a:ext>
              </a:extLst>
            </p:cNvPr>
            <p:cNvSpPr/>
            <p:nvPr/>
          </p:nvSpPr>
          <p:spPr>
            <a:xfrm rot="-1917689">
              <a:off x="5751954" y="2396151"/>
              <a:ext cx="22043" cy="49781"/>
            </a:xfrm>
            <a:custGeom>
              <a:avLst/>
              <a:gdLst>
                <a:gd name="connsiteX0" fmla="*/ 22008 w 22043"/>
                <a:gd name="connsiteY0" fmla="*/ 20472 h 49781"/>
                <a:gd name="connsiteX1" fmla="*/ 587 w 22043"/>
                <a:gd name="connsiteY1" fmla="*/ -105 h 49781"/>
                <a:gd name="connsiteX2" fmla="*/ 13610 w 22043"/>
                <a:gd name="connsiteY2" fmla="*/ 49676 h 49781"/>
                <a:gd name="connsiteX3" fmla="*/ 22008 w 22043"/>
                <a:gd name="connsiteY3" fmla="*/ 20472 h 49781"/>
              </a:gdLst>
              <a:ahLst/>
              <a:cxnLst>
                <a:cxn ang="0">
                  <a:pos x="connsiteX0" y="connsiteY0"/>
                </a:cxn>
                <a:cxn ang="0">
                  <a:pos x="connsiteX1" y="connsiteY1"/>
                </a:cxn>
                <a:cxn ang="0">
                  <a:pos x="connsiteX2" y="connsiteY2"/>
                </a:cxn>
                <a:cxn ang="0">
                  <a:pos x="connsiteX3" y="connsiteY3"/>
                </a:cxn>
              </a:cxnLst>
              <a:rect l="l" t="t" r="r" b="b"/>
              <a:pathLst>
                <a:path w="22043" h="49781">
                  <a:moveTo>
                    <a:pt x="22008" y="20472"/>
                  </a:moveTo>
                  <a:cubicBezTo>
                    <a:pt x="13843" y="13801"/>
                    <a:pt x="13042" y="5586"/>
                    <a:pt x="587" y="-105"/>
                  </a:cubicBezTo>
                  <a:cubicBezTo>
                    <a:pt x="-2979" y="18231"/>
                    <a:pt x="9786" y="32936"/>
                    <a:pt x="13610" y="49676"/>
                  </a:cubicBezTo>
                  <a:cubicBezTo>
                    <a:pt x="20561" y="39040"/>
                    <a:pt x="16117" y="30876"/>
                    <a:pt x="22008" y="20472"/>
                  </a:cubicBezTo>
                  <a:close/>
                </a:path>
              </a:pathLst>
            </a:custGeom>
            <a:grpFill/>
            <a:ln w="25598" cap="flat">
              <a:noFill/>
              <a:prstDash val="solid"/>
              <a:round/>
            </a:ln>
          </p:spPr>
          <p:txBody>
            <a:bodyPr rtlCol="0" anchor="ctr"/>
            <a:lstStyle/>
            <a:p>
              <a:endParaRPr lang="en-LT"/>
            </a:p>
          </p:txBody>
        </p:sp>
        <p:sp>
          <p:nvSpPr>
            <p:cNvPr id="192" name="Freeform 191">
              <a:extLst>
                <a:ext uri="{FF2B5EF4-FFF2-40B4-BE49-F238E27FC236}">
                  <a16:creationId xmlns:a16="http://schemas.microsoft.com/office/drawing/2014/main" id="{B74E0FAE-3090-7C4E-8B9C-15AA13BBBA39}"/>
                </a:ext>
              </a:extLst>
            </p:cNvPr>
            <p:cNvSpPr/>
            <p:nvPr/>
          </p:nvSpPr>
          <p:spPr>
            <a:xfrm rot="-1917689">
              <a:off x="5751957" y="2410671"/>
              <a:ext cx="19656" cy="63353"/>
            </a:xfrm>
            <a:custGeom>
              <a:avLst/>
              <a:gdLst>
                <a:gd name="connsiteX0" fmla="*/ 19523 w 19656"/>
                <a:gd name="connsiteY0" fmla="*/ 63248 h 63353"/>
                <a:gd name="connsiteX1" fmla="*/ 1357 w 19656"/>
                <a:gd name="connsiteY1" fmla="*/ -105 h 63353"/>
                <a:gd name="connsiteX2" fmla="*/ 19523 w 19656"/>
                <a:gd name="connsiteY2" fmla="*/ 63248 h 63353"/>
              </a:gdLst>
              <a:ahLst/>
              <a:cxnLst>
                <a:cxn ang="0">
                  <a:pos x="connsiteX0" y="connsiteY0"/>
                </a:cxn>
                <a:cxn ang="0">
                  <a:pos x="connsiteX1" y="connsiteY1"/>
                </a:cxn>
                <a:cxn ang="0">
                  <a:pos x="connsiteX2" y="connsiteY2"/>
                </a:cxn>
              </a:cxnLst>
              <a:rect l="l" t="t" r="r" b="b"/>
              <a:pathLst>
                <a:path w="19656" h="63353">
                  <a:moveTo>
                    <a:pt x="19523" y="63248"/>
                  </a:moveTo>
                  <a:cubicBezTo>
                    <a:pt x="20738" y="40533"/>
                    <a:pt x="10402" y="20343"/>
                    <a:pt x="1357" y="-105"/>
                  </a:cubicBezTo>
                  <a:cubicBezTo>
                    <a:pt x="-4922" y="23665"/>
                    <a:pt x="11616" y="42568"/>
                    <a:pt x="19523" y="63248"/>
                  </a:cubicBezTo>
                  <a:close/>
                </a:path>
              </a:pathLst>
            </a:custGeom>
            <a:grpFill/>
            <a:ln w="25598" cap="flat">
              <a:noFill/>
              <a:prstDash val="solid"/>
              <a:round/>
            </a:ln>
          </p:spPr>
          <p:txBody>
            <a:bodyPr rtlCol="0" anchor="ctr"/>
            <a:lstStyle/>
            <a:p>
              <a:endParaRPr lang="en-LT"/>
            </a:p>
          </p:txBody>
        </p:sp>
        <p:sp>
          <p:nvSpPr>
            <p:cNvPr id="193" name="Freeform 192">
              <a:extLst>
                <a:ext uri="{FF2B5EF4-FFF2-40B4-BE49-F238E27FC236}">
                  <a16:creationId xmlns:a16="http://schemas.microsoft.com/office/drawing/2014/main" id="{8C2896BD-DF4B-B341-A622-459702B5DFD8}"/>
                </a:ext>
              </a:extLst>
            </p:cNvPr>
            <p:cNvSpPr/>
            <p:nvPr/>
          </p:nvSpPr>
          <p:spPr>
            <a:xfrm rot="-1917689">
              <a:off x="5746692" y="2429871"/>
              <a:ext cx="35126" cy="90909"/>
            </a:xfrm>
            <a:custGeom>
              <a:avLst/>
              <a:gdLst>
                <a:gd name="connsiteX0" fmla="*/ 10974 w 35126"/>
                <a:gd name="connsiteY0" fmla="*/ -105 h 90909"/>
                <a:gd name="connsiteX1" fmla="*/ -34 w 35126"/>
                <a:gd name="connsiteY1" fmla="*/ 17047 h 90909"/>
                <a:gd name="connsiteX2" fmla="*/ 28830 w 35126"/>
                <a:gd name="connsiteY2" fmla="*/ 90805 h 90909"/>
                <a:gd name="connsiteX3" fmla="*/ 10974 w 35126"/>
                <a:gd name="connsiteY3" fmla="*/ -105 h 90909"/>
              </a:gdLst>
              <a:ahLst/>
              <a:cxnLst>
                <a:cxn ang="0">
                  <a:pos x="connsiteX0" y="connsiteY0"/>
                </a:cxn>
                <a:cxn ang="0">
                  <a:pos x="connsiteX1" y="connsiteY1"/>
                </a:cxn>
                <a:cxn ang="0">
                  <a:pos x="connsiteX2" y="connsiteY2"/>
                </a:cxn>
                <a:cxn ang="0">
                  <a:pos x="connsiteX3" y="connsiteY3"/>
                </a:cxn>
              </a:cxnLst>
              <a:rect l="l" t="t" r="r" b="b"/>
              <a:pathLst>
                <a:path w="35126" h="90909">
                  <a:moveTo>
                    <a:pt x="10974" y="-105"/>
                  </a:moveTo>
                  <a:cubicBezTo>
                    <a:pt x="7330" y="5612"/>
                    <a:pt x="3661" y="11355"/>
                    <a:pt x="-34" y="17047"/>
                  </a:cubicBezTo>
                  <a:cubicBezTo>
                    <a:pt x="12421" y="41023"/>
                    <a:pt x="15987" y="66931"/>
                    <a:pt x="28830" y="90805"/>
                  </a:cubicBezTo>
                  <a:cubicBezTo>
                    <a:pt x="46970" y="55265"/>
                    <a:pt x="20922" y="29383"/>
                    <a:pt x="10974" y="-105"/>
                  </a:cubicBezTo>
                  <a:close/>
                </a:path>
              </a:pathLst>
            </a:custGeom>
            <a:grpFill/>
            <a:ln w="25598" cap="flat">
              <a:noFill/>
              <a:prstDash val="solid"/>
              <a:round/>
            </a:ln>
          </p:spPr>
          <p:txBody>
            <a:bodyPr rtlCol="0" anchor="ctr"/>
            <a:lstStyle/>
            <a:p>
              <a:endParaRPr lang="en-LT"/>
            </a:p>
          </p:txBody>
        </p:sp>
        <p:sp>
          <p:nvSpPr>
            <p:cNvPr id="194" name="Freeform 193">
              <a:extLst>
                <a:ext uri="{FF2B5EF4-FFF2-40B4-BE49-F238E27FC236}">
                  <a16:creationId xmlns:a16="http://schemas.microsoft.com/office/drawing/2014/main" id="{32E71F60-D1D9-7C4A-9BEE-4B02A1B92FA7}"/>
                </a:ext>
              </a:extLst>
            </p:cNvPr>
            <p:cNvSpPr/>
            <p:nvPr/>
          </p:nvSpPr>
          <p:spPr>
            <a:xfrm rot="-1917689">
              <a:off x="5743303" y="2458407"/>
              <a:ext cx="37823" cy="94051"/>
            </a:xfrm>
            <a:custGeom>
              <a:avLst/>
              <a:gdLst>
                <a:gd name="connsiteX0" fmla="*/ 11905 w 37823"/>
                <a:gd name="connsiteY0" fmla="*/ -105 h 94051"/>
                <a:gd name="connsiteX1" fmla="*/ -34 w 37823"/>
                <a:gd name="connsiteY1" fmla="*/ 13081 h 94051"/>
                <a:gd name="connsiteX2" fmla="*/ 34644 w 37823"/>
                <a:gd name="connsiteY2" fmla="*/ 93947 h 94051"/>
                <a:gd name="connsiteX3" fmla="*/ 11905 w 37823"/>
                <a:gd name="connsiteY3" fmla="*/ -105 h 94051"/>
              </a:gdLst>
              <a:ahLst/>
              <a:cxnLst>
                <a:cxn ang="0">
                  <a:pos x="connsiteX0" y="connsiteY0"/>
                </a:cxn>
                <a:cxn ang="0">
                  <a:pos x="connsiteX1" y="connsiteY1"/>
                </a:cxn>
                <a:cxn ang="0">
                  <a:pos x="connsiteX2" y="connsiteY2"/>
                </a:cxn>
                <a:cxn ang="0">
                  <a:pos x="connsiteX3" y="connsiteY3"/>
                </a:cxn>
              </a:cxnLst>
              <a:rect l="l" t="t" r="r" b="b"/>
              <a:pathLst>
                <a:path w="37823" h="94051">
                  <a:moveTo>
                    <a:pt x="11905" y="-105"/>
                  </a:moveTo>
                  <a:cubicBezTo>
                    <a:pt x="8804" y="8548"/>
                    <a:pt x="3610" y="7286"/>
                    <a:pt x="-34" y="13081"/>
                  </a:cubicBezTo>
                  <a:cubicBezTo>
                    <a:pt x="12473" y="39839"/>
                    <a:pt x="20923" y="67472"/>
                    <a:pt x="34644" y="93947"/>
                  </a:cubicBezTo>
                  <a:cubicBezTo>
                    <a:pt x="46944" y="58278"/>
                    <a:pt x="19734" y="31237"/>
                    <a:pt x="11905" y="-105"/>
                  </a:cubicBezTo>
                  <a:close/>
                </a:path>
              </a:pathLst>
            </a:custGeom>
            <a:grpFill/>
            <a:ln w="25598" cap="flat">
              <a:noFill/>
              <a:prstDash val="solid"/>
              <a:round/>
            </a:ln>
          </p:spPr>
          <p:txBody>
            <a:bodyPr rtlCol="0" anchor="ctr"/>
            <a:lstStyle/>
            <a:p>
              <a:endParaRPr lang="en-LT"/>
            </a:p>
          </p:txBody>
        </p:sp>
        <p:sp>
          <p:nvSpPr>
            <p:cNvPr id="195" name="Freeform 194">
              <a:extLst>
                <a:ext uri="{FF2B5EF4-FFF2-40B4-BE49-F238E27FC236}">
                  <a16:creationId xmlns:a16="http://schemas.microsoft.com/office/drawing/2014/main" id="{8AC4FB7B-17BD-BD41-8263-3BB90D6D4F09}"/>
                </a:ext>
              </a:extLst>
            </p:cNvPr>
            <p:cNvSpPr/>
            <p:nvPr/>
          </p:nvSpPr>
          <p:spPr>
            <a:xfrm rot="-1917689">
              <a:off x="5747722" y="2484533"/>
              <a:ext cx="35820" cy="95313"/>
            </a:xfrm>
            <a:custGeom>
              <a:avLst/>
              <a:gdLst>
                <a:gd name="connsiteX0" fmla="*/ 35653 w 35820"/>
                <a:gd name="connsiteY0" fmla="*/ 95209 h 95313"/>
                <a:gd name="connsiteX1" fmla="*/ -33 w 35820"/>
                <a:gd name="connsiteY1" fmla="*/ -105 h 95313"/>
                <a:gd name="connsiteX2" fmla="*/ 35653 w 35820"/>
                <a:gd name="connsiteY2" fmla="*/ 95209 h 95313"/>
              </a:gdLst>
              <a:ahLst/>
              <a:cxnLst>
                <a:cxn ang="0">
                  <a:pos x="connsiteX0" y="connsiteY0"/>
                </a:cxn>
                <a:cxn ang="0">
                  <a:pos x="connsiteX1" y="connsiteY1"/>
                </a:cxn>
                <a:cxn ang="0">
                  <a:pos x="connsiteX2" y="connsiteY2"/>
                </a:cxn>
              </a:cxnLst>
              <a:rect l="l" t="t" r="r" b="b"/>
              <a:pathLst>
                <a:path w="35820" h="95313">
                  <a:moveTo>
                    <a:pt x="35653" y="95209"/>
                  </a:moveTo>
                  <a:cubicBezTo>
                    <a:pt x="37720" y="61703"/>
                    <a:pt x="15471" y="22584"/>
                    <a:pt x="-33" y="-105"/>
                  </a:cubicBezTo>
                  <a:cubicBezTo>
                    <a:pt x="2938" y="33581"/>
                    <a:pt x="24386" y="63326"/>
                    <a:pt x="35653" y="95209"/>
                  </a:cubicBezTo>
                  <a:close/>
                </a:path>
              </a:pathLst>
            </a:custGeom>
            <a:grpFill/>
            <a:ln w="25598" cap="flat">
              <a:noFill/>
              <a:prstDash val="solid"/>
              <a:round/>
            </a:ln>
          </p:spPr>
          <p:txBody>
            <a:bodyPr rtlCol="0" anchor="ctr"/>
            <a:lstStyle/>
            <a:p>
              <a:endParaRPr lang="en-LT"/>
            </a:p>
          </p:txBody>
        </p:sp>
        <p:sp>
          <p:nvSpPr>
            <p:cNvPr id="196" name="Freeform 195">
              <a:extLst>
                <a:ext uri="{FF2B5EF4-FFF2-40B4-BE49-F238E27FC236}">
                  <a16:creationId xmlns:a16="http://schemas.microsoft.com/office/drawing/2014/main" id="{FCACE634-A5CC-F04D-A596-95533176F3EA}"/>
                </a:ext>
              </a:extLst>
            </p:cNvPr>
            <p:cNvSpPr/>
            <p:nvPr/>
          </p:nvSpPr>
          <p:spPr>
            <a:xfrm rot="-1917689">
              <a:off x="5862367" y="2500713"/>
              <a:ext cx="61319" cy="150941"/>
            </a:xfrm>
            <a:custGeom>
              <a:avLst/>
              <a:gdLst>
                <a:gd name="connsiteX0" fmla="*/ 51856 w 61319"/>
                <a:gd name="connsiteY0" fmla="*/ 150834 h 150941"/>
                <a:gd name="connsiteX1" fmla="*/ 61288 w 61319"/>
                <a:gd name="connsiteY1" fmla="*/ 136181 h 150941"/>
                <a:gd name="connsiteX2" fmla="*/ 10279 w 61319"/>
                <a:gd name="connsiteY2" fmla="*/ -107 h 150941"/>
                <a:gd name="connsiteX3" fmla="*/ -31 w 61319"/>
                <a:gd name="connsiteY3" fmla="*/ 10581 h 150941"/>
                <a:gd name="connsiteX4" fmla="*/ 39169 w 61319"/>
                <a:gd name="connsiteY4" fmla="*/ 122042 h 150941"/>
                <a:gd name="connsiteX5" fmla="*/ 51856 w 61319"/>
                <a:gd name="connsiteY5" fmla="*/ 150834 h 15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319" h="150941">
                  <a:moveTo>
                    <a:pt x="51856" y="150834"/>
                  </a:moveTo>
                  <a:cubicBezTo>
                    <a:pt x="55009" y="145941"/>
                    <a:pt x="58135" y="141074"/>
                    <a:pt x="61288" y="136181"/>
                  </a:cubicBezTo>
                  <a:cubicBezTo>
                    <a:pt x="45241" y="91885"/>
                    <a:pt x="33380" y="35690"/>
                    <a:pt x="10279" y="-107"/>
                  </a:cubicBezTo>
                  <a:cubicBezTo>
                    <a:pt x="7462" y="6099"/>
                    <a:pt x="3870" y="9036"/>
                    <a:pt x="-31" y="10581"/>
                  </a:cubicBezTo>
                  <a:cubicBezTo>
                    <a:pt x="10021" y="45348"/>
                    <a:pt x="27850" y="87893"/>
                    <a:pt x="39169" y="122042"/>
                  </a:cubicBezTo>
                  <a:cubicBezTo>
                    <a:pt x="42786" y="132781"/>
                    <a:pt x="40538" y="150139"/>
                    <a:pt x="51856" y="150834"/>
                  </a:cubicBezTo>
                  <a:close/>
                </a:path>
              </a:pathLst>
            </a:custGeom>
            <a:grpFill/>
            <a:ln w="25598" cap="flat">
              <a:noFill/>
              <a:prstDash val="solid"/>
              <a:round/>
            </a:ln>
          </p:spPr>
          <p:txBody>
            <a:bodyPr rtlCol="0" anchor="ctr"/>
            <a:lstStyle/>
            <a:p>
              <a:endParaRPr lang="en-LT"/>
            </a:p>
          </p:txBody>
        </p:sp>
        <p:sp>
          <p:nvSpPr>
            <p:cNvPr id="197" name="Freeform 196">
              <a:extLst>
                <a:ext uri="{FF2B5EF4-FFF2-40B4-BE49-F238E27FC236}">
                  <a16:creationId xmlns:a16="http://schemas.microsoft.com/office/drawing/2014/main" id="{22CF9A61-47D2-EC4B-B22C-ED0CE9314A49}"/>
                </a:ext>
              </a:extLst>
            </p:cNvPr>
            <p:cNvSpPr/>
            <p:nvPr/>
          </p:nvSpPr>
          <p:spPr>
            <a:xfrm rot="-1917689">
              <a:off x="5861367" y="2525953"/>
              <a:ext cx="55246" cy="155628"/>
            </a:xfrm>
            <a:custGeom>
              <a:avLst/>
              <a:gdLst>
                <a:gd name="connsiteX0" fmla="*/ 6274 w 55246"/>
                <a:gd name="connsiteY0" fmla="*/ -107 h 155628"/>
                <a:gd name="connsiteX1" fmla="*/ -31 w 55246"/>
                <a:gd name="connsiteY1" fmla="*/ 9705 h 155628"/>
                <a:gd name="connsiteX2" fmla="*/ 55216 w 55246"/>
                <a:gd name="connsiteY2" fmla="*/ 155521 h 155628"/>
                <a:gd name="connsiteX3" fmla="*/ 6274 w 55246"/>
                <a:gd name="connsiteY3" fmla="*/ -107 h 155628"/>
              </a:gdLst>
              <a:ahLst/>
              <a:cxnLst>
                <a:cxn ang="0">
                  <a:pos x="connsiteX0" y="connsiteY0"/>
                </a:cxn>
                <a:cxn ang="0">
                  <a:pos x="connsiteX1" y="connsiteY1"/>
                </a:cxn>
                <a:cxn ang="0">
                  <a:pos x="connsiteX2" y="connsiteY2"/>
                </a:cxn>
                <a:cxn ang="0">
                  <a:pos x="connsiteX3" y="connsiteY3"/>
                </a:cxn>
              </a:cxnLst>
              <a:rect l="l" t="t" r="r" b="b"/>
              <a:pathLst>
                <a:path w="55246" h="155628">
                  <a:moveTo>
                    <a:pt x="6274" y="-107"/>
                  </a:moveTo>
                  <a:cubicBezTo>
                    <a:pt x="4155" y="3138"/>
                    <a:pt x="2062" y="6409"/>
                    <a:pt x="-31" y="9705"/>
                  </a:cubicBezTo>
                  <a:cubicBezTo>
                    <a:pt x="21003" y="57710"/>
                    <a:pt x="36714" y="106899"/>
                    <a:pt x="55216" y="155521"/>
                  </a:cubicBezTo>
                  <a:cubicBezTo>
                    <a:pt x="47929" y="101645"/>
                    <a:pt x="25189" y="51168"/>
                    <a:pt x="6274" y="-107"/>
                  </a:cubicBezTo>
                  <a:close/>
                </a:path>
              </a:pathLst>
            </a:custGeom>
            <a:grpFill/>
            <a:ln w="25598" cap="flat">
              <a:noFill/>
              <a:prstDash val="solid"/>
              <a:round/>
            </a:ln>
          </p:spPr>
          <p:txBody>
            <a:bodyPr rtlCol="0" anchor="ctr"/>
            <a:lstStyle/>
            <a:p>
              <a:endParaRPr lang="en-LT"/>
            </a:p>
          </p:txBody>
        </p:sp>
        <p:sp>
          <p:nvSpPr>
            <p:cNvPr id="198" name="Freeform 197">
              <a:extLst>
                <a:ext uri="{FF2B5EF4-FFF2-40B4-BE49-F238E27FC236}">
                  <a16:creationId xmlns:a16="http://schemas.microsoft.com/office/drawing/2014/main" id="{352934FC-CE3C-A146-BB3C-04F72156D742}"/>
                </a:ext>
              </a:extLst>
            </p:cNvPr>
            <p:cNvSpPr/>
            <p:nvPr/>
          </p:nvSpPr>
          <p:spPr>
            <a:xfrm rot="-1917689">
              <a:off x="6008260" y="2610868"/>
              <a:ext cx="57402" cy="175200"/>
            </a:xfrm>
            <a:custGeom>
              <a:avLst/>
              <a:gdLst>
                <a:gd name="connsiteX0" fmla="*/ 35348 w 57402"/>
                <a:gd name="connsiteY0" fmla="*/ 62420 h 175200"/>
                <a:gd name="connsiteX1" fmla="*/ 22427 w 57402"/>
                <a:gd name="connsiteY1" fmla="*/ 61055 h 175200"/>
                <a:gd name="connsiteX2" fmla="*/ 13280 w 57402"/>
                <a:gd name="connsiteY2" fmla="*/ -109 h 175200"/>
                <a:gd name="connsiteX3" fmla="*/ -28 w 57402"/>
                <a:gd name="connsiteY3" fmla="*/ 25927 h 175200"/>
                <a:gd name="connsiteX4" fmla="*/ 49586 w 57402"/>
                <a:gd name="connsiteY4" fmla="*/ 175092 h 175200"/>
                <a:gd name="connsiteX5" fmla="*/ 35348 w 57402"/>
                <a:gd name="connsiteY5" fmla="*/ 62420 h 17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02" h="175200">
                  <a:moveTo>
                    <a:pt x="35348" y="62420"/>
                  </a:moveTo>
                  <a:cubicBezTo>
                    <a:pt x="29456" y="54308"/>
                    <a:pt x="28422" y="69142"/>
                    <a:pt x="22427" y="61055"/>
                  </a:cubicBezTo>
                  <a:cubicBezTo>
                    <a:pt x="29921" y="38392"/>
                    <a:pt x="19404" y="19644"/>
                    <a:pt x="13280" y="-109"/>
                  </a:cubicBezTo>
                  <a:cubicBezTo>
                    <a:pt x="4313" y="9548"/>
                    <a:pt x="7052" y="16630"/>
                    <a:pt x="-28" y="25927"/>
                  </a:cubicBezTo>
                  <a:cubicBezTo>
                    <a:pt x="19869" y="74910"/>
                    <a:pt x="31110" y="125799"/>
                    <a:pt x="49586" y="175092"/>
                  </a:cubicBezTo>
                  <a:cubicBezTo>
                    <a:pt x="73411" y="131311"/>
                    <a:pt x="34934" y="101128"/>
                    <a:pt x="35348" y="62420"/>
                  </a:cubicBezTo>
                  <a:close/>
                </a:path>
              </a:pathLst>
            </a:custGeom>
            <a:grpFill/>
            <a:ln w="25598" cap="flat">
              <a:noFill/>
              <a:prstDash val="solid"/>
              <a:round/>
            </a:ln>
          </p:spPr>
          <p:txBody>
            <a:bodyPr rtlCol="0" anchor="ctr"/>
            <a:lstStyle/>
            <a:p>
              <a:endParaRPr lang="en-LT"/>
            </a:p>
          </p:txBody>
        </p:sp>
        <p:sp>
          <p:nvSpPr>
            <p:cNvPr id="199" name="Freeform 198">
              <a:extLst>
                <a:ext uri="{FF2B5EF4-FFF2-40B4-BE49-F238E27FC236}">
                  <a16:creationId xmlns:a16="http://schemas.microsoft.com/office/drawing/2014/main" id="{64E23FA3-D9BF-5847-A941-1C28DB27CA41}"/>
                </a:ext>
              </a:extLst>
            </p:cNvPr>
            <p:cNvSpPr/>
            <p:nvPr/>
          </p:nvSpPr>
          <p:spPr>
            <a:xfrm rot="-1917689">
              <a:off x="5424791" y="2640998"/>
              <a:ext cx="138453" cy="219110"/>
            </a:xfrm>
            <a:custGeom>
              <a:avLst/>
              <a:gdLst>
                <a:gd name="connsiteX0" fmla="*/ 71005 w 138453"/>
                <a:gd name="connsiteY0" fmla="*/ 128875 h 219110"/>
                <a:gd name="connsiteX1" fmla="*/ 92608 w 138453"/>
                <a:gd name="connsiteY1" fmla="*/ 111543 h 219110"/>
                <a:gd name="connsiteX2" fmla="*/ 71005 w 138453"/>
                <a:gd name="connsiteY2" fmla="*/ 128875 h 219110"/>
                <a:gd name="connsiteX3" fmla="*/ 138423 w 138453"/>
                <a:gd name="connsiteY3" fmla="*/ 137348 h 219110"/>
                <a:gd name="connsiteX4" fmla="*/ 63873 w 138453"/>
                <a:gd name="connsiteY4" fmla="*/ -98 h 219110"/>
                <a:gd name="connsiteX5" fmla="*/ -30 w 138453"/>
                <a:gd name="connsiteY5" fmla="*/ 93851 h 219110"/>
                <a:gd name="connsiteX6" fmla="*/ 21572 w 138453"/>
                <a:gd name="connsiteY6" fmla="*/ 124858 h 219110"/>
                <a:gd name="connsiteX7" fmla="*/ 44493 w 138453"/>
                <a:gd name="connsiteY7" fmla="*/ 94598 h 219110"/>
                <a:gd name="connsiteX8" fmla="*/ 24906 w 138453"/>
                <a:gd name="connsiteY8" fmla="*/ 130472 h 219110"/>
                <a:gd name="connsiteX9" fmla="*/ 82349 w 138453"/>
                <a:gd name="connsiteY9" fmla="*/ 219013 h 219110"/>
                <a:gd name="connsiteX10" fmla="*/ 138423 w 138453"/>
                <a:gd name="connsiteY10" fmla="*/ 137348 h 21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453" h="219110">
                  <a:moveTo>
                    <a:pt x="71005" y="128875"/>
                  </a:moveTo>
                  <a:cubicBezTo>
                    <a:pt x="77414" y="119398"/>
                    <a:pt x="85166" y="116308"/>
                    <a:pt x="92608" y="111543"/>
                  </a:cubicBezTo>
                  <a:cubicBezTo>
                    <a:pt x="93125" y="114557"/>
                    <a:pt x="80024" y="137297"/>
                    <a:pt x="71005" y="128875"/>
                  </a:cubicBezTo>
                  <a:close/>
                  <a:moveTo>
                    <a:pt x="138423" y="137348"/>
                  </a:moveTo>
                  <a:cubicBezTo>
                    <a:pt x="112764" y="91687"/>
                    <a:pt x="94029" y="44533"/>
                    <a:pt x="63873" y="-98"/>
                  </a:cubicBezTo>
                  <a:cubicBezTo>
                    <a:pt x="41651" y="27046"/>
                    <a:pt x="21004" y="61221"/>
                    <a:pt x="-30" y="93851"/>
                  </a:cubicBezTo>
                  <a:cubicBezTo>
                    <a:pt x="6998" y="104255"/>
                    <a:pt x="13097" y="114788"/>
                    <a:pt x="21572" y="124858"/>
                  </a:cubicBezTo>
                  <a:cubicBezTo>
                    <a:pt x="29480" y="116050"/>
                    <a:pt x="35139" y="96761"/>
                    <a:pt x="44493" y="94598"/>
                  </a:cubicBezTo>
                  <a:cubicBezTo>
                    <a:pt x="35733" y="107088"/>
                    <a:pt x="28834" y="119115"/>
                    <a:pt x="24906" y="130472"/>
                  </a:cubicBezTo>
                  <a:cubicBezTo>
                    <a:pt x="43433" y="160114"/>
                    <a:pt x="58860" y="190452"/>
                    <a:pt x="82349" y="219013"/>
                  </a:cubicBezTo>
                  <a:cubicBezTo>
                    <a:pt x="100877" y="191096"/>
                    <a:pt x="118578" y="159445"/>
                    <a:pt x="138423" y="137348"/>
                  </a:cubicBezTo>
                  <a:close/>
                </a:path>
              </a:pathLst>
            </a:custGeom>
            <a:grpFill/>
            <a:ln w="25598" cap="flat">
              <a:noFill/>
              <a:prstDash val="solid"/>
              <a:round/>
            </a:ln>
          </p:spPr>
          <p:txBody>
            <a:bodyPr rtlCol="0" anchor="ctr"/>
            <a:lstStyle/>
            <a:p>
              <a:endParaRPr lang="en-LT"/>
            </a:p>
          </p:txBody>
        </p:sp>
        <p:sp>
          <p:nvSpPr>
            <p:cNvPr id="200" name="Freeform 199">
              <a:extLst>
                <a:ext uri="{FF2B5EF4-FFF2-40B4-BE49-F238E27FC236}">
                  <a16:creationId xmlns:a16="http://schemas.microsoft.com/office/drawing/2014/main" id="{1529F343-8864-C04E-82DB-F97994D98B61}"/>
                </a:ext>
              </a:extLst>
            </p:cNvPr>
            <p:cNvSpPr/>
            <p:nvPr/>
          </p:nvSpPr>
          <p:spPr>
            <a:xfrm rot="-1917689">
              <a:off x="5981341" y="2688688"/>
              <a:ext cx="49573" cy="111667"/>
            </a:xfrm>
            <a:custGeom>
              <a:avLst/>
              <a:gdLst>
                <a:gd name="connsiteX0" fmla="*/ 49547 w 49573"/>
                <a:gd name="connsiteY0" fmla="*/ 42308 h 111667"/>
                <a:gd name="connsiteX1" fmla="*/ 31794 w 49573"/>
                <a:gd name="connsiteY1" fmla="*/ -108 h 111667"/>
                <a:gd name="connsiteX2" fmla="*/ 11949 w 49573"/>
                <a:gd name="connsiteY2" fmla="*/ 111559 h 111667"/>
                <a:gd name="connsiteX3" fmla="*/ 49547 w 49573"/>
                <a:gd name="connsiteY3" fmla="*/ 42308 h 111667"/>
              </a:gdLst>
              <a:ahLst/>
              <a:cxnLst>
                <a:cxn ang="0">
                  <a:pos x="connsiteX0" y="connsiteY0"/>
                </a:cxn>
                <a:cxn ang="0">
                  <a:pos x="connsiteX1" y="connsiteY1"/>
                </a:cxn>
                <a:cxn ang="0">
                  <a:pos x="connsiteX2" y="connsiteY2"/>
                </a:cxn>
                <a:cxn ang="0">
                  <a:pos x="connsiteX3" y="connsiteY3"/>
                </a:cxn>
              </a:cxnLst>
              <a:rect l="l" t="t" r="r" b="b"/>
              <a:pathLst>
                <a:path w="49573" h="111667">
                  <a:moveTo>
                    <a:pt x="49547" y="42308"/>
                  </a:moveTo>
                  <a:cubicBezTo>
                    <a:pt x="42260" y="28478"/>
                    <a:pt x="42828" y="12897"/>
                    <a:pt x="31794" y="-108"/>
                  </a:cubicBezTo>
                  <a:cubicBezTo>
                    <a:pt x="13344" y="39732"/>
                    <a:pt x="-17019" y="82045"/>
                    <a:pt x="11949" y="111559"/>
                  </a:cubicBezTo>
                  <a:cubicBezTo>
                    <a:pt x="24765" y="88381"/>
                    <a:pt x="31975" y="66490"/>
                    <a:pt x="49547" y="42308"/>
                  </a:cubicBezTo>
                  <a:close/>
                </a:path>
              </a:pathLst>
            </a:custGeom>
            <a:grpFill/>
            <a:ln w="25598" cap="flat">
              <a:noFill/>
              <a:prstDash val="solid"/>
              <a:round/>
            </a:ln>
          </p:spPr>
          <p:txBody>
            <a:bodyPr rtlCol="0" anchor="ctr"/>
            <a:lstStyle/>
            <a:p>
              <a:endParaRPr lang="en-LT"/>
            </a:p>
          </p:txBody>
        </p:sp>
        <p:sp>
          <p:nvSpPr>
            <p:cNvPr id="201" name="Freeform 200">
              <a:extLst>
                <a:ext uri="{FF2B5EF4-FFF2-40B4-BE49-F238E27FC236}">
                  <a16:creationId xmlns:a16="http://schemas.microsoft.com/office/drawing/2014/main" id="{4894B2FF-8EB0-DD41-BE9C-5481426ABA62}"/>
                </a:ext>
              </a:extLst>
            </p:cNvPr>
            <p:cNvSpPr/>
            <p:nvPr/>
          </p:nvSpPr>
          <p:spPr>
            <a:xfrm rot="-1917689">
              <a:off x="5652202" y="2687059"/>
              <a:ext cx="234605" cy="458927"/>
            </a:xfrm>
            <a:custGeom>
              <a:avLst/>
              <a:gdLst>
                <a:gd name="connsiteX0" fmla="*/ 234581 w 234605"/>
                <a:gd name="connsiteY0" fmla="*/ 392020 h 458927"/>
                <a:gd name="connsiteX1" fmla="*/ 53542 w 234605"/>
                <a:gd name="connsiteY1" fmla="*/ -103 h 458927"/>
                <a:gd name="connsiteX2" fmla="*/ -25 w 234605"/>
                <a:gd name="connsiteY2" fmla="*/ 83133 h 458927"/>
                <a:gd name="connsiteX3" fmla="*/ 198533 w 234605"/>
                <a:gd name="connsiteY3" fmla="*/ 458824 h 458927"/>
                <a:gd name="connsiteX4" fmla="*/ 234581 w 234605"/>
                <a:gd name="connsiteY4" fmla="*/ 392020 h 458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605" h="458927">
                  <a:moveTo>
                    <a:pt x="234581" y="392020"/>
                  </a:moveTo>
                  <a:cubicBezTo>
                    <a:pt x="180367" y="259930"/>
                    <a:pt x="121270" y="129000"/>
                    <a:pt x="53542" y="-103"/>
                  </a:cubicBezTo>
                  <a:cubicBezTo>
                    <a:pt x="35660" y="27659"/>
                    <a:pt x="17831" y="55396"/>
                    <a:pt x="-25" y="83133"/>
                  </a:cubicBezTo>
                  <a:cubicBezTo>
                    <a:pt x="73724" y="206775"/>
                    <a:pt x="133338" y="333379"/>
                    <a:pt x="198533" y="458824"/>
                  </a:cubicBezTo>
                  <a:cubicBezTo>
                    <a:pt x="208895" y="436882"/>
                    <a:pt x="219748" y="414863"/>
                    <a:pt x="234581" y="392020"/>
                  </a:cubicBezTo>
                  <a:close/>
                </a:path>
              </a:pathLst>
            </a:custGeom>
            <a:grpFill/>
            <a:ln w="25598" cap="flat">
              <a:noFill/>
              <a:prstDash val="solid"/>
              <a:round/>
            </a:ln>
          </p:spPr>
          <p:txBody>
            <a:bodyPr rtlCol="0" anchor="ctr"/>
            <a:lstStyle/>
            <a:p>
              <a:endParaRPr lang="en-LT"/>
            </a:p>
          </p:txBody>
        </p:sp>
        <p:sp>
          <p:nvSpPr>
            <p:cNvPr id="202" name="Freeform 201">
              <a:extLst>
                <a:ext uri="{FF2B5EF4-FFF2-40B4-BE49-F238E27FC236}">
                  <a16:creationId xmlns:a16="http://schemas.microsoft.com/office/drawing/2014/main" id="{014B9640-069F-B645-B682-A7A2DA2287C5}"/>
                </a:ext>
              </a:extLst>
            </p:cNvPr>
            <p:cNvSpPr/>
            <p:nvPr/>
          </p:nvSpPr>
          <p:spPr>
            <a:xfrm rot="-1917689">
              <a:off x="5423845" y="2777213"/>
              <a:ext cx="40440" cy="60468"/>
            </a:xfrm>
            <a:custGeom>
              <a:avLst/>
              <a:gdLst>
                <a:gd name="connsiteX0" fmla="*/ 40411 w 40440"/>
                <a:gd name="connsiteY0" fmla="*/ 30988 h 60468"/>
                <a:gd name="connsiteX1" fmla="*/ 18860 w 40440"/>
                <a:gd name="connsiteY1" fmla="*/ -97 h 60468"/>
                <a:gd name="connsiteX2" fmla="*/ -29 w 40440"/>
                <a:gd name="connsiteY2" fmla="*/ 29262 h 60468"/>
                <a:gd name="connsiteX3" fmla="*/ 21547 w 40440"/>
                <a:gd name="connsiteY3" fmla="*/ 60372 h 60468"/>
                <a:gd name="connsiteX4" fmla="*/ 40411 w 40440"/>
                <a:gd name="connsiteY4" fmla="*/ 30988 h 60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40" h="60468">
                  <a:moveTo>
                    <a:pt x="40411" y="30988"/>
                  </a:moveTo>
                  <a:cubicBezTo>
                    <a:pt x="29971" y="21356"/>
                    <a:pt x="29351" y="9561"/>
                    <a:pt x="18860" y="-97"/>
                  </a:cubicBezTo>
                  <a:cubicBezTo>
                    <a:pt x="12555" y="9741"/>
                    <a:pt x="6276" y="19502"/>
                    <a:pt x="-29" y="29262"/>
                  </a:cubicBezTo>
                  <a:cubicBezTo>
                    <a:pt x="6973" y="39667"/>
                    <a:pt x="13072" y="50277"/>
                    <a:pt x="21547" y="60372"/>
                  </a:cubicBezTo>
                  <a:cubicBezTo>
                    <a:pt x="27827" y="50560"/>
                    <a:pt x="34132" y="40774"/>
                    <a:pt x="40411" y="30988"/>
                  </a:cubicBezTo>
                  <a:close/>
                </a:path>
              </a:pathLst>
            </a:custGeom>
            <a:grpFill/>
            <a:ln w="25598" cap="flat">
              <a:noFill/>
              <a:prstDash val="solid"/>
              <a:round/>
            </a:ln>
          </p:spPr>
          <p:txBody>
            <a:bodyPr rtlCol="0" anchor="ctr"/>
            <a:lstStyle/>
            <a:p>
              <a:endParaRPr lang="en-LT"/>
            </a:p>
          </p:txBody>
        </p:sp>
        <p:sp>
          <p:nvSpPr>
            <p:cNvPr id="203" name="Freeform 202">
              <a:extLst>
                <a:ext uri="{FF2B5EF4-FFF2-40B4-BE49-F238E27FC236}">
                  <a16:creationId xmlns:a16="http://schemas.microsoft.com/office/drawing/2014/main" id="{226749FF-7F4F-0649-9FD9-53E9719AF91E}"/>
                </a:ext>
              </a:extLst>
            </p:cNvPr>
            <p:cNvSpPr/>
            <p:nvPr/>
          </p:nvSpPr>
          <p:spPr>
            <a:xfrm rot="-1917689">
              <a:off x="5477106" y="2781773"/>
              <a:ext cx="74782" cy="117899"/>
            </a:xfrm>
            <a:custGeom>
              <a:avLst/>
              <a:gdLst>
                <a:gd name="connsiteX0" fmla="*/ 74754 w 74782"/>
                <a:gd name="connsiteY0" fmla="*/ 90863 h 117899"/>
                <a:gd name="connsiteX1" fmla="*/ 18861 w 74782"/>
                <a:gd name="connsiteY1" fmla="*/ -98 h 117899"/>
                <a:gd name="connsiteX2" fmla="*/ -28 w 74782"/>
                <a:gd name="connsiteY2" fmla="*/ 29261 h 117899"/>
                <a:gd name="connsiteX3" fmla="*/ 57415 w 74782"/>
                <a:gd name="connsiteY3" fmla="*/ 117802 h 117899"/>
                <a:gd name="connsiteX4" fmla="*/ 74754 w 74782"/>
                <a:gd name="connsiteY4" fmla="*/ 90863 h 117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82" h="117899">
                  <a:moveTo>
                    <a:pt x="74754" y="90863"/>
                  </a:moveTo>
                  <a:cubicBezTo>
                    <a:pt x="57622" y="60243"/>
                    <a:pt x="36407" y="30446"/>
                    <a:pt x="18861" y="-98"/>
                  </a:cubicBezTo>
                  <a:cubicBezTo>
                    <a:pt x="12582" y="9689"/>
                    <a:pt x="6277" y="19501"/>
                    <a:pt x="-28" y="29261"/>
                  </a:cubicBezTo>
                  <a:cubicBezTo>
                    <a:pt x="20593" y="58440"/>
                    <a:pt x="34340" y="89164"/>
                    <a:pt x="57415" y="117802"/>
                  </a:cubicBezTo>
                  <a:cubicBezTo>
                    <a:pt x="63178" y="108839"/>
                    <a:pt x="68940" y="99851"/>
                    <a:pt x="74754" y="90863"/>
                  </a:cubicBezTo>
                  <a:close/>
                </a:path>
              </a:pathLst>
            </a:custGeom>
            <a:grpFill/>
            <a:ln w="25598" cap="flat">
              <a:noFill/>
              <a:prstDash val="solid"/>
              <a:round/>
            </a:ln>
          </p:spPr>
          <p:txBody>
            <a:bodyPr rtlCol="0" anchor="ctr"/>
            <a:lstStyle/>
            <a:p>
              <a:endParaRPr lang="en-LT"/>
            </a:p>
          </p:txBody>
        </p:sp>
        <p:sp>
          <p:nvSpPr>
            <p:cNvPr id="204" name="Freeform 203">
              <a:extLst>
                <a:ext uri="{FF2B5EF4-FFF2-40B4-BE49-F238E27FC236}">
                  <a16:creationId xmlns:a16="http://schemas.microsoft.com/office/drawing/2014/main" id="{CE5AED76-C3C1-6E4F-AAC5-800D92B751E5}"/>
                </a:ext>
              </a:extLst>
            </p:cNvPr>
            <p:cNvSpPr/>
            <p:nvPr/>
          </p:nvSpPr>
          <p:spPr>
            <a:xfrm rot="-1917689">
              <a:off x="5437816" y="2932768"/>
              <a:ext cx="98633" cy="162993"/>
            </a:xfrm>
            <a:custGeom>
              <a:avLst/>
              <a:gdLst>
                <a:gd name="connsiteX0" fmla="*/ 26720 w 98633"/>
                <a:gd name="connsiteY0" fmla="*/ -96 h 162993"/>
                <a:gd name="connsiteX1" fmla="*/ -25 w 98633"/>
                <a:gd name="connsiteY1" fmla="*/ 41521 h 162993"/>
                <a:gd name="connsiteX2" fmla="*/ 70933 w 98633"/>
                <a:gd name="connsiteY2" fmla="*/ 162897 h 162993"/>
                <a:gd name="connsiteX3" fmla="*/ 98608 w 98633"/>
                <a:gd name="connsiteY3" fmla="*/ 125272 h 162993"/>
                <a:gd name="connsiteX4" fmla="*/ 26720 w 98633"/>
                <a:gd name="connsiteY4" fmla="*/ -96 h 162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633" h="162993">
                  <a:moveTo>
                    <a:pt x="26720" y="-96"/>
                  </a:moveTo>
                  <a:cubicBezTo>
                    <a:pt x="17831" y="13759"/>
                    <a:pt x="8890" y="27640"/>
                    <a:pt x="-25" y="41521"/>
                  </a:cubicBezTo>
                  <a:cubicBezTo>
                    <a:pt x="22508" y="82212"/>
                    <a:pt x="45299" y="122825"/>
                    <a:pt x="70933" y="162897"/>
                  </a:cubicBezTo>
                  <a:cubicBezTo>
                    <a:pt x="79305" y="146209"/>
                    <a:pt x="90262" y="141934"/>
                    <a:pt x="98608" y="125272"/>
                  </a:cubicBezTo>
                  <a:cubicBezTo>
                    <a:pt x="73130" y="83757"/>
                    <a:pt x="53232" y="41109"/>
                    <a:pt x="26720" y="-96"/>
                  </a:cubicBezTo>
                  <a:close/>
                </a:path>
              </a:pathLst>
            </a:custGeom>
            <a:grpFill/>
            <a:ln w="25598" cap="flat">
              <a:noFill/>
              <a:prstDash val="solid"/>
              <a:round/>
            </a:ln>
          </p:spPr>
          <p:txBody>
            <a:bodyPr rtlCol="0" anchor="ctr"/>
            <a:lstStyle/>
            <a:p>
              <a:endParaRPr lang="en-LT"/>
            </a:p>
          </p:txBody>
        </p:sp>
        <p:sp>
          <p:nvSpPr>
            <p:cNvPr id="205" name="Freeform 204">
              <a:extLst>
                <a:ext uri="{FF2B5EF4-FFF2-40B4-BE49-F238E27FC236}">
                  <a16:creationId xmlns:a16="http://schemas.microsoft.com/office/drawing/2014/main" id="{6E617FF0-5425-A04B-B09A-C09CADEE53AB}"/>
                </a:ext>
              </a:extLst>
            </p:cNvPr>
            <p:cNvSpPr/>
            <p:nvPr/>
          </p:nvSpPr>
          <p:spPr>
            <a:xfrm rot="-1917689">
              <a:off x="5363617" y="3012543"/>
              <a:ext cx="220677" cy="318982"/>
            </a:xfrm>
            <a:custGeom>
              <a:avLst/>
              <a:gdLst>
                <a:gd name="connsiteX0" fmla="*/ 147605 w 220677"/>
                <a:gd name="connsiteY0" fmla="*/ 70186 h 318982"/>
                <a:gd name="connsiteX1" fmla="*/ 141791 w 220677"/>
                <a:gd name="connsiteY1" fmla="*/ 63001 h 318982"/>
                <a:gd name="connsiteX2" fmla="*/ 151274 w 220677"/>
                <a:gd name="connsiteY2" fmla="*/ 48322 h 318982"/>
                <a:gd name="connsiteX3" fmla="*/ 160422 w 220677"/>
                <a:gd name="connsiteY3" fmla="*/ 61095 h 318982"/>
                <a:gd name="connsiteX4" fmla="*/ 147605 w 220677"/>
                <a:gd name="connsiteY4" fmla="*/ 70186 h 318982"/>
                <a:gd name="connsiteX5" fmla="*/ 164091 w 220677"/>
                <a:gd name="connsiteY5" fmla="*/ 87596 h 318982"/>
                <a:gd name="connsiteX6" fmla="*/ 200862 w 220677"/>
                <a:gd name="connsiteY6" fmla="*/ 149069 h 318982"/>
                <a:gd name="connsiteX7" fmla="*/ 171275 w 220677"/>
                <a:gd name="connsiteY7" fmla="*/ 81853 h 318982"/>
                <a:gd name="connsiteX8" fmla="*/ 209622 w 220677"/>
                <a:gd name="connsiteY8" fmla="*/ 140880 h 318982"/>
                <a:gd name="connsiteX9" fmla="*/ 220656 w 220677"/>
                <a:gd name="connsiteY9" fmla="*/ 123754 h 318982"/>
                <a:gd name="connsiteX10" fmla="*/ 151274 w 220677"/>
                <a:gd name="connsiteY10" fmla="*/ -95 h 318982"/>
                <a:gd name="connsiteX11" fmla="*/ 142153 w 220677"/>
                <a:gd name="connsiteY11" fmla="*/ 35625 h 318982"/>
                <a:gd name="connsiteX12" fmla="*/ 126028 w 220677"/>
                <a:gd name="connsiteY12" fmla="*/ 39102 h 318982"/>
                <a:gd name="connsiteX13" fmla="*/ -22 w 220677"/>
                <a:gd name="connsiteY13" fmla="*/ 186541 h 318982"/>
                <a:gd name="connsiteX14" fmla="*/ 31194 w 220677"/>
                <a:gd name="connsiteY14" fmla="*/ 213376 h 318982"/>
                <a:gd name="connsiteX15" fmla="*/ 88146 w 220677"/>
                <a:gd name="connsiteY15" fmla="*/ 318888 h 318982"/>
                <a:gd name="connsiteX16" fmla="*/ 112074 w 220677"/>
                <a:gd name="connsiteY16" fmla="*/ 254736 h 318982"/>
                <a:gd name="connsiteX17" fmla="*/ 190526 w 220677"/>
                <a:gd name="connsiteY17" fmla="*/ 159757 h 318982"/>
                <a:gd name="connsiteX18" fmla="*/ 164091 w 220677"/>
                <a:gd name="connsiteY18" fmla="*/ 87596 h 318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0677" h="318982">
                  <a:moveTo>
                    <a:pt x="147605" y="70186"/>
                  </a:moveTo>
                  <a:cubicBezTo>
                    <a:pt x="146494" y="67611"/>
                    <a:pt x="145254" y="65062"/>
                    <a:pt x="141791" y="63001"/>
                  </a:cubicBezTo>
                  <a:cubicBezTo>
                    <a:pt x="144969" y="58134"/>
                    <a:pt x="148096" y="53215"/>
                    <a:pt x="151274" y="48322"/>
                  </a:cubicBezTo>
                  <a:cubicBezTo>
                    <a:pt x="157683" y="51850"/>
                    <a:pt x="156417" y="57026"/>
                    <a:pt x="160422" y="61095"/>
                  </a:cubicBezTo>
                  <a:cubicBezTo>
                    <a:pt x="155822" y="62692"/>
                    <a:pt x="152205" y="68564"/>
                    <a:pt x="147605" y="70186"/>
                  </a:cubicBezTo>
                  <a:close/>
                  <a:moveTo>
                    <a:pt x="164091" y="87596"/>
                  </a:moveTo>
                  <a:cubicBezTo>
                    <a:pt x="178950" y="104954"/>
                    <a:pt x="184764" y="146005"/>
                    <a:pt x="200862" y="149069"/>
                  </a:cubicBezTo>
                  <a:cubicBezTo>
                    <a:pt x="195384" y="127102"/>
                    <a:pt x="167864" y="98747"/>
                    <a:pt x="171275" y="81853"/>
                  </a:cubicBezTo>
                  <a:cubicBezTo>
                    <a:pt x="186650" y="99777"/>
                    <a:pt x="192077" y="130372"/>
                    <a:pt x="209622" y="140880"/>
                  </a:cubicBezTo>
                  <a:cubicBezTo>
                    <a:pt x="213292" y="135163"/>
                    <a:pt x="216961" y="129471"/>
                    <a:pt x="220656" y="123754"/>
                  </a:cubicBezTo>
                  <a:cubicBezTo>
                    <a:pt x="197193" y="82574"/>
                    <a:pt x="176185" y="40827"/>
                    <a:pt x="151274" y="-95"/>
                  </a:cubicBezTo>
                  <a:cubicBezTo>
                    <a:pt x="140912" y="13374"/>
                    <a:pt x="133083" y="26328"/>
                    <a:pt x="142153" y="35625"/>
                  </a:cubicBezTo>
                  <a:cubicBezTo>
                    <a:pt x="133625" y="42193"/>
                    <a:pt x="131377" y="32097"/>
                    <a:pt x="126028" y="39102"/>
                  </a:cubicBezTo>
                  <a:cubicBezTo>
                    <a:pt x="85381" y="94524"/>
                    <a:pt x="39902" y="127977"/>
                    <a:pt x="-22" y="186541"/>
                  </a:cubicBezTo>
                  <a:cubicBezTo>
                    <a:pt x="4449" y="196816"/>
                    <a:pt x="17291" y="205238"/>
                    <a:pt x="31194" y="213376"/>
                  </a:cubicBezTo>
                  <a:cubicBezTo>
                    <a:pt x="13984" y="255251"/>
                    <a:pt x="37654" y="298697"/>
                    <a:pt x="88146" y="318888"/>
                  </a:cubicBezTo>
                  <a:cubicBezTo>
                    <a:pt x="117966" y="311986"/>
                    <a:pt x="119284" y="272686"/>
                    <a:pt x="112074" y="254736"/>
                  </a:cubicBezTo>
                  <a:cubicBezTo>
                    <a:pt x="135357" y="229060"/>
                    <a:pt x="162954" y="191923"/>
                    <a:pt x="190526" y="159757"/>
                  </a:cubicBezTo>
                  <a:cubicBezTo>
                    <a:pt x="182076" y="135626"/>
                    <a:pt x="157760" y="114998"/>
                    <a:pt x="164091" y="87596"/>
                  </a:cubicBezTo>
                  <a:close/>
                </a:path>
              </a:pathLst>
            </a:custGeom>
            <a:grpFill/>
            <a:ln w="25598" cap="flat">
              <a:noFill/>
              <a:prstDash val="solid"/>
              <a:round/>
            </a:ln>
          </p:spPr>
          <p:txBody>
            <a:bodyPr rtlCol="0" anchor="ctr"/>
            <a:lstStyle/>
            <a:p>
              <a:endParaRPr lang="en-LT"/>
            </a:p>
          </p:txBody>
        </p:sp>
        <p:sp>
          <p:nvSpPr>
            <p:cNvPr id="206" name="Freeform 205">
              <a:extLst>
                <a:ext uri="{FF2B5EF4-FFF2-40B4-BE49-F238E27FC236}">
                  <a16:creationId xmlns:a16="http://schemas.microsoft.com/office/drawing/2014/main" id="{478DE955-7619-DB42-9BC0-1D5EF8239040}"/>
                </a:ext>
              </a:extLst>
            </p:cNvPr>
            <p:cNvSpPr/>
            <p:nvPr/>
          </p:nvSpPr>
          <p:spPr>
            <a:xfrm rot="-1917689">
              <a:off x="5606714" y="3094781"/>
              <a:ext cx="66332" cy="106362"/>
            </a:xfrm>
            <a:custGeom>
              <a:avLst/>
              <a:gdLst>
                <a:gd name="connsiteX0" fmla="*/ 66311 w 66332"/>
                <a:gd name="connsiteY0" fmla="*/ 106263 h 106362"/>
                <a:gd name="connsiteX1" fmla="*/ 13468 w 66332"/>
                <a:gd name="connsiteY1" fmla="*/ -99 h 106362"/>
                <a:gd name="connsiteX2" fmla="*/ -21 w 66332"/>
                <a:gd name="connsiteY2" fmla="*/ 15457 h 106362"/>
                <a:gd name="connsiteX3" fmla="*/ 66311 w 66332"/>
                <a:gd name="connsiteY3" fmla="*/ 106263 h 106362"/>
              </a:gdLst>
              <a:ahLst/>
              <a:cxnLst>
                <a:cxn ang="0">
                  <a:pos x="connsiteX0" y="connsiteY0"/>
                </a:cxn>
                <a:cxn ang="0">
                  <a:pos x="connsiteX1" y="connsiteY1"/>
                </a:cxn>
                <a:cxn ang="0">
                  <a:pos x="connsiteX2" y="connsiteY2"/>
                </a:cxn>
                <a:cxn ang="0">
                  <a:pos x="connsiteX3" y="connsiteY3"/>
                </a:cxn>
              </a:cxnLst>
              <a:rect l="l" t="t" r="r" b="b"/>
              <a:pathLst>
                <a:path w="66332" h="106362">
                  <a:moveTo>
                    <a:pt x="66311" y="106263"/>
                  </a:moveTo>
                  <a:cubicBezTo>
                    <a:pt x="48171" y="70904"/>
                    <a:pt x="35122" y="34514"/>
                    <a:pt x="13468" y="-99"/>
                  </a:cubicBezTo>
                  <a:cubicBezTo>
                    <a:pt x="9617" y="8374"/>
                    <a:pt x="3493" y="5748"/>
                    <a:pt x="-21" y="15457"/>
                  </a:cubicBezTo>
                  <a:cubicBezTo>
                    <a:pt x="16956" y="45459"/>
                    <a:pt x="17654" y="90168"/>
                    <a:pt x="66311" y="106263"/>
                  </a:cubicBezTo>
                  <a:close/>
                </a:path>
              </a:pathLst>
            </a:custGeom>
            <a:grpFill/>
            <a:ln w="25598" cap="flat">
              <a:noFill/>
              <a:prstDash val="solid"/>
              <a:round/>
            </a:ln>
          </p:spPr>
          <p:txBody>
            <a:bodyPr rtlCol="0" anchor="ctr"/>
            <a:lstStyle/>
            <a:p>
              <a:endParaRPr lang="en-LT"/>
            </a:p>
          </p:txBody>
        </p:sp>
        <p:sp>
          <p:nvSpPr>
            <p:cNvPr id="207" name="Freeform 206">
              <a:extLst>
                <a:ext uri="{FF2B5EF4-FFF2-40B4-BE49-F238E27FC236}">
                  <a16:creationId xmlns:a16="http://schemas.microsoft.com/office/drawing/2014/main" id="{871B8D05-C2BC-A649-9910-0A8E12179312}"/>
                </a:ext>
              </a:extLst>
            </p:cNvPr>
            <p:cNvSpPr/>
            <p:nvPr/>
          </p:nvSpPr>
          <p:spPr>
            <a:xfrm rot="-1917689">
              <a:off x="5603413" y="3133769"/>
              <a:ext cx="28480" cy="52691"/>
            </a:xfrm>
            <a:custGeom>
              <a:avLst/>
              <a:gdLst>
                <a:gd name="connsiteX0" fmla="*/ 34 w 28480"/>
                <a:gd name="connsiteY0" fmla="*/ -98 h 52691"/>
                <a:gd name="connsiteX1" fmla="*/ 28459 w 28480"/>
                <a:gd name="connsiteY1" fmla="*/ 52594 h 52691"/>
                <a:gd name="connsiteX2" fmla="*/ 34 w 28480"/>
                <a:gd name="connsiteY2" fmla="*/ -98 h 52691"/>
              </a:gdLst>
              <a:ahLst/>
              <a:cxnLst>
                <a:cxn ang="0">
                  <a:pos x="connsiteX0" y="connsiteY0"/>
                </a:cxn>
                <a:cxn ang="0">
                  <a:pos x="connsiteX1" y="connsiteY1"/>
                </a:cxn>
                <a:cxn ang="0">
                  <a:pos x="connsiteX2" y="connsiteY2"/>
                </a:cxn>
              </a:cxnLst>
              <a:rect l="l" t="t" r="r" b="b"/>
              <a:pathLst>
                <a:path w="28480" h="52691">
                  <a:moveTo>
                    <a:pt x="34" y="-98"/>
                  </a:moveTo>
                  <a:cubicBezTo>
                    <a:pt x="-947" y="18342"/>
                    <a:pt x="11198" y="45074"/>
                    <a:pt x="28459" y="52594"/>
                  </a:cubicBezTo>
                  <a:cubicBezTo>
                    <a:pt x="19286" y="34952"/>
                    <a:pt x="15074" y="16204"/>
                    <a:pt x="34" y="-98"/>
                  </a:cubicBezTo>
                  <a:close/>
                </a:path>
              </a:pathLst>
            </a:custGeom>
            <a:grpFill/>
            <a:ln w="25598" cap="flat">
              <a:noFill/>
              <a:prstDash val="solid"/>
              <a:round/>
            </a:ln>
          </p:spPr>
          <p:txBody>
            <a:bodyPr rtlCol="0" anchor="ctr"/>
            <a:lstStyle/>
            <a:p>
              <a:endParaRPr lang="en-LT"/>
            </a:p>
          </p:txBody>
        </p:sp>
        <p:sp>
          <p:nvSpPr>
            <p:cNvPr id="208" name="Freeform 207">
              <a:extLst>
                <a:ext uri="{FF2B5EF4-FFF2-40B4-BE49-F238E27FC236}">
                  <a16:creationId xmlns:a16="http://schemas.microsoft.com/office/drawing/2014/main" id="{9AF28001-95A1-6D47-A2B1-B044C90C7CE6}"/>
                </a:ext>
              </a:extLst>
            </p:cNvPr>
            <p:cNvSpPr/>
            <p:nvPr/>
          </p:nvSpPr>
          <p:spPr>
            <a:xfrm rot="-1917689">
              <a:off x="5588774" y="3158973"/>
              <a:ext cx="16528" cy="18719"/>
            </a:xfrm>
            <a:custGeom>
              <a:avLst/>
              <a:gdLst>
                <a:gd name="connsiteX0" fmla="*/ 16507 w 16528"/>
                <a:gd name="connsiteY0" fmla="*/ 18239 h 18719"/>
                <a:gd name="connsiteX1" fmla="*/ 4000 w 16528"/>
                <a:gd name="connsiteY1" fmla="*/ -98 h 18719"/>
                <a:gd name="connsiteX2" fmla="*/ 16507 w 16528"/>
                <a:gd name="connsiteY2" fmla="*/ 18239 h 18719"/>
              </a:gdLst>
              <a:ahLst/>
              <a:cxnLst>
                <a:cxn ang="0">
                  <a:pos x="connsiteX0" y="connsiteY0"/>
                </a:cxn>
                <a:cxn ang="0">
                  <a:pos x="connsiteX1" y="connsiteY1"/>
                </a:cxn>
                <a:cxn ang="0">
                  <a:pos x="connsiteX2" y="connsiteY2"/>
                </a:cxn>
              </a:cxnLst>
              <a:rect l="l" t="t" r="r" b="b"/>
              <a:pathLst>
                <a:path w="16528" h="18719">
                  <a:moveTo>
                    <a:pt x="16507" y="18239"/>
                  </a:moveTo>
                  <a:cubicBezTo>
                    <a:pt x="8341" y="13011"/>
                    <a:pt x="13251" y="4925"/>
                    <a:pt x="4000" y="-98"/>
                  </a:cubicBezTo>
                  <a:cubicBezTo>
                    <a:pt x="-7705" y="8247"/>
                    <a:pt x="9143" y="20995"/>
                    <a:pt x="16507" y="18239"/>
                  </a:cubicBezTo>
                  <a:close/>
                </a:path>
              </a:pathLst>
            </a:custGeom>
            <a:grpFill/>
            <a:ln w="25598" cap="flat">
              <a:noFill/>
              <a:prstDash val="solid"/>
              <a:round/>
            </a:ln>
          </p:spPr>
          <p:txBody>
            <a:bodyPr rtlCol="0" anchor="ctr"/>
            <a:lstStyle/>
            <a:p>
              <a:endParaRPr lang="en-LT"/>
            </a:p>
          </p:txBody>
        </p:sp>
        <p:sp>
          <p:nvSpPr>
            <p:cNvPr id="209" name="Freeform 208">
              <a:extLst>
                <a:ext uri="{FF2B5EF4-FFF2-40B4-BE49-F238E27FC236}">
                  <a16:creationId xmlns:a16="http://schemas.microsoft.com/office/drawing/2014/main" id="{797B2681-1917-B849-BF83-04166C62A23C}"/>
                </a:ext>
              </a:extLst>
            </p:cNvPr>
            <p:cNvSpPr/>
            <p:nvPr/>
          </p:nvSpPr>
          <p:spPr>
            <a:xfrm rot="-1917689">
              <a:off x="5588974" y="3169080"/>
              <a:ext cx="58916" cy="54803"/>
            </a:xfrm>
            <a:custGeom>
              <a:avLst/>
              <a:gdLst>
                <a:gd name="connsiteX0" fmla="*/ -20 w 58916"/>
                <a:gd name="connsiteY0" fmla="*/ 17003 h 54803"/>
                <a:gd name="connsiteX1" fmla="*/ 58896 w 58916"/>
                <a:gd name="connsiteY1" fmla="*/ 54705 h 54803"/>
                <a:gd name="connsiteX2" fmla="*/ 10988 w 58916"/>
                <a:gd name="connsiteY2" fmla="*/ -98 h 54803"/>
                <a:gd name="connsiteX3" fmla="*/ -20 w 58916"/>
                <a:gd name="connsiteY3" fmla="*/ 17003 h 54803"/>
              </a:gdLst>
              <a:ahLst/>
              <a:cxnLst>
                <a:cxn ang="0">
                  <a:pos x="connsiteX0" y="connsiteY0"/>
                </a:cxn>
                <a:cxn ang="0">
                  <a:pos x="connsiteX1" y="connsiteY1"/>
                </a:cxn>
                <a:cxn ang="0">
                  <a:pos x="connsiteX2" y="connsiteY2"/>
                </a:cxn>
                <a:cxn ang="0">
                  <a:pos x="connsiteX3" y="connsiteY3"/>
                </a:cxn>
              </a:cxnLst>
              <a:rect l="l" t="t" r="r" b="b"/>
              <a:pathLst>
                <a:path w="58916" h="54803">
                  <a:moveTo>
                    <a:pt x="-20" y="17003"/>
                  </a:moveTo>
                  <a:cubicBezTo>
                    <a:pt x="23805" y="27278"/>
                    <a:pt x="37707" y="50868"/>
                    <a:pt x="58896" y="54705"/>
                  </a:cubicBezTo>
                  <a:cubicBezTo>
                    <a:pt x="50705" y="34772"/>
                    <a:pt x="31428" y="17182"/>
                    <a:pt x="10988" y="-98"/>
                  </a:cubicBezTo>
                  <a:cubicBezTo>
                    <a:pt x="7318" y="5619"/>
                    <a:pt x="3623" y="11311"/>
                    <a:pt x="-20" y="17003"/>
                  </a:cubicBezTo>
                  <a:close/>
                </a:path>
              </a:pathLst>
            </a:custGeom>
            <a:grpFill/>
            <a:ln w="25598" cap="flat">
              <a:noFill/>
              <a:prstDash val="solid"/>
              <a:round/>
            </a:ln>
          </p:spPr>
          <p:txBody>
            <a:bodyPr rtlCol="0" anchor="ctr"/>
            <a:lstStyle/>
            <a:p>
              <a:endParaRPr lang="en-LT"/>
            </a:p>
          </p:txBody>
        </p:sp>
        <p:sp>
          <p:nvSpPr>
            <p:cNvPr id="210" name="Freeform 209">
              <a:extLst>
                <a:ext uri="{FF2B5EF4-FFF2-40B4-BE49-F238E27FC236}">
                  <a16:creationId xmlns:a16="http://schemas.microsoft.com/office/drawing/2014/main" id="{F82743E0-C494-384D-A3B2-37683953C98B}"/>
                </a:ext>
              </a:extLst>
            </p:cNvPr>
            <p:cNvSpPr/>
            <p:nvPr/>
          </p:nvSpPr>
          <p:spPr>
            <a:xfrm rot="-1917689">
              <a:off x="5676546" y="3175694"/>
              <a:ext cx="31877" cy="25378"/>
            </a:xfrm>
            <a:custGeom>
              <a:avLst/>
              <a:gdLst>
                <a:gd name="connsiteX0" fmla="*/ 22100 w 31877"/>
                <a:gd name="connsiteY0" fmla="*/ 15108 h 25378"/>
                <a:gd name="connsiteX1" fmla="*/ 6466 w 31877"/>
                <a:gd name="connsiteY1" fmla="*/ 1613 h 25378"/>
                <a:gd name="connsiteX2" fmla="*/ -20 w 31877"/>
                <a:gd name="connsiteY2" fmla="*/ 969 h 25378"/>
                <a:gd name="connsiteX3" fmla="*/ 22100 w 31877"/>
                <a:gd name="connsiteY3" fmla="*/ 15108 h 25378"/>
              </a:gdLst>
              <a:ahLst/>
              <a:cxnLst>
                <a:cxn ang="0">
                  <a:pos x="connsiteX0" y="connsiteY0"/>
                </a:cxn>
                <a:cxn ang="0">
                  <a:pos x="connsiteX1" y="connsiteY1"/>
                </a:cxn>
                <a:cxn ang="0">
                  <a:pos x="connsiteX2" y="connsiteY2"/>
                </a:cxn>
                <a:cxn ang="0">
                  <a:pos x="connsiteX3" y="connsiteY3"/>
                </a:cxn>
              </a:cxnLst>
              <a:rect l="l" t="t" r="r" b="b"/>
              <a:pathLst>
                <a:path w="31877" h="25378">
                  <a:moveTo>
                    <a:pt x="22100" y="15108"/>
                  </a:moveTo>
                  <a:cubicBezTo>
                    <a:pt x="15356" y="9159"/>
                    <a:pt x="24942" y="9365"/>
                    <a:pt x="6466" y="1613"/>
                  </a:cubicBezTo>
                  <a:cubicBezTo>
                    <a:pt x="5407" y="1175"/>
                    <a:pt x="84" y="-1580"/>
                    <a:pt x="-20" y="969"/>
                  </a:cubicBezTo>
                  <a:cubicBezTo>
                    <a:pt x="-200" y="6403"/>
                    <a:pt x="53264" y="42535"/>
                    <a:pt x="22100" y="15108"/>
                  </a:cubicBezTo>
                  <a:close/>
                </a:path>
              </a:pathLst>
            </a:custGeom>
            <a:grpFill/>
            <a:ln w="25598" cap="flat">
              <a:noFill/>
              <a:prstDash val="solid"/>
              <a:round/>
            </a:ln>
          </p:spPr>
          <p:txBody>
            <a:bodyPr rtlCol="0" anchor="ctr"/>
            <a:lstStyle/>
            <a:p>
              <a:endParaRPr lang="en-LT"/>
            </a:p>
          </p:txBody>
        </p:sp>
        <p:sp>
          <p:nvSpPr>
            <p:cNvPr id="211" name="Freeform 210">
              <a:extLst>
                <a:ext uri="{FF2B5EF4-FFF2-40B4-BE49-F238E27FC236}">
                  <a16:creationId xmlns:a16="http://schemas.microsoft.com/office/drawing/2014/main" id="{E5BAA2B0-9CAF-7C4E-8025-7788F3F5FC11}"/>
                </a:ext>
              </a:extLst>
            </p:cNvPr>
            <p:cNvSpPr/>
            <p:nvPr/>
          </p:nvSpPr>
          <p:spPr>
            <a:xfrm rot="-1917689">
              <a:off x="5889555" y="3182606"/>
              <a:ext cx="68763" cy="47308"/>
            </a:xfrm>
            <a:custGeom>
              <a:avLst/>
              <a:gdLst>
                <a:gd name="connsiteX0" fmla="*/ 68255 w 68763"/>
                <a:gd name="connsiteY0" fmla="*/ 29383 h 47308"/>
                <a:gd name="connsiteX1" fmla="*/ 527 w 68763"/>
                <a:gd name="connsiteY1" fmla="*/ -104 h 47308"/>
                <a:gd name="connsiteX2" fmla="*/ 63733 w 68763"/>
                <a:gd name="connsiteY2" fmla="*/ 47205 h 47308"/>
                <a:gd name="connsiteX3" fmla="*/ 68255 w 68763"/>
                <a:gd name="connsiteY3" fmla="*/ 29383 h 47308"/>
              </a:gdLst>
              <a:ahLst/>
              <a:cxnLst>
                <a:cxn ang="0">
                  <a:pos x="connsiteX0" y="connsiteY0"/>
                </a:cxn>
                <a:cxn ang="0">
                  <a:pos x="connsiteX1" y="connsiteY1"/>
                </a:cxn>
                <a:cxn ang="0">
                  <a:pos x="connsiteX2" y="connsiteY2"/>
                </a:cxn>
                <a:cxn ang="0">
                  <a:pos x="connsiteX3" y="connsiteY3"/>
                </a:cxn>
              </a:cxnLst>
              <a:rect l="l" t="t" r="r" b="b"/>
              <a:pathLst>
                <a:path w="68763" h="47308">
                  <a:moveTo>
                    <a:pt x="68255" y="29383"/>
                  </a:moveTo>
                  <a:cubicBezTo>
                    <a:pt x="46291" y="22482"/>
                    <a:pt x="23965" y="13468"/>
                    <a:pt x="527" y="-104"/>
                  </a:cubicBezTo>
                  <a:cubicBezTo>
                    <a:pt x="-5700" y="25675"/>
                    <a:pt x="43009" y="39428"/>
                    <a:pt x="63733" y="47205"/>
                  </a:cubicBezTo>
                  <a:cubicBezTo>
                    <a:pt x="67506" y="40741"/>
                    <a:pt x="69806" y="34637"/>
                    <a:pt x="68255" y="29383"/>
                  </a:cubicBezTo>
                  <a:close/>
                </a:path>
              </a:pathLst>
            </a:custGeom>
            <a:grpFill/>
            <a:ln w="25598" cap="flat">
              <a:noFill/>
              <a:prstDash val="solid"/>
              <a:round/>
            </a:ln>
          </p:spPr>
          <p:txBody>
            <a:bodyPr rtlCol="0" anchor="ctr"/>
            <a:lstStyle/>
            <a:p>
              <a:endParaRPr lang="en-LT"/>
            </a:p>
          </p:txBody>
        </p:sp>
        <p:sp>
          <p:nvSpPr>
            <p:cNvPr id="212" name="Freeform 211">
              <a:extLst>
                <a:ext uri="{FF2B5EF4-FFF2-40B4-BE49-F238E27FC236}">
                  <a16:creationId xmlns:a16="http://schemas.microsoft.com/office/drawing/2014/main" id="{0F1C921E-AD2F-7542-9F7D-C34C4B9AC720}"/>
                </a:ext>
              </a:extLst>
            </p:cNvPr>
            <p:cNvSpPr/>
            <p:nvPr/>
          </p:nvSpPr>
          <p:spPr>
            <a:xfrm rot="-1917689">
              <a:off x="5823948" y="3192074"/>
              <a:ext cx="22164" cy="12543"/>
            </a:xfrm>
            <a:custGeom>
              <a:avLst/>
              <a:gdLst>
                <a:gd name="connsiteX0" fmla="*/ 22146 w 22164"/>
                <a:gd name="connsiteY0" fmla="*/ 12441 h 12543"/>
                <a:gd name="connsiteX1" fmla="*/ 22146 w 22164"/>
                <a:gd name="connsiteY1" fmla="*/ 12441 h 12543"/>
              </a:gdLst>
              <a:ahLst/>
              <a:cxnLst>
                <a:cxn ang="0">
                  <a:pos x="connsiteX0" y="connsiteY0"/>
                </a:cxn>
                <a:cxn ang="0">
                  <a:pos x="connsiteX1" y="connsiteY1"/>
                </a:cxn>
              </a:cxnLst>
              <a:rect l="l" t="t" r="r" b="b"/>
              <a:pathLst>
                <a:path w="22164" h="12543">
                  <a:moveTo>
                    <a:pt x="22146" y="12441"/>
                  </a:moveTo>
                  <a:cubicBezTo>
                    <a:pt x="-8811" y="-11381"/>
                    <a:pt x="-5969" y="4637"/>
                    <a:pt x="22146" y="12441"/>
                  </a:cubicBezTo>
                  <a:close/>
                </a:path>
              </a:pathLst>
            </a:custGeom>
            <a:grpFill/>
            <a:ln w="25598" cap="flat">
              <a:noFill/>
              <a:prstDash val="solid"/>
              <a:round/>
            </a:ln>
          </p:spPr>
          <p:txBody>
            <a:bodyPr rtlCol="0" anchor="ctr"/>
            <a:lstStyle/>
            <a:p>
              <a:endParaRPr lang="en-LT"/>
            </a:p>
          </p:txBody>
        </p:sp>
        <p:sp>
          <p:nvSpPr>
            <p:cNvPr id="213" name="Freeform 212">
              <a:extLst>
                <a:ext uri="{FF2B5EF4-FFF2-40B4-BE49-F238E27FC236}">
                  <a16:creationId xmlns:a16="http://schemas.microsoft.com/office/drawing/2014/main" id="{99C18780-3B51-5D4C-98D0-9D96E22DF720}"/>
                </a:ext>
              </a:extLst>
            </p:cNvPr>
            <p:cNvSpPr/>
            <p:nvPr/>
          </p:nvSpPr>
          <p:spPr>
            <a:xfrm rot="-1917689">
              <a:off x="5675727" y="3196137"/>
              <a:ext cx="14798" cy="13377"/>
            </a:xfrm>
            <a:custGeom>
              <a:avLst/>
              <a:gdLst>
                <a:gd name="connsiteX0" fmla="*/ 14779 w 14798"/>
                <a:gd name="connsiteY0" fmla="*/ 13278 h 13377"/>
                <a:gd name="connsiteX1" fmla="*/ 14779 w 14798"/>
                <a:gd name="connsiteY1" fmla="*/ 13278 h 13377"/>
              </a:gdLst>
              <a:ahLst/>
              <a:cxnLst>
                <a:cxn ang="0">
                  <a:pos x="connsiteX0" y="connsiteY0"/>
                </a:cxn>
                <a:cxn ang="0">
                  <a:pos x="connsiteX1" y="connsiteY1"/>
                </a:cxn>
              </a:cxnLst>
              <a:rect l="l" t="t" r="r" b="b"/>
              <a:pathLst>
                <a:path w="14798" h="13377">
                  <a:moveTo>
                    <a:pt x="14779" y="13278"/>
                  </a:moveTo>
                  <a:cubicBezTo>
                    <a:pt x="4365" y="-13969"/>
                    <a:pt x="-12535" y="7973"/>
                    <a:pt x="14779" y="13278"/>
                  </a:cubicBezTo>
                  <a:close/>
                </a:path>
              </a:pathLst>
            </a:custGeom>
            <a:grpFill/>
            <a:ln w="25598" cap="flat">
              <a:noFill/>
              <a:prstDash val="solid"/>
              <a:round/>
            </a:ln>
          </p:spPr>
          <p:txBody>
            <a:bodyPr rtlCol="0" anchor="ctr"/>
            <a:lstStyle/>
            <a:p>
              <a:endParaRPr lang="en-LT"/>
            </a:p>
          </p:txBody>
        </p:sp>
        <p:sp>
          <p:nvSpPr>
            <p:cNvPr id="214" name="Freeform 213">
              <a:extLst>
                <a:ext uri="{FF2B5EF4-FFF2-40B4-BE49-F238E27FC236}">
                  <a16:creationId xmlns:a16="http://schemas.microsoft.com/office/drawing/2014/main" id="{888BE25D-4E99-CE4C-8554-446B9D238F70}"/>
                </a:ext>
              </a:extLst>
            </p:cNvPr>
            <p:cNvSpPr/>
            <p:nvPr/>
          </p:nvSpPr>
          <p:spPr>
            <a:xfrm rot="-1917689">
              <a:off x="5700177" y="3191848"/>
              <a:ext cx="30440" cy="24698"/>
            </a:xfrm>
            <a:custGeom>
              <a:avLst/>
              <a:gdLst>
                <a:gd name="connsiteX0" fmla="*/ 30421 w 30440"/>
                <a:gd name="connsiteY0" fmla="*/ 22769 h 24698"/>
                <a:gd name="connsiteX1" fmla="*/ -20 w 30440"/>
                <a:gd name="connsiteY1" fmla="*/ -100 h 24698"/>
                <a:gd name="connsiteX2" fmla="*/ 30421 w 30440"/>
                <a:gd name="connsiteY2" fmla="*/ 22769 h 24698"/>
              </a:gdLst>
              <a:ahLst/>
              <a:cxnLst>
                <a:cxn ang="0">
                  <a:pos x="connsiteX0" y="connsiteY0"/>
                </a:cxn>
                <a:cxn ang="0">
                  <a:pos x="connsiteX1" y="connsiteY1"/>
                </a:cxn>
                <a:cxn ang="0">
                  <a:pos x="connsiteX2" y="connsiteY2"/>
                </a:cxn>
              </a:cxnLst>
              <a:rect l="l" t="t" r="r" b="b"/>
              <a:pathLst>
                <a:path w="30440" h="24698">
                  <a:moveTo>
                    <a:pt x="30421" y="22769"/>
                  </a:moveTo>
                  <a:cubicBezTo>
                    <a:pt x="26570" y="15146"/>
                    <a:pt x="4012" y="570"/>
                    <a:pt x="-20" y="-100"/>
                  </a:cubicBezTo>
                  <a:cubicBezTo>
                    <a:pt x="4864" y="6647"/>
                    <a:pt x="17836" y="31474"/>
                    <a:pt x="30421" y="22769"/>
                  </a:cubicBezTo>
                  <a:close/>
                </a:path>
              </a:pathLst>
            </a:custGeom>
            <a:grpFill/>
            <a:ln w="25598" cap="flat">
              <a:noFill/>
              <a:prstDash val="solid"/>
              <a:round/>
            </a:ln>
          </p:spPr>
          <p:txBody>
            <a:bodyPr rtlCol="0" anchor="ctr"/>
            <a:lstStyle/>
            <a:p>
              <a:endParaRPr lang="en-LT"/>
            </a:p>
          </p:txBody>
        </p:sp>
        <p:sp>
          <p:nvSpPr>
            <p:cNvPr id="215" name="Freeform 214">
              <a:extLst>
                <a:ext uri="{FF2B5EF4-FFF2-40B4-BE49-F238E27FC236}">
                  <a16:creationId xmlns:a16="http://schemas.microsoft.com/office/drawing/2014/main" id="{2B322ACC-519E-4244-B0B7-F02E6458E922}"/>
                </a:ext>
              </a:extLst>
            </p:cNvPr>
            <p:cNvSpPr/>
            <p:nvPr/>
          </p:nvSpPr>
          <p:spPr>
            <a:xfrm rot="-1917689">
              <a:off x="5770119" y="3191559"/>
              <a:ext cx="47135" cy="29510"/>
            </a:xfrm>
            <a:custGeom>
              <a:avLst/>
              <a:gdLst>
                <a:gd name="connsiteX0" fmla="*/ 47117 w 47135"/>
                <a:gd name="connsiteY0" fmla="*/ 29152 h 29510"/>
                <a:gd name="connsiteX1" fmla="*/ 2929 w 47135"/>
                <a:gd name="connsiteY1" fmla="*/ 926 h 29510"/>
                <a:gd name="connsiteX2" fmla="*/ 47117 w 47135"/>
                <a:gd name="connsiteY2" fmla="*/ 29152 h 29510"/>
              </a:gdLst>
              <a:ahLst/>
              <a:cxnLst>
                <a:cxn ang="0">
                  <a:pos x="connsiteX0" y="connsiteY0"/>
                </a:cxn>
                <a:cxn ang="0">
                  <a:pos x="connsiteX1" y="connsiteY1"/>
                </a:cxn>
                <a:cxn ang="0">
                  <a:pos x="connsiteX2" y="connsiteY2"/>
                </a:cxn>
              </a:cxnLst>
              <a:rect l="l" t="t" r="r" b="b"/>
              <a:pathLst>
                <a:path w="47135" h="29510">
                  <a:moveTo>
                    <a:pt x="47117" y="29152"/>
                  </a:moveTo>
                  <a:cubicBezTo>
                    <a:pt x="34403" y="21142"/>
                    <a:pt x="4997" y="2085"/>
                    <a:pt x="2929" y="926"/>
                  </a:cubicBezTo>
                  <a:cubicBezTo>
                    <a:pt x="-11179" y="-6929"/>
                    <a:pt x="28951" y="32963"/>
                    <a:pt x="47117" y="29152"/>
                  </a:cubicBezTo>
                  <a:close/>
                </a:path>
              </a:pathLst>
            </a:custGeom>
            <a:grpFill/>
            <a:ln w="25598" cap="flat">
              <a:noFill/>
              <a:prstDash val="solid"/>
              <a:round/>
            </a:ln>
          </p:spPr>
          <p:txBody>
            <a:bodyPr rtlCol="0" anchor="ctr"/>
            <a:lstStyle/>
            <a:p>
              <a:endParaRPr lang="en-LT"/>
            </a:p>
          </p:txBody>
        </p:sp>
        <p:sp>
          <p:nvSpPr>
            <p:cNvPr id="216" name="Freeform 215">
              <a:extLst>
                <a:ext uri="{FF2B5EF4-FFF2-40B4-BE49-F238E27FC236}">
                  <a16:creationId xmlns:a16="http://schemas.microsoft.com/office/drawing/2014/main" id="{F0D6CDDB-A5FA-C343-8824-7F84825CB986}"/>
                </a:ext>
              </a:extLst>
            </p:cNvPr>
            <p:cNvSpPr/>
            <p:nvPr/>
          </p:nvSpPr>
          <p:spPr>
            <a:xfrm rot="-1917689">
              <a:off x="5597240" y="3190566"/>
              <a:ext cx="68761" cy="43991"/>
            </a:xfrm>
            <a:custGeom>
              <a:avLst/>
              <a:gdLst>
                <a:gd name="connsiteX0" fmla="*/ -20 w 68761"/>
                <a:gd name="connsiteY0" fmla="*/ -67 h 43991"/>
                <a:gd name="connsiteX1" fmla="*/ 68742 w 68761"/>
                <a:gd name="connsiteY1" fmla="*/ 43894 h 43991"/>
                <a:gd name="connsiteX2" fmla="*/ -20 w 68761"/>
                <a:gd name="connsiteY2" fmla="*/ -67 h 43991"/>
              </a:gdLst>
              <a:ahLst/>
              <a:cxnLst>
                <a:cxn ang="0">
                  <a:pos x="connsiteX0" y="connsiteY0"/>
                </a:cxn>
                <a:cxn ang="0">
                  <a:pos x="connsiteX1" y="connsiteY1"/>
                </a:cxn>
                <a:cxn ang="0">
                  <a:pos x="connsiteX2" y="connsiteY2"/>
                </a:cxn>
              </a:cxnLst>
              <a:rect l="l" t="t" r="r" b="b"/>
              <a:pathLst>
                <a:path w="68761" h="43991">
                  <a:moveTo>
                    <a:pt x="-20" y="-67"/>
                  </a:moveTo>
                  <a:cubicBezTo>
                    <a:pt x="17216" y="14380"/>
                    <a:pt x="47061" y="37352"/>
                    <a:pt x="68742" y="43894"/>
                  </a:cubicBezTo>
                  <a:cubicBezTo>
                    <a:pt x="49000" y="30708"/>
                    <a:pt x="22306" y="-1227"/>
                    <a:pt x="-20" y="-67"/>
                  </a:cubicBezTo>
                  <a:close/>
                </a:path>
              </a:pathLst>
            </a:custGeom>
            <a:grpFill/>
            <a:ln w="25598" cap="flat">
              <a:noFill/>
              <a:prstDash val="solid"/>
              <a:round/>
            </a:ln>
          </p:spPr>
          <p:txBody>
            <a:bodyPr rtlCol="0" anchor="ctr"/>
            <a:lstStyle/>
            <a:p>
              <a:endParaRPr lang="en-LT"/>
            </a:p>
          </p:txBody>
        </p:sp>
        <p:sp>
          <p:nvSpPr>
            <p:cNvPr id="217" name="Freeform 216">
              <a:extLst>
                <a:ext uri="{FF2B5EF4-FFF2-40B4-BE49-F238E27FC236}">
                  <a16:creationId xmlns:a16="http://schemas.microsoft.com/office/drawing/2014/main" id="{1647F1D2-F1F4-F349-9525-162D5B675D1B}"/>
                </a:ext>
              </a:extLst>
            </p:cNvPr>
            <p:cNvSpPr/>
            <p:nvPr/>
          </p:nvSpPr>
          <p:spPr>
            <a:xfrm rot="-1917689">
              <a:off x="5822172" y="3202226"/>
              <a:ext cx="50699" cy="28947"/>
            </a:xfrm>
            <a:custGeom>
              <a:avLst/>
              <a:gdLst>
                <a:gd name="connsiteX0" fmla="*/ -19 w 50699"/>
                <a:gd name="connsiteY0" fmla="*/ -102 h 28947"/>
                <a:gd name="connsiteX1" fmla="*/ 50681 w 50699"/>
                <a:gd name="connsiteY1" fmla="*/ 28845 h 28947"/>
                <a:gd name="connsiteX2" fmla="*/ -19 w 50699"/>
                <a:gd name="connsiteY2" fmla="*/ -102 h 28947"/>
              </a:gdLst>
              <a:ahLst/>
              <a:cxnLst>
                <a:cxn ang="0">
                  <a:pos x="connsiteX0" y="connsiteY0"/>
                </a:cxn>
                <a:cxn ang="0">
                  <a:pos x="connsiteX1" y="connsiteY1"/>
                </a:cxn>
                <a:cxn ang="0">
                  <a:pos x="connsiteX2" y="connsiteY2"/>
                </a:cxn>
              </a:cxnLst>
              <a:rect l="l" t="t" r="r" b="b"/>
              <a:pathLst>
                <a:path w="50699" h="28947">
                  <a:moveTo>
                    <a:pt x="-19" y="-102"/>
                  </a:moveTo>
                  <a:cubicBezTo>
                    <a:pt x="16571" y="8267"/>
                    <a:pt x="35512" y="27196"/>
                    <a:pt x="50681" y="28845"/>
                  </a:cubicBezTo>
                  <a:cubicBezTo>
                    <a:pt x="46133" y="12363"/>
                    <a:pt x="14426" y="1391"/>
                    <a:pt x="-19" y="-102"/>
                  </a:cubicBezTo>
                  <a:close/>
                </a:path>
              </a:pathLst>
            </a:custGeom>
            <a:grpFill/>
            <a:ln w="25598" cap="flat">
              <a:noFill/>
              <a:prstDash val="solid"/>
              <a:round/>
            </a:ln>
          </p:spPr>
          <p:txBody>
            <a:bodyPr rtlCol="0" anchor="ctr"/>
            <a:lstStyle/>
            <a:p>
              <a:endParaRPr lang="en-LT"/>
            </a:p>
          </p:txBody>
        </p:sp>
        <p:sp>
          <p:nvSpPr>
            <p:cNvPr id="218" name="Freeform 217">
              <a:extLst>
                <a:ext uri="{FF2B5EF4-FFF2-40B4-BE49-F238E27FC236}">
                  <a16:creationId xmlns:a16="http://schemas.microsoft.com/office/drawing/2014/main" id="{956D7DF7-BA50-184A-99AE-BB66CFA671A4}"/>
                </a:ext>
              </a:extLst>
            </p:cNvPr>
            <p:cNvSpPr/>
            <p:nvPr/>
          </p:nvSpPr>
          <p:spPr>
            <a:xfrm rot="-1917689">
              <a:off x="5919505" y="3210199"/>
              <a:ext cx="48993" cy="55583"/>
            </a:xfrm>
            <a:custGeom>
              <a:avLst/>
              <a:gdLst>
                <a:gd name="connsiteX0" fmla="*/ 48976 w 48993"/>
                <a:gd name="connsiteY0" fmla="*/ 21202 h 55583"/>
                <a:gd name="connsiteX1" fmla="*/ -18 w 48993"/>
                <a:gd name="connsiteY1" fmla="*/ 213 h 55583"/>
                <a:gd name="connsiteX2" fmla="*/ 26908 w 48993"/>
                <a:gd name="connsiteY2" fmla="*/ 55480 h 55583"/>
                <a:gd name="connsiteX3" fmla="*/ 48976 w 48993"/>
                <a:gd name="connsiteY3" fmla="*/ 21202 h 55583"/>
              </a:gdLst>
              <a:ahLst/>
              <a:cxnLst>
                <a:cxn ang="0">
                  <a:pos x="connsiteX0" y="connsiteY0"/>
                </a:cxn>
                <a:cxn ang="0">
                  <a:pos x="connsiteX1" y="connsiteY1"/>
                </a:cxn>
                <a:cxn ang="0">
                  <a:pos x="connsiteX2" y="connsiteY2"/>
                </a:cxn>
                <a:cxn ang="0">
                  <a:pos x="connsiteX3" y="connsiteY3"/>
                </a:cxn>
              </a:cxnLst>
              <a:rect l="l" t="t" r="r" b="b"/>
              <a:pathLst>
                <a:path w="48993" h="55583">
                  <a:moveTo>
                    <a:pt x="48976" y="21202"/>
                  </a:moveTo>
                  <a:cubicBezTo>
                    <a:pt x="33058" y="16206"/>
                    <a:pt x="14091" y="-2775"/>
                    <a:pt x="-18" y="213"/>
                  </a:cubicBezTo>
                  <a:cubicBezTo>
                    <a:pt x="11869" y="18034"/>
                    <a:pt x="16727" y="37272"/>
                    <a:pt x="26908" y="55480"/>
                  </a:cubicBezTo>
                  <a:cubicBezTo>
                    <a:pt x="34221" y="44071"/>
                    <a:pt x="41611" y="32585"/>
                    <a:pt x="48976" y="21202"/>
                  </a:cubicBezTo>
                  <a:close/>
                </a:path>
              </a:pathLst>
            </a:custGeom>
            <a:grpFill/>
            <a:ln w="25598" cap="flat">
              <a:noFill/>
              <a:prstDash val="solid"/>
              <a:round/>
            </a:ln>
          </p:spPr>
          <p:txBody>
            <a:bodyPr rtlCol="0" anchor="ctr"/>
            <a:lstStyle/>
            <a:p>
              <a:endParaRPr lang="en-LT"/>
            </a:p>
          </p:txBody>
        </p:sp>
        <p:sp>
          <p:nvSpPr>
            <p:cNvPr id="219" name="Freeform 218">
              <a:extLst>
                <a:ext uri="{FF2B5EF4-FFF2-40B4-BE49-F238E27FC236}">
                  <a16:creationId xmlns:a16="http://schemas.microsoft.com/office/drawing/2014/main" id="{548FF9AA-6A85-6546-9C1C-389FACDB0C1D}"/>
                </a:ext>
              </a:extLst>
            </p:cNvPr>
            <p:cNvSpPr/>
            <p:nvPr/>
          </p:nvSpPr>
          <p:spPr>
            <a:xfrm rot="-1917689">
              <a:off x="5824356" y="3176492"/>
              <a:ext cx="122384" cy="189725"/>
            </a:xfrm>
            <a:custGeom>
              <a:avLst/>
              <a:gdLst>
                <a:gd name="connsiteX0" fmla="*/ 122363 w 122384"/>
                <a:gd name="connsiteY0" fmla="*/ 143782 h 189725"/>
                <a:gd name="connsiteX1" fmla="*/ 90864 w 122384"/>
                <a:gd name="connsiteY1" fmla="*/ 57971 h 189725"/>
                <a:gd name="connsiteX2" fmla="*/ -17 w 122384"/>
                <a:gd name="connsiteY2" fmla="*/ -103 h 189725"/>
                <a:gd name="connsiteX3" fmla="*/ 85954 w 122384"/>
                <a:gd name="connsiteY3" fmla="*/ 189623 h 189725"/>
                <a:gd name="connsiteX4" fmla="*/ 122363 w 122384"/>
                <a:gd name="connsiteY4" fmla="*/ 143782 h 189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384" h="189725">
                  <a:moveTo>
                    <a:pt x="122363" y="143782"/>
                  </a:moveTo>
                  <a:cubicBezTo>
                    <a:pt x="122699" y="112852"/>
                    <a:pt x="99675" y="86944"/>
                    <a:pt x="90864" y="57971"/>
                  </a:cubicBezTo>
                  <a:cubicBezTo>
                    <a:pt x="56806" y="40819"/>
                    <a:pt x="29544" y="11048"/>
                    <a:pt x="-17" y="-103"/>
                  </a:cubicBezTo>
                  <a:cubicBezTo>
                    <a:pt x="32464" y="62246"/>
                    <a:pt x="54584" y="126913"/>
                    <a:pt x="85954" y="189623"/>
                  </a:cubicBezTo>
                  <a:cubicBezTo>
                    <a:pt x="97660" y="177081"/>
                    <a:pt x="112880" y="135309"/>
                    <a:pt x="122363" y="143782"/>
                  </a:cubicBezTo>
                  <a:close/>
                </a:path>
              </a:pathLst>
            </a:custGeom>
            <a:grpFill/>
            <a:ln w="25598" cap="flat">
              <a:noFill/>
              <a:prstDash val="solid"/>
              <a:round/>
            </a:ln>
          </p:spPr>
          <p:txBody>
            <a:bodyPr rtlCol="0" anchor="ctr"/>
            <a:lstStyle/>
            <a:p>
              <a:endParaRPr lang="en-LT"/>
            </a:p>
          </p:txBody>
        </p:sp>
        <p:sp>
          <p:nvSpPr>
            <p:cNvPr id="220" name="Freeform 219">
              <a:extLst>
                <a:ext uri="{FF2B5EF4-FFF2-40B4-BE49-F238E27FC236}">
                  <a16:creationId xmlns:a16="http://schemas.microsoft.com/office/drawing/2014/main" id="{B2F28D5A-EBD5-9C4D-B384-24565334FCF9}"/>
                </a:ext>
              </a:extLst>
            </p:cNvPr>
            <p:cNvSpPr/>
            <p:nvPr/>
          </p:nvSpPr>
          <p:spPr>
            <a:xfrm rot="-1917689">
              <a:off x="5712989" y="3218388"/>
              <a:ext cx="17713" cy="26496"/>
            </a:xfrm>
            <a:custGeom>
              <a:avLst/>
              <a:gdLst>
                <a:gd name="connsiteX0" fmla="*/ -19 w 17713"/>
                <a:gd name="connsiteY0" fmla="*/ -52 h 26496"/>
                <a:gd name="connsiteX1" fmla="*/ 14219 w 17713"/>
                <a:gd name="connsiteY1" fmla="*/ 26397 h 26496"/>
                <a:gd name="connsiteX2" fmla="*/ -19 w 17713"/>
                <a:gd name="connsiteY2" fmla="*/ -52 h 26496"/>
              </a:gdLst>
              <a:ahLst/>
              <a:cxnLst>
                <a:cxn ang="0">
                  <a:pos x="connsiteX0" y="connsiteY0"/>
                </a:cxn>
                <a:cxn ang="0">
                  <a:pos x="connsiteX1" y="connsiteY1"/>
                </a:cxn>
                <a:cxn ang="0">
                  <a:pos x="connsiteX2" y="connsiteY2"/>
                </a:cxn>
              </a:cxnLst>
              <a:rect l="l" t="t" r="r" b="b"/>
              <a:pathLst>
                <a:path w="17713" h="26496">
                  <a:moveTo>
                    <a:pt x="-19" y="-52"/>
                  </a:moveTo>
                  <a:cubicBezTo>
                    <a:pt x="7242" y="8214"/>
                    <a:pt x="9542" y="17589"/>
                    <a:pt x="14219" y="26397"/>
                  </a:cubicBezTo>
                  <a:cubicBezTo>
                    <a:pt x="23703" y="15761"/>
                    <a:pt x="12049" y="-1108"/>
                    <a:pt x="-19" y="-52"/>
                  </a:cubicBezTo>
                  <a:close/>
                </a:path>
              </a:pathLst>
            </a:custGeom>
            <a:grpFill/>
            <a:ln w="25598" cap="flat">
              <a:noFill/>
              <a:prstDash val="solid"/>
              <a:round/>
            </a:ln>
          </p:spPr>
          <p:txBody>
            <a:bodyPr rtlCol="0" anchor="ctr"/>
            <a:lstStyle/>
            <a:p>
              <a:endParaRPr lang="en-LT"/>
            </a:p>
          </p:txBody>
        </p:sp>
        <p:sp>
          <p:nvSpPr>
            <p:cNvPr id="221" name="Freeform 220">
              <a:extLst>
                <a:ext uri="{FF2B5EF4-FFF2-40B4-BE49-F238E27FC236}">
                  <a16:creationId xmlns:a16="http://schemas.microsoft.com/office/drawing/2014/main" id="{5BF140F5-6A35-F843-A5FD-76310F44E4BF}"/>
                </a:ext>
              </a:extLst>
            </p:cNvPr>
            <p:cNvSpPr/>
            <p:nvPr/>
          </p:nvSpPr>
          <p:spPr>
            <a:xfrm rot="-1917689">
              <a:off x="5683451" y="1771367"/>
              <a:ext cx="172365" cy="298678"/>
            </a:xfrm>
            <a:custGeom>
              <a:avLst/>
              <a:gdLst>
                <a:gd name="connsiteX0" fmla="*/ 139932 w 172365"/>
                <a:gd name="connsiteY0" fmla="*/ 120665 h 298678"/>
                <a:gd name="connsiteX1" fmla="*/ 109311 w 172365"/>
                <a:gd name="connsiteY1" fmla="*/ 38924 h 298678"/>
                <a:gd name="connsiteX2" fmla="*/ 139932 w 172365"/>
                <a:gd name="connsiteY2" fmla="*/ 120665 h 298678"/>
                <a:gd name="connsiteX3" fmla="*/ 164119 w 172365"/>
                <a:gd name="connsiteY3" fmla="*/ 66995 h 298678"/>
                <a:gd name="connsiteX4" fmla="*/ -46 w 172365"/>
                <a:gd name="connsiteY4" fmla="*/ 31198 h 298678"/>
                <a:gd name="connsiteX5" fmla="*/ 115565 w 172365"/>
                <a:gd name="connsiteY5" fmla="*/ 298570 h 298678"/>
                <a:gd name="connsiteX6" fmla="*/ 132232 w 172365"/>
                <a:gd name="connsiteY6" fmla="*/ 278122 h 298678"/>
                <a:gd name="connsiteX7" fmla="*/ 109182 w 172365"/>
                <a:gd name="connsiteY7" fmla="*/ 211549 h 298678"/>
                <a:gd name="connsiteX8" fmla="*/ 136961 w 172365"/>
                <a:gd name="connsiteY8" fmla="*/ 270731 h 298678"/>
                <a:gd name="connsiteX9" fmla="*/ 164119 w 172365"/>
                <a:gd name="connsiteY9" fmla="*/ 66995 h 298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365" h="298678">
                  <a:moveTo>
                    <a:pt x="139932" y="120665"/>
                  </a:moveTo>
                  <a:cubicBezTo>
                    <a:pt x="135695" y="108767"/>
                    <a:pt x="135953" y="59913"/>
                    <a:pt x="109311" y="38924"/>
                  </a:cubicBezTo>
                  <a:cubicBezTo>
                    <a:pt x="140785" y="53114"/>
                    <a:pt x="138821" y="92826"/>
                    <a:pt x="139932" y="120665"/>
                  </a:cubicBezTo>
                  <a:close/>
                  <a:moveTo>
                    <a:pt x="164119" y="66995"/>
                  </a:moveTo>
                  <a:cubicBezTo>
                    <a:pt x="142465" y="-8179"/>
                    <a:pt x="55382" y="-20309"/>
                    <a:pt x="-46" y="31198"/>
                  </a:cubicBezTo>
                  <a:cubicBezTo>
                    <a:pt x="43366" y="119275"/>
                    <a:pt x="70344" y="210931"/>
                    <a:pt x="115565" y="298570"/>
                  </a:cubicBezTo>
                  <a:cubicBezTo>
                    <a:pt x="120578" y="289196"/>
                    <a:pt x="126263" y="282887"/>
                    <a:pt x="132232" y="278122"/>
                  </a:cubicBezTo>
                  <a:cubicBezTo>
                    <a:pt x="126392" y="255536"/>
                    <a:pt x="113601" y="234419"/>
                    <a:pt x="109182" y="211549"/>
                  </a:cubicBezTo>
                  <a:cubicBezTo>
                    <a:pt x="120113" y="230916"/>
                    <a:pt x="122438" y="252214"/>
                    <a:pt x="136961" y="270731"/>
                  </a:cubicBezTo>
                  <a:cubicBezTo>
                    <a:pt x="173809" y="212502"/>
                    <a:pt x="179985" y="122391"/>
                    <a:pt x="164119" y="66995"/>
                  </a:cubicBezTo>
                  <a:close/>
                </a:path>
              </a:pathLst>
            </a:custGeom>
            <a:grpFill/>
            <a:ln w="25598" cap="flat">
              <a:noFill/>
              <a:prstDash val="solid"/>
              <a:round/>
            </a:ln>
          </p:spPr>
          <p:txBody>
            <a:bodyPr rtlCol="0" anchor="ctr"/>
            <a:lstStyle/>
            <a:p>
              <a:endParaRPr lang="en-LT"/>
            </a:p>
          </p:txBody>
        </p:sp>
        <p:sp>
          <p:nvSpPr>
            <p:cNvPr id="222" name="Freeform 221">
              <a:extLst>
                <a:ext uri="{FF2B5EF4-FFF2-40B4-BE49-F238E27FC236}">
                  <a16:creationId xmlns:a16="http://schemas.microsoft.com/office/drawing/2014/main" id="{3056B835-6F82-0F45-9112-971EB5A3CA41}"/>
                </a:ext>
              </a:extLst>
            </p:cNvPr>
            <p:cNvSpPr/>
            <p:nvPr/>
          </p:nvSpPr>
          <p:spPr>
            <a:xfrm rot="-1917689">
              <a:off x="5535033" y="2320352"/>
              <a:ext cx="123646" cy="252255"/>
            </a:xfrm>
            <a:custGeom>
              <a:avLst/>
              <a:gdLst>
                <a:gd name="connsiteX0" fmla="*/ -36 w 123646"/>
                <a:gd name="connsiteY0" fmla="*/ 18364 h 252255"/>
                <a:gd name="connsiteX1" fmla="*/ 95600 w 123646"/>
                <a:gd name="connsiteY1" fmla="*/ 252154 h 252255"/>
                <a:gd name="connsiteX2" fmla="*/ 108882 w 123646"/>
                <a:gd name="connsiteY2" fmla="*/ 177726 h 252255"/>
                <a:gd name="connsiteX3" fmla="*/ 118882 w 123646"/>
                <a:gd name="connsiteY3" fmla="*/ 194466 h 252255"/>
                <a:gd name="connsiteX4" fmla="*/ 123611 w 123646"/>
                <a:gd name="connsiteY4" fmla="*/ 187152 h 252255"/>
                <a:gd name="connsiteX5" fmla="*/ 36037 w 123646"/>
                <a:gd name="connsiteY5" fmla="*/ -102 h 252255"/>
                <a:gd name="connsiteX6" fmla="*/ -36 w 123646"/>
                <a:gd name="connsiteY6" fmla="*/ 18364 h 252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646" h="252255">
                  <a:moveTo>
                    <a:pt x="-36" y="18364"/>
                  </a:moveTo>
                  <a:cubicBezTo>
                    <a:pt x="39190" y="94697"/>
                    <a:pt x="59837" y="175099"/>
                    <a:pt x="95600" y="252154"/>
                  </a:cubicBezTo>
                  <a:cubicBezTo>
                    <a:pt x="109631" y="225293"/>
                    <a:pt x="121285" y="198895"/>
                    <a:pt x="108882" y="177726"/>
                  </a:cubicBezTo>
                  <a:cubicBezTo>
                    <a:pt x="114618" y="182799"/>
                    <a:pt x="111595" y="189830"/>
                    <a:pt x="118882" y="194466"/>
                  </a:cubicBezTo>
                  <a:cubicBezTo>
                    <a:pt x="120458" y="192045"/>
                    <a:pt x="122035" y="189599"/>
                    <a:pt x="123611" y="187152"/>
                  </a:cubicBezTo>
                  <a:cubicBezTo>
                    <a:pt x="96892" y="124210"/>
                    <a:pt x="72059" y="60857"/>
                    <a:pt x="36037" y="-102"/>
                  </a:cubicBezTo>
                  <a:cubicBezTo>
                    <a:pt x="24590" y="8526"/>
                    <a:pt x="10791" y="6491"/>
                    <a:pt x="-36" y="18364"/>
                  </a:cubicBezTo>
                  <a:close/>
                </a:path>
              </a:pathLst>
            </a:custGeom>
            <a:grpFill/>
            <a:ln w="25598" cap="flat">
              <a:noFill/>
              <a:prstDash val="solid"/>
              <a:round/>
            </a:ln>
          </p:spPr>
          <p:txBody>
            <a:bodyPr rtlCol="0" anchor="ctr"/>
            <a:lstStyle/>
            <a:p>
              <a:endParaRPr lang="en-LT"/>
            </a:p>
          </p:txBody>
        </p:sp>
        <p:sp>
          <p:nvSpPr>
            <p:cNvPr id="223" name="Freeform 222">
              <a:extLst>
                <a:ext uri="{FF2B5EF4-FFF2-40B4-BE49-F238E27FC236}">
                  <a16:creationId xmlns:a16="http://schemas.microsoft.com/office/drawing/2014/main" id="{E83BA014-CB0C-9F48-BAD0-DB873208B6B8}"/>
                </a:ext>
              </a:extLst>
            </p:cNvPr>
            <p:cNvSpPr/>
            <p:nvPr/>
          </p:nvSpPr>
          <p:spPr>
            <a:xfrm rot="-1917689">
              <a:off x="5853419" y="2498660"/>
              <a:ext cx="12474" cy="47575"/>
            </a:xfrm>
            <a:custGeom>
              <a:avLst/>
              <a:gdLst>
                <a:gd name="connsiteX0" fmla="*/ 10407 w 12474"/>
                <a:gd name="connsiteY0" fmla="*/ 37622 h 47575"/>
                <a:gd name="connsiteX1" fmla="*/ -33 w 12474"/>
                <a:gd name="connsiteY1" fmla="*/ -107 h 47575"/>
                <a:gd name="connsiteX2" fmla="*/ 10407 w 12474"/>
                <a:gd name="connsiteY2" fmla="*/ 37622 h 47575"/>
              </a:gdLst>
              <a:ahLst/>
              <a:cxnLst>
                <a:cxn ang="0">
                  <a:pos x="connsiteX0" y="connsiteY0"/>
                </a:cxn>
                <a:cxn ang="0">
                  <a:pos x="connsiteX1" y="connsiteY1"/>
                </a:cxn>
                <a:cxn ang="0">
                  <a:pos x="connsiteX2" y="connsiteY2"/>
                </a:cxn>
              </a:cxnLst>
              <a:rect l="l" t="t" r="r" b="b"/>
              <a:pathLst>
                <a:path w="12474" h="47575">
                  <a:moveTo>
                    <a:pt x="10407" y="37622"/>
                  </a:moveTo>
                  <a:cubicBezTo>
                    <a:pt x="8598" y="30334"/>
                    <a:pt x="7332" y="15345"/>
                    <a:pt x="-33" y="-107"/>
                  </a:cubicBezTo>
                  <a:cubicBezTo>
                    <a:pt x="794" y="15525"/>
                    <a:pt x="18288" y="69376"/>
                    <a:pt x="10407" y="37622"/>
                  </a:cubicBezTo>
                  <a:close/>
                </a:path>
              </a:pathLst>
            </a:custGeom>
            <a:grpFill/>
            <a:ln w="25598" cap="flat">
              <a:noFill/>
              <a:prstDash val="solid"/>
              <a:round/>
            </a:ln>
          </p:spPr>
          <p:txBody>
            <a:bodyPr rtlCol="0" anchor="ctr"/>
            <a:lstStyle/>
            <a:p>
              <a:endParaRPr lang="en-LT"/>
            </a:p>
          </p:txBody>
        </p:sp>
        <p:sp>
          <p:nvSpPr>
            <p:cNvPr id="224" name="Freeform 223">
              <a:extLst>
                <a:ext uri="{FF2B5EF4-FFF2-40B4-BE49-F238E27FC236}">
                  <a16:creationId xmlns:a16="http://schemas.microsoft.com/office/drawing/2014/main" id="{89FE9391-B830-104D-A13F-6B2B1EEA660F}"/>
                </a:ext>
              </a:extLst>
            </p:cNvPr>
            <p:cNvSpPr/>
            <p:nvPr/>
          </p:nvSpPr>
          <p:spPr>
            <a:xfrm rot="-1917689">
              <a:off x="5773209" y="2467034"/>
              <a:ext cx="144009" cy="324571"/>
            </a:xfrm>
            <a:custGeom>
              <a:avLst/>
              <a:gdLst>
                <a:gd name="connsiteX0" fmla="*/ 102375 w 144009"/>
                <a:gd name="connsiteY0" fmla="*/ 234998 h 324571"/>
                <a:gd name="connsiteX1" fmla="*/ 89765 w 144009"/>
                <a:gd name="connsiteY1" fmla="*/ 206154 h 324571"/>
                <a:gd name="connsiteX2" fmla="*/ 99352 w 144009"/>
                <a:gd name="connsiteY2" fmla="*/ 201982 h 324571"/>
                <a:gd name="connsiteX3" fmla="*/ 102375 w 144009"/>
                <a:gd name="connsiteY3" fmla="*/ 234998 h 324571"/>
                <a:gd name="connsiteX4" fmla="*/ 143979 w 144009"/>
                <a:gd name="connsiteY4" fmla="*/ 251223 h 324571"/>
                <a:gd name="connsiteX5" fmla="*/ 114288 w 144009"/>
                <a:gd name="connsiteY5" fmla="*/ 173524 h 324571"/>
                <a:gd name="connsiteX6" fmla="*/ 79791 w 144009"/>
                <a:gd name="connsiteY6" fmla="*/ 103114 h 324571"/>
                <a:gd name="connsiteX7" fmla="*/ 113771 w 144009"/>
                <a:gd name="connsiteY7" fmla="*/ 190470 h 324571"/>
                <a:gd name="connsiteX8" fmla="*/ 31831 w 144009"/>
                <a:gd name="connsiteY8" fmla="*/ -106 h 324571"/>
                <a:gd name="connsiteX9" fmla="*/ -31 w 144009"/>
                <a:gd name="connsiteY9" fmla="*/ 27888 h 324571"/>
                <a:gd name="connsiteX10" fmla="*/ 107259 w 144009"/>
                <a:gd name="connsiteY10" fmla="*/ 324465 h 324571"/>
                <a:gd name="connsiteX11" fmla="*/ 143979 w 144009"/>
                <a:gd name="connsiteY11" fmla="*/ 251223 h 324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4009" h="324571">
                  <a:moveTo>
                    <a:pt x="102375" y="234998"/>
                  </a:moveTo>
                  <a:cubicBezTo>
                    <a:pt x="98396" y="225340"/>
                    <a:pt x="96070" y="215348"/>
                    <a:pt x="89765" y="206154"/>
                  </a:cubicBezTo>
                  <a:cubicBezTo>
                    <a:pt x="92711" y="203553"/>
                    <a:pt x="96484" y="205098"/>
                    <a:pt x="99352" y="201982"/>
                  </a:cubicBezTo>
                  <a:cubicBezTo>
                    <a:pt x="103771" y="212258"/>
                    <a:pt x="105967" y="222997"/>
                    <a:pt x="102375" y="234998"/>
                  </a:cubicBezTo>
                  <a:close/>
                  <a:moveTo>
                    <a:pt x="143979" y="251223"/>
                  </a:moveTo>
                  <a:cubicBezTo>
                    <a:pt x="136381" y="227349"/>
                    <a:pt x="124081" y="199793"/>
                    <a:pt x="114288" y="173524"/>
                  </a:cubicBezTo>
                  <a:cubicBezTo>
                    <a:pt x="105114" y="149007"/>
                    <a:pt x="100721" y="110351"/>
                    <a:pt x="79791" y="103114"/>
                  </a:cubicBezTo>
                  <a:cubicBezTo>
                    <a:pt x="92866" y="131803"/>
                    <a:pt x="105450" y="160673"/>
                    <a:pt x="113771" y="190470"/>
                  </a:cubicBezTo>
                  <a:cubicBezTo>
                    <a:pt x="85760" y="127091"/>
                    <a:pt x="63873" y="62398"/>
                    <a:pt x="31831" y="-106"/>
                  </a:cubicBezTo>
                  <a:cubicBezTo>
                    <a:pt x="21546" y="10891"/>
                    <a:pt x="11546" y="23175"/>
                    <a:pt x="-31" y="27888"/>
                  </a:cubicBezTo>
                  <a:cubicBezTo>
                    <a:pt x="38834" y="126035"/>
                    <a:pt x="71108" y="225701"/>
                    <a:pt x="107259" y="324465"/>
                  </a:cubicBezTo>
                  <a:cubicBezTo>
                    <a:pt x="119585" y="300051"/>
                    <a:pt x="132040" y="275585"/>
                    <a:pt x="143979" y="251223"/>
                  </a:cubicBezTo>
                  <a:close/>
                </a:path>
              </a:pathLst>
            </a:custGeom>
            <a:grpFill/>
            <a:ln w="25598" cap="flat">
              <a:noFill/>
              <a:prstDash val="solid"/>
              <a:round/>
            </a:ln>
          </p:spPr>
          <p:txBody>
            <a:bodyPr rtlCol="0" anchor="ctr"/>
            <a:lstStyle/>
            <a:p>
              <a:endParaRPr lang="en-LT"/>
            </a:p>
          </p:txBody>
        </p:sp>
        <p:sp>
          <p:nvSpPr>
            <p:cNvPr id="225" name="Freeform 224">
              <a:extLst>
                <a:ext uri="{FF2B5EF4-FFF2-40B4-BE49-F238E27FC236}">
                  <a16:creationId xmlns:a16="http://schemas.microsoft.com/office/drawing/2014/main" id="{FAC339E5-E5C0-B24D-BD53-67D8CEA79FCF}"/>
                </a:ext>
              </a:extLst>
            </p:cNvPr>
            <p:cNvSpPr/>
            <p:nvPr/>
          </p:nvSpPr>
          <p:spPr>
            <a:xfrm rot="-1917689">
              <a:off x="5991541" y="2671545"/>
              <a:ext cx="16873" cy="38372"/>
            </a:xfrm>
            <a:custGeom>
              <a:avLst/>
              <a:gdLst>
                <a:gd name="connsiteX0" fmla="*/ 16845 w 16873"/>
                <a:gd name="connsiteY0" fmla="*/ 38264 h 38372"/>
                <a:gd name="connsiteX1" fmla="*/ -28 w 16873"/>
                <a:gd name="connsiteY1" fmla="*/ -109 h 38372"/>
                <a:gd name="connsiteX2" fmla="*/ 16845 w 16873"/>
                <a:gd name="connsiteY2" fmla="*/ 38264 h 38372"/>
              </a:gdLst>
              <a:ahLst/>
              <a:cxnLst>
                <a:cxn ang="0">
                  <a:pos x="connsiteX0" y="connsiteY0"/>
                </a:cxn>
                <a:cxn ang="0">
                  <a:pos x="connsiteX1" y="connsiteY1"/>
                </a:cxn>
                <a:cxn ang="0">
                  <a:pos x="connsiteX2" y="connsiteY2"/>
                </a:cxn>
              </a:cxnLst>
              <a:rect l="l" t="t" r="r" b="b"/>
              <a:pathLst>
                <a:path w="16873" h="38372">
                  <a:moveTo>
                    <a:pt x="16845" y="38264"/>
                  </a:moveTo>
                  <a:cubicBezTo>
                    <a:pt x="9610" y="27216"/>
                    <a:pt x="11445" y="3085"/>
                    <a:pt x="-28" y="-109"/>
                  </a:cubicBezTo>
                  <a:cubicBezTo>
                    <a:pt x="6096" y="11223"/>
                    <a:pt x="9248" y="34247"/>
                    <a:pt x="16845" y="38264"/>
                  </a:cubicBezTo>
                  <a:close/>
                </a:path>
              </a:pathLst>
            </a:custGeom>
            <a:grpFill/>
            <a:ln w="25598" cap="flat">
              <a:noFill/>
              <a:prstDash val="solid"/>
              <a:round/>
            </a:ln>
          </p:spPr>
          <p:txBody>
            <a:bodyPr rtlCol="0" anchor="ctr"/>
            <a:lstStyle/>
            <a:p>
              <a:endParaRPr lang="en-LT"/>
            </a:p>
          </p:txBody>
        </p:sp>
        <p:sp>
          <p:nvSpPr>
            <p:cNvPr id="226" name="Freeform 225">
              <a:extLst>
                <a:ext uri="{FF2B5EF4-FFF2-40B4-BE49-F238E27FC236}">
                  <a16:creationId xmlns:a16="http://schemas.microsoft.com/office/drawing/2014/main" id="{0076B0A8-210D-444D-AB82-12F511FE76FC}"/>
                </a:ext>
              </a:extLst>
            </p:cNvPr>
            <p:cNvSpPr/>
            <p:nvPr/>
          </p:nvSpPr>
          <p:spPr>
            <a:xfrm rot="-1917689">
              <a:off x="5200568" y="2999564"/>
              <a:ext cx="1228017" cy="1141935"/>
            </a:xfrm>
            <a:custGeom>
              <a:avLst/>
              <a:gdLst>
                <a:gd name="connsiteX0" fmla="*/ 629954 w 1228017"/>
                <a:gd name="connsiteY0" fmla="*/ 970395 h 1141935"/>
                <a:gd name="connsiteX1" fmla="*/ 870090 w 1228017"/>
                <a:gd name="connsiteY1" fmla="*/ 591870 h 1141935"/>
                <a:gd name="connsiteX2" fmla="*/ 906783 w 1228017"/>
                <a:gd name="connsiteY2" fmla="*/ 604953 h 1141935"/>
                <a:gd name="connsiteX3" fmla="*/ 629954 w 1228017"/>
                <a:gd name="connsiteY3" fmla="*/ 970395 h 1141935"/>
                <a:gd name="connsiteX4" fmla="*/ 649877 w 1228017"/>
                <a:gd name="connsiteY4" fmla="*/ 858728 h 1141935"/>
                <a:gd name="connsiteX5" fmla="*/ 633391 w 1228017"/>
                <a:gd name="connsiteY5" fmla="*/ 889761 h 1141935"/>
                <a:gd name="connsiteX6" fmla="*/ 649877 w 1228017"/>
                <a:gd name="connsiteY6" fmla="*/ 858728 h 1141935"/>
                <a:gd name="connsiteX7" fmla="*/ 725435 w 1228017"/>
                <a:gd name="connsiteY7" fmla="*/ 741292 h 1141935"/>
                <a:gd name="connsiteX8" fmla="*/ 704297 w 1228017"/>
                <a:gd name="connsiteY8" fmla="*/ 779510 h 1141935"/>
                <a:gd name="connsiteX9" fmla="*/ 725435 w 1228017"/>
                <a:gd name="connsiteY9" fmla="*/ 741292 h 1141935"/>
                <a:gd name="connsiteX10" fmla="*/ 774092 w 1228017"/>
                <a:gd name="connsiteY10" fmla="*/ 654889 h 1141935"/>
                <a:gd name="connsiteX11" fmla="*/ 834817 w 1228017"/>
                <a:gd name="connsiteY11" fmla="*/ 565911 h 1141935"/>
                <a:gd name="connsiteX12" fmla="*/ 749105 w 1228017"/>
                <a:gd name="connsiteY12" fmla="*/ 704516 h 1141935"/>
                <a:gd name="connsiteX13" fmla="*/ 774092 w 1228017"/>
                <a:gd name="connsiteY13" fmla="*/ 654889 h 1141935"/>
                <a:gd name="connsiteX14" fmla="*/ 897636 w 1228017"/>
                <a:gd name="connsiteY14" fmla="*/ 505853 h 1141935"/>
                <a:gd name="connsiteX15" fmla="*/ 945777 w 1228017"/>
                <a:gd name="connsiteY15" fmla="*/ 522799 h 1141935"/>
                <a:gd name="connsiteX16" fmla="*/ 919187 w 1228017"/>
                <a:gd name="connsiteY16" fmla="*/ 574898 h 1141935"/>
                <a:gd name="connsiteX17" fmla="*/ 873216 w 1228017"/>
                <a:gd name="connsiteY17" fmla="*/ 538560 h 1141935"/>
                <a:gd name="connsiteX18" fmla="*/ 897636 w 1228017"/>
                <a:gd name="connsiteY18" fmla="*/ 505853 h 1141935"/>
                <a:gd name="connsiteX19" fmla="*/ 904638 w 1228017"/>
                <a:gd name="connsiteY19" fmla="*/ 759088 h 1141935"/>
                <a:gd name="connsiteX20" fmla="*/ 922675 w 1228017"/>
                <a:gd name="connsiteY20" fmla="*/ 725660 h 1141935"/>
                <a:gd name="connsiteX21" fmla="*/ 904638 w 1228017"/>
                <a:gd name="connsiteY21" fmla="*/ 759088 h 1141935"/>
                <a:gd name="connsiteX22" fmla="*/ 698431 w 1228017"/>
                <a:gd name="connsiteY22" fmla="*/ 1041835 h 1141935"/>
                <a:gd name="connsiteX23" fmla="*/ 736598 w 1228017"/>
                <a:gd name="connsiteY23" fmla="*/ 1004055 h 1141935"/>
                <a:gd name="connsiteX24" fmla="*/ 698431 w 1228017"/>
                <a:gd name="connsiteY24" fmla="*/ 1041835 h 1141935"/>
                <a:gd name="connsiteX25" fmla="*/ 595405 w 1228017"/>
                <a:gd name="connsiteY25" fmla="*/ 937997 h 1141935"/>
                <a:gd name="connsiteX26" fmla="*/ 605535 w 1228017"/>
                <a:gd name="connsiteY26" fmla="*/ 916828 h 1141935"/>
                <a:gd name="connsiteX27" fmla="*/ 595405 w 1228017"/>
                <a:gd name="connsiteY27" fmla="*/ 937997 h 1141935"/>
                <a:gd name="connsiteX28" fmla="*/ 538272 w 1228017"/>
                <a:gd name="connsiteY28" fmla="*/ 638870 h 1141935"/>
                <a:gd name="connsiteX29" fmla="*/ 554706 w 1228017"/>
                <a:gd name="connsiteY29" fmla="*/ 607966 h 1141935"/>
                <a:gd name="connsiteX30" fmla="*/ 538272 w 1228017"/>
                <a:gd name="connsiteY30" fmla="*/ 638870 h 1141935"/>
                <a:gd name="connsiteX31" fmla="*/ 366019 w 1228017"/>
                <a:gd name="connsiteY31" fmla="*/ 1057390 h 1141935"/>
                <a:gd name="connsiteX32" fmla="*/ 388371 w 1228017"/>
                <a:gd name="connsiteY32" fmla="*/ 995659 h 1141935"/>
                <a:gd name="connsiteX33" fmla="*/ 366019 w 1228017"/>
                <a:gd name="connsiteY33" fmla="*/ 1057390 h 1141935"/>
                <a:gd name="connsiteX34" fmla="*/ 545688 w 1228017"/>
                <a:gd name="connsiteY34" fmla="*/ 422541 h 1141935"/>
                <a:gd name="connsiteX35" fmla="*/ 532458 w 1228017"/>
                <a:gd name="connsiteY35" fmla="*/ 448578 h 1141935"/>
                <a:gd name="connsiteX36" fmla="*/ 545688 w 1228017"/>
                <a:gd name="connsiteY36" fmla="*/ 422541 h 1141935"/>
                <a:gd name="connsiteX37" fmla="*/ 667965 w 1228017"/>
                <a:gd name="connsiteY37" fmla="*/ 286459 h 1141935"/>
                <a:gd name="connsiteX38" fmla="*/ 671480 w 1228017"/>
                <a:gd name="connsiteY38" fmla="*/ 302530 h 1141935"/>
                <a:gd name="connsiteX39" fmla="*/ 649050 w 1228017"/>
                <a:gd name="connsiteY39" fmla="*/ 315844 h 1141935"/>
                <a:gd name="connsiteX40" fmla="*/ 667965 w 1228017"/>
                <a:gd name="connsiteY40" fmla="*/ 286459 h 1141935"/>
                <a:gd name="connsiteX41" fmla="*/ 798486 w 1228017"/>
                <a:gd name="connsiteY41" fmla="*/ 977992 h 1141935"/>
                <a:gd name="connsiteX42" fmla="*/ 986449 w 1228017"/>
                <a:gd name="connsiteY42" fmla="*/ 718036 h 1141935"/>
                <a:gd name="connsiteX43" fmla="*/ 943890 w 1228017"/>
                <a:gd name="connsiteY43" fmla="*/ 601064 h 1141935"/>
                <a:gd name="connsiteX44" fmla="*/ 1008827 w 1228017"/>
                <a:gd name="connsiteY44" fmla="*/ 473224 h 1141935"/>
                <a:gd name="connsiteX45" fmla="*/ 1035495 w 1228017"/>
                <a:gd name="connsiteY45" fmla="*/ 469567 h 1141935"/>
                <a:gd name="connsiteX46" fmla="*/ 1228006 w 1228017"/>
                <a:gd name="connsiteY46" fmla="*/ 143476 h 1141935"/>
                <a:gd name="connsiteX47" fmla="*/ 1181700 w 1228017"/>
                <a:gd name="connsiteY47" fmla="*/ -100 h 1141935"/>
                <a:gd name="connsiteX48" fmla="*/ 1067950 w 1228017"/>
                <a:gd name="connsiteY48" fmla="*/ 203585 h 1141935"/>
                <a:gd name="connsiteX49" fmla="*/ 1105419 w 1228017"/>
                <a:gd name="connsiteY49" fmla="*/ 307011 h 1141935"/>
                <a:gd name="connsiteX50" fmla="*/ 1064126 w 1228017"/>
                <a:gd name="connsiteY50" fmla="*/ 214916 h 1141935"/>
                <a:gd name="connsiteX51" fmla="*/ 1027200 w 1228017"/>
                <a:gd name="connsiteY51" fmla="*/ 277703 h 1141935"/>
                <a:gd name="connsiteX52" fmla="*/ 1066219 w 1228017"/>
                <a:gd name="connsiteY52" fmla="*/ 378683 h 1141935"/>
                <a:gd name="connsiteX53" fmla="*/ 1020921 w 1228017"/>
                <a:gd name="connsiteY53" fmla="*/ 287490 h 1141935"/>
                <a:gd name="connsiteX54" fmla="*/ 1018957 w 1228017"/>
                <a:gd name="connsiteY54" fmla="*/ 317364 h 1141935"/>
                <a:gd name="connsiteX55" fmla="*/ 1008336 w 1228017"/>
                <a:gd name="connsiteY55" fmla="*/ 307088 h 1141935"/>
                <a:gd name="connsiteX56" fmla="*/ 1038751 w 1228017"/>
                <a:gd name="connsiteY56" fmla="*/ 426739 h 1141935"/>
                <a:gd name="connsiteX57" fmla="*/ 992548 w 1228017"/>
                <a:gd name="connsiteY57" fmla="*/ 331580 h 1141935"/>
                <a:gd name="connsiteX58" fmla="*/ 928799 w 1228017"/>
                <a:gd name="connsiteY58" fmla="*/ 435933 h 1141935"/>
                <a:gd name="connsiteX59" fmla="*/ 930918 w 1228017"/>
                <a:gd name="connsiteY59" fmla="*/ 464931 h 1141935"/>
                <a:gd name="connsiteX60" fmla="*/ 912029 w 1228017"/>
                <a:gd name="connsiteY60" fmla="*/ 445925 h 1141935"/>
                <a:gd name="connsiteX61" fmla="*/ 847092 w 1228017"/>
                <a:gd name="connsiteY61" fmla="*/ 525349 h 1141935"/>
                <a:gd name="connsiteX62" fmla="*/ 800682 w 1228017"/>
                <a:gd name="connsiteY62" fmla="*/ 554399 h 1141935"/>
                <a:gd name="connsiteX63" fmla="*/ 549978 w 1228017"/>
                <a:gd name="connsiteY63" fmla="*/ 933207 h 1141935"/>
                <a:gd name="connsiteX64" fmla="*/ 542665 w 1228017"/>
                <a:gd name="connsiteY64" fmla="*/ 928468 h 1141935"/>
                <a:gd name="connsiteX65" fmla="*/ 831122 w 1228017"/>
                <a:gd name="connsiteY65" fmla="*/ 490968 h 1141935"/>
                <a:gd name="connsiteX66" fmla="*/ 729543 w 1228017"/>
                <a:gd name="connsiteY66" fmla="*/ 287850 h 1141935"/>
                <a:gd name="connsiteX67" fmla="*/ 378448 w 1228017"/>
                <a:gd name="connsiteY67" fmla="*/ 844203 h 1141935"/>
                <a:gd name="connsiteX68" fmla="*/ 299299 w 1228017"/>
                <a:gd name="connsiteY68" fmla="*/ 810903 h 1141935"/>
                <a:gd name="connsiteX69" fmla="*/ 709698 w 1228017"/>
                <a:gd name="connsiteY69" fmla="*/ 264801 h 1141935"/>
                <a:gd name="connsiteX70" fmla="*/ 610496 w 1228017"/>
                <a:gd name="connsiteY70" fmla="*/ 149554 h 1141935"/>
                <a:gd name="connsiteX71" fmla="*/ 128519 w 1228017"/>
                <a:gd name="connsiteY71" fmla="*/ 763929 h 1141935"/>
                <a:gd name="connsiteX72" fmla="*/ -11 w 1228017"/>
                <a:gd name="connsiteY72" fmla="*/ 775081 h 1141935"/>
                <a:gd name="connsiteX73" fmla="*/ 121491 w 1228017"/>
                <a:gd name="connsiteY73" fmla="*/ 780231 h 1141935"/>
                <a:gd name="connsiteX74" fmla="*/ 112421 w 1228017"/>
                <a:gd name="connsiteY74" fmla="*/ 815823 h 1141935"/>
                <a:gd name="connsiteX75" fmla="*/ 29989 w 1228017"/>
                <a:gd name="connsiteY75" fmla="*/ 960068 h 1141935"/>
                <a:gd name="connsiteX76" fmla="*/ 77174 w 1228017"/>
                <a:gd name="connsiteY76" fmla="*/ 972970 h 1141935"/>
                <a:gd name="connsiteX77" fmla="*/ 209736 w 1228017"/>
                <a:gd name="connsiteY77" fmla="*/ 874618 h 1141935"/>
                <a:gd name="connsiteX78" fmla="*/ 229400 w 1228017"/>
                <a:gd name="connsiteY78" fmla="*/ 887211 h 1141935"/>
                <a:gd name="connsiteX79" fmla="*/ 288265 w 1228017"/>
                <a:gd name="connsiteY79" fmla="*/ 828055 h 1141935"/>
                <a:gd name="connsiteX80" fmla="*/ 372996 w 1228017"/>
                <a:gd name="connsiteY80" fmla="*/ 858032 h 1141935"/>
                <a:gd name="connsiteX81" fmla="*/ 329455 w 1228017"/>
                <a:gd name="connsiteY81" fmla="*/ 958008 h 1141935"/>
                <a:gd name="connsiteX82" fmla="*/ 347517 w 1228017"/>
                <a:gd name="connsiteY82" fmla="*/ 973022 h 1141935"/>
                <a:gd name="connsiteX83" fmla="*/ 317594 w 1228017"/>
                <a:gd name="connsiteY83" fmla="*/ 1067898 h 1141935"/>
                <a:gd name="connsiteX84" fmla="*/ 97071 w 1228017"/>
                <a:gd name="connsiteY84" fmla="*/ 1044385 h 1141935"/>
                <a:gd name="connsiteX85" fmla="*/ 270022 w 1228017"/>
                <a:gd name="connsiteY85" fmla="*/ 1071992 h 1141935"/>
                <a:gd name="connsiteX86" fmla="*/ 319791 w 1228017"/>
                <a:gd name="connsiteY86" fmla="*/ 1096948 h 1141935"/>
                <a:gd name="connsiteX87" fmla="*/ 240719 w 1228017"/>
                <a:gd name="connsiteY87" fmla="*/ 1112091 h 1141935"/>
                <a:gd name="connsiteX88" fmla="*/ 335993 w 1228017"/>
                <a:gd name="connsiteY88" fmla="*/ 1141836 h 1141935"/>
                <a:gd name="connsiteX89" fmla="*/ 454885 w 1228017"/>
                <a:gd name="connsiteY89" fmla="*/ 1134908 h 1141935"/>
                <a:gd name="connsiteX90" fmla="*/ 427132 w 1228017"/>
                <a:gd name="connsiteY90" fmla="*/ 1124092 h 1141935"/>
                <a:gd name="connsiteX91" fmla="*/ 567032 w 1228017"/>
                <a:gd name="connsiteY91" fmla="*/ 1116752 h 1141935"/>
                <a:gd name="connsiteX92" fmla="*/ 408682 w 1228017"/>
                <a:gd name="connsiteY92" fmla="*/ 1088140 h 1141935"/>
                <a:gd name="connsiteX93" fmla="*/ 437520 w 1228017"/>
                <a:gd name="connsiteY93" fmla="*/ 1027078 h 1141935"/>
                <a:gd name="connsiteX94" fmla="*/ 456978 w 1228017"/>
                <a:gd name="connsiteY94" fmla="*/ 1029190 h 1141935"/>
                <a:gd name="connsiteX95" fmla="*/ 537910 w 1228017"/>
                <a:gd name="connsiteY95" fmla="*/ 935885 h 1141935"/>
                <a:gd name="connsiteX96" fmla="*/ 577730 w 1228017"/>
                <a:gd name="connsiteY96" fmla="*/ 992363 h 1141935"/>
                <a:gd name="connsiteX97" fmla="*/ 621659 w 1228017"/>
                <a:gd name="connsiteY97" fmla="*/ 1048042 h 1141935"/>
                <a:gd name="connsiteX98" fmla="*/ 798486 w 1228017"/>
                <a:gd name="connsiteY98" fmla="*/ 977992 h 114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28017" h="1141935">
                  <a:moveTo>
                    <a:pt x="629954" y="970395"/>
                  </a:moveTo>
                  <a:cubicBezTo>
                    <a:pt x="714504" y="843559"/>
                    <a:pt x="790630" y="711057"/>
                    <a:pt x="870090" y="591870"/>
                  </a:cubicBezTo>
                  <a:cubicBezTo>
                    <a:pt x="877919" y="576238"/>
                    <a:pt x="894793" y="601682"/>
                    <a:pt x="906783" y="604953"/>
                  </a:cubicBezTo>
                  <a:cubicBezTo>
                    <a:pt x="810605" y="708945"/>
                    <a:pt x="734530" y="904646"/>
                    <a:pt x="629954" y="970395"/>
                  </a:cubicBezTo>
                  <a:close/>
                  <a:moveTo>
                    <a:pt x="649877" y="858728"/>
                  </a:moveTo>
                  <a:cubicBezTo>
                    <a:pt x="657293" y="857955"/>
                    <a:pt x="637499" y="881030"/>
                    <a:pt x="633391" y="889761"/>
                  </a:cubicBezTo>
                  <a:cubicBezTo>
                    <a:pt x="625923" y="890534"/>
                    <a:pt x="645743" y="867484"/>
                    <a:pt x="649877" y="858728"/>
                  </a:cubicBezTo>
                  <a:close/>
                  <a:moveTo>
                    <a:pt x="725435" y="741292"/>
                  </a:moveTo>
                  <a:cubicBezTo>
                    <a:pt x="731766" y="742734"/>
                    <a:pt x="709672" y="768513"/>
                    <a:pt x="704297" y="779510"/>
                  </a:cubicBezTo>
                  <a:cubicBezTo>
                    <a:pt x="697966" y="777991"/>
                    <a:pt x="720060" y="752314"/>
                    <a:pt x="725435" y="741292"/>
                  </a:cubicBezTo>
                  <a:close/>
                  <a:moveTo>
                    <a:pt x="774092" y="654889"/>
                  </a:moveTo>
                  <a:cubicBezTo>
                    <a:pt x="789364" y="628620"/>
                    <a:pt x="814352" y="591201"/>
                    <a:pt x="834817" y="565911"/>
                  </a:cubicBezTo>
                  <a:cubicBezTo>
                    <a:pt x="817479" y="593492"/>
                    <a:pt x="767038" y="679381"/>
                    <a:pt x="749105" y="704516"/>
                  </a:cubicBezTo>
                  <a:cubicBezTo>
                    <a:pt x="714814" y="752572"/>
                    <a:pt x="767296" y="666478"/>
                    <a:pt x="774092" y="654889"/>
                  </a:cubicBezTo>
                  <a:close/>
                  <a:moveTo>
                    <a:pt x="897636" y="505853"/>
                  </a:moveTo>
                  <a:cubicBezTo>
                    <a:pt x="915130" y="517829"/>
                    <a:pt x="931952" y="527306"/>
                    <a:pt x="945777" y="522799"/>
                  </a:cubicBezTo>
                  <a:cubicBezTo>
                    <a:pt x="951332" y="536964"/>
                    <a:pt x="926525" y="557824"/>
                    <a:pt x="919187" y="574898"/>
                  </a:cubicBezTo>
                  <a:cubicBezTo>
                    <a:pt x="900995" y="563387"/>
                    <a:pt x="887765" y="550793"/>
                    <a:pt x="873216" y="538560"/>
                  </a:cubicBezTo>
                  <a:cubicBezTo>
                    <a:pt x="880659" y="524267"/>
                    <a:pt x="889470" y="516387"/>
                    <a:pt x="897636" y="505853"/>
                  </a:cubicBezTo>
                  <a:close/>
                  <a:moveTo>
                    <a:pt x="904638" y="759088"/>
                  </a:moveTo>
                  <a:cubicBezTo>
                    <a:pt x="903527" y="748786"/>
                    <a:pt x="912804" y="732252"/>
                    <a:pt x="922675" y="725660"/>
                  </a:cubicBezTo>
                  <a:cubicBezTo>
                    <a:pt x="924587" y="735060"/>
                    <a:pt x="909367" y="748168"/>
                    <a:pt x="904638" y="759088"/>
                  </a:cubicBezTo>
                  <a:close/>
                  <a:moveTo>
                    <a:pt x="698431" y="1041835"/>
                  </a:moveTo>
                  <a:cubicBezTo>
                    <a:pt x="703083" y="1030555"/>
                    <a:pt x="725822" y="1019069"/>
                    <a:pt x="736598" y="1004055"/>
                  </a:cubicBezTo>
                  <a:cubicBezTo>
                    <a:pt x="733962" y="1024374"/>
                    <a:pt x="710628" y="1033182"/>
                    <a:pt x="698431" y="1041835"/>
                  </a:cubicBezTo>
                  <a:close/>
                  <a:moveTo>
                    <a:pt x="595405" y="937997"/>
                  </a:moveTo>
                  <a:cubicBezTo>
                    <a:pt x="586826" y="941809"/>
                    <a:pt x="602770" y="922468"/>
                    <a:pt x="605535" y="916828"/>
                  </a:cubicBezTo>
                  <a:cubicBezTo>
                    <a:pt x="614062" y="913068"/>
                    <a:pt x="598093" y="932306"/>
                    <a:pt x="595405" y="937997"/>
                  </a:cubicBezTo>
                  <a:close/>
                  <a:moveTo>
                    <a:pt x="538272" y="638870"/>
                  </a:moveTo>
                  <a:cubicBezTo>
                    <a:pt x="535791" y="630294"/>
                    <a:pt x="550469" y="617959"/>
                    <a:pt x="554706" y="607966"/>
                  </a:cubicBezTo>
                  <a:cubicBezTo>
                    <a:pt x="557885" y="607425"/>
                    <a:pt x="546980" y="636501"/>
                    <a:pt x="538272" y="638870"/>
                  </a:cubicBezTo>
                  <a:close/>
                  <a:moveTo>
                    <a:pt x="366019" y="1057390"/>
                  </a:moveTo>
                  <a:cubicBezTo>
                    <a:pt x="364882" y="1038668"/>
                    <a:pt x="377286" y="1017086"/>
                    <a:pt x="388371" y="995659"/>
                  </a:cubicBezTo>
                  <a:cubicBezTo>
                    <a:pt x="385865" y="1015257"/>
                    <a:pt x="378423" y="1035757"/>
                    <a:pt x="366019" y="1057390"/>
                  </a:cubicBezTo>
                  <a:close/>
                  <a:moveTo>
                    <a:pt x="545688" y="422541"/>
                  </a:moveTo>
                  <a:cubicBezTo>
                    <a:pt x="549228" y="429546"/>
                    <a:pt x="535714" y="440182"/>
                    <a:pt x="532458" y="448578"/>
                  </a:cubicBezTo>
                  <a:cubicBezTo>
                    <a:pt x="521941" y="440105"/>
                    <a:pt x="542355" y="429546"/>
                    <a:pt x="545688" y="422541"/>
                  </a:cubicBezTo>
                  <a:close/>
                  <a:moveTo>
                    <a:pt x="667965" y="286459"/>
                  </a:moveTo>
                  <a:cubicBezTo>
                    <a:pt x="673237" y="290940"/>
                    <a:pt x="668637" y="297585"/>
                    <a:pt x="671480" y="302530"/>
                  </a:cubicBezTo>
                  <a:cubicBezTo>
                    <a:pt x="664968" y="311569"/>
                    <a:pt x="655149" y="305208"/>
                    <a:pt x="649050" y="315844"/>
                  </a:cubicBezTo>
                  <a:cubicBezTo>
                    <a:pt x="646466" y="303405"/>
                    <a:pt x="663392" y="298306"/>
                    <a:pt x="667965" y="286459"/>
                  </a:cubicBezTo>
                  <a:close/>
                  <a:moveTo>
                    <a:pt x="798486" y="977992"/>
                  </a:moveTo>
                  <a:cubicBezTo>
                    <a:pt x="849624" y="910441"/>
                    <a:pt x="950867" y="792232"/>
                    <a:pt x="986449" y="718036"/>
                  </a:cubicBezTo>
                  <a:cubicBezTo>
                    <a:pt x="1010094" y="668719"/>
                    <a:pt x="968878" y="634106"/>
                    <a:pt x="943890" y="601064"/>
                  </a:cubicBezTo>
                  <a:cubicBezTo>
                    <a:pt x="974485" y="556923"/>
                    <a:pt x="976217" y="511133"/>
                    <a:pt x="1008827" y="473224"/>
                  </a:cubicBezTo>
                  <a:cubicBezTo>
                    <a:pt x="1016967" y="468434"/>
                    <a:pt x="1028750" y="480589"/>
                    <a:pt x="1035495" y="469567"/>
                  </a:cubicBezTo>
                  <a:cubicBezTo>
                    <a:pt x="1115419" y="365858"/>
                    <a:pt x="1156325" y="252439"/>
                    <a:pt x="1228006" y="143476"/>
                  </a:cubicBezTo>
                  <a:cubicBezTo>
                    <a:pt x="1214208" y="95266"/>
                    <a:pt x="1201804" y="46720"/>
                    <a:pt x="1181700" y="-100"/>
                  </a:cubicBezTo>
                  <a:cubicBezTo>
                    <a:pt x="1143766" y="67761"/>
                    <a:pt x="1105626" y="135724"/>
                    <a:pt x="1067950" y="203585"/>
                  </a:cubicBezTo>
                  <a:cubicBezTo>
                    <a:pt x="1080018" y="238172"/>
                    <a:pt x="1101207" y="270698"/>
                    <a:pt x="1105419" y="307011"/>
                  </a:cubicBezTo>
                  <a:cubicBezTo>
                    <a:pt x="1087434" y="277266"/>
                    <a:pt x="1081930" y="244713"/>
                    <a:pt x="1064126" y="214916"/>
                  </a:cubicBezTo>
                  <a:cubicBezTo>
                    <a:pt x="1049268" y="236343"/>
                    <a:pt x="1043893" y="255813"/>
                    <a:pt x="1027200" y="277703"/>
                  </a:cubicBezTo>
                  <a:cubicBezTo>
                    <a:pt x="1039526" y="311492"/>
                    <a:pt x="1069682" y="341392"/>
                    <a:pt x="1066219" y="378683"/>
                  </a:cubicBezTo>
                  <a:cubicBezTo>
                    <a:pt x="1049965" y="348525"/>
                    <a:pt x="1040895" y="316823"/>
                    <a:pt x="1020921" y="287490"/>
                  </a:cubicBezTo>
                  <a:cubicBezTo>
                    <a:pt x="1003039" y="299851"/>
                    <a:pt x="1028311" y="313835"/>
                    <a:pt x="1018957" y="317364"/>
                  </a:cubicBezTo>
                  <a:cubicBezTo>
                    <a:pt x="1018052" y="314067"/>
                    <a:pt x="1013091" y="296426"/>
                    <a:pt x="1008336" y="307088"/>
                  </a:cubicBezTo>
                  <a:cubicBezTo>
                    <a:pt x="993013" y="352517"/>
                    <a:pt x="1048182" y="382623"/>
                    <a:pt x="1038751" y="426739"/>
                  </a:cubicBezTo>
                  <a:cubicBezTo>
                    <a:pt x="1019319" y="395912"/>
                    <a:pt x="1013324" y="362123"/>
                    <a:pt x="992548" y="331580"/>
                  </a:cubicBezTo>
                  <a:cubicBezTo>
                    <a:pt x="967793" y="367119"/>
                    <a:pt x="954511" y="400213"/>
                    <a:pt x="928799" y="435933"/>
                  </a:cubicBezTo>
                  <a:cubicBezTo>
                    <a:pt x="924381" y="446260"/>
                    <a:pt x="943218" y="459677"/>
                    <a:pt x="930918" y="464931"/>
                  </a:cubicBezTo>
                  <a:cubicBezTo>
                    <a:pt x="923476" y="458956"/>
                    <a:pt x="926551" y="443813"/>
                    <a:pt x="912029" y="445925"/>
                  </a:cubicBezTo>
                  <a:cubicBezTo>
                    <a:pt x="887842" y="460965"/>
                    <a:pt x="867273" y="492281"/>
                    <a:pt x="847092" y="525349"/>
                  </a:cubicBezTo>
                  <a:cubicBezTo>
                    <a:pt x="828461" y="530165"/>
                    <a:pt x="813654" y="538869"/>
                    <a:pt x="800682" y="554399"/>
                  </a:cubicBezTo>
                  <a:cubicBezTo>
                    <a:pt x="709930" y="661997"/>
                    <a:pt x="651557" y="841885"/>
                    <a:pt x="549978" y="933207"/>
                  </a:cubicBezTo>
                  <a:cubicBezTo>
                    <a:pt x="547549" y="931636"/>
                    <a:pt x="545068" y="930039"/>
                    <a:pt x="542665" y="928468"/>
                  </a:cubicBezTo>
                  <a:cubicBezTo>
                    <a:pt x="628610" y="774797"/>
                    <a:pt x="738355" y="646184"/>
                    <a:pt x="831122" y="490968"/>
                  </a:cubicBezTo>
                  <a:cubicBezTo>
                    <a:pt x="795902" y="423545"/>
                    <a:pt x="765487" y="355067"/>
                    <a:pt x="729543" y="287850"/>
                  </a:cubicBezTo>
                  <a:cubicBezTo>
                    <a:pt x="609773" y="478503"/>
                    <a:pt x="482379" y="657954"/>
                    <a:pt x="378448" y="844203"/>
                  </a:cubicBezTo>
                  <a:cubicBezTo>
                    <a:pt x="351523" y="830631"/>
                    <a:pt x="326561" y="826201"/>
                    <a:pt x="299299" y="810903"/>
                  </a:cubicBezTo>
                  <a:cubicBezTo>
                    <a:pt x="440672" y="649738"/>
                    <a:pt x="568221" y="425657"/>
                    <a:pt x="709698" y="264801"/>
                  </a:cubicBezTo>
                  <a:cubicBezTo>
                    <a:pt x="721559" y="216564"/>
                    <a:pt x="648947" y="186768"/>
                    <a:pt x="610496" y="149554"/>
                  </a:cubicBezTo>
                  <a:cubicBezTo>
                    <a:pt x="449251" y="351616"/>
                    <a:pt x="291857" y="571602"/>
                    <a:pt x="128519" y="763929"/>
                  </a:cubicBezTo>
                  <a:cubicBezTo>
                    <a:pt x="85882" y="762229"/>
                    <a:pt x="26785" y="736888"/>
                    <a:pt x="-11" y="775081"/>
                  </a:cubicBezTo>
                  <a:cubicBezTo>
                    <a:pt x="39137" y="770677"/>
                    <a:pt x="79784" y="772994"/>
                    <a:pt x="121491" y="780231"/>
                  </a:cubicBezTo>
                  <a:cubicBezTo>
                    <a:pt x="106891" y="794550"/>
                    <a:pt x="114643" y="804105"/>
                    <a:pt x="112421" y="815823"/>
                  </a:cubicBezTo>
                  <a:cubicBezTo>
                    <a:pt x="79500" y="858702"/>
                    <a:pt x="35648" y="921927"/>
                    <a:pt x="29989" y="960068"/>
                  </a:cubicBezTo>
                  <a:cubicBezTo>
                    <a:pt x="51670" y="970858"/>
                    <a:pt x="58853" y="964832"/>
                    <a:pt x="77174" y="972970"/>
                  </a:cubicBezTo>
                  <a:cubicBezTo>
                    <a:pt x="122679" y="946109"/>
                    <a:pt x="169890" y="926923"/>
                    <a:pt x="209736" y="874618"/>
                  </a:cubicBezTo>
                  <a:cubicBezTo>
                    <a:pt x="216299" y="878790"/>
                    <a:pt x="222863" y="883013"/>
                    <a:pt x="229400" y="887211"/>
                  </a:cubicBezTo>
                  <a:cubicBezTo>
                    <a:pt x="249246" y="868540"/>
                    <a:pt x="268549" y="847113"/>
                    <a:pt x="288265" y="828055"/>
                  </a:cubicBezTo>
                  <a:cubicBezTo>
                    <a:pt x="316354" y="837198"/>
                    <a:pt x="343745" y="843533"/>
                    <a:pt x="372996" y="858032"/>
                  </a:cubicBezTo>
                  <a:cubicBezTo>
                    <a:pt x="351316" y="892877"/>
                    <a:pt x="341290" y="925326"/>
                    <a:pt x="329455" y="958008"/>
                  </a:cubicBezTo>
                  <a:cubicBezTo>
                    <a:pt x="334390" y="963287"/>
                    <a:pt x="349249" y="966403"/>
                    <a:pt x="347517" y="973022"/>
                  </a:cubicBezTo>
                  <a:cubicBezTo>
                    <a:pt x="335889" y="1005034"/>
                    <a:pt x="329713" y="1035835"/>
                    <a:pt x="317594" y="1067898"/>
                  </a:cubicBezTo>
                  <a:cubicBezTo>
                    <a:pt x="240538" y="1043664"/>
                    <a:pt x="165988" y="1031431"/>
                    <a:pt x="97071" y="1044385"/>
                  </a:cubicBezTo>
                  <a:cubicBezTo>
                    <a:pt x="152060" y="1057313"/>
                    <a:pt x="212888" y="1059116"/>
                    <a:pt x="270022" y="1071992"/>
                  </a:cubicBezTo>
                  <a:cubicBezTo>
                    <a:pt x="286405" y="1075727"/>
                    <a:pt x="315811" y="1075006"/>
                    <a:pt x="319791" y="1096948"/>
                  </a:cubicBezTo>
                  <a:cubicBezTo>
                    <a:pt x="294777" y="1101712"/>
                    <a:pt x="255732" y="1093935"/>
                    <a:pt x="240719" y="1112091"/>
                  </a:cubicBezTo>
                  <a:cubicBezTo>
                    <a:pt x="273019" y="1121079"/>
                    <a:pt x="311082" y="1109850"/>
                    <a:pt x="335993" y="1141836"/>
                  </a:cubicBezTo>
                  <a:cubicBezTo>
                    <a:pt x="368862" y="1115413"/>
                    <a:pt x="425995" y="1148043"/>
                    <a:pt x="454885" y="1134908"/>
                  </a:cubicBezTo>
                  <a:cubicBezTo>
                    <a:pt x="447468" y="1136840"/>
                    <a:pt x="425065" y="1138952"/>
                    <a:pt x="427132" y="1124092"/>
                  </a:cubicBezTo>
                  <a:cubicBezTo>
                    <a:pt x="472870" y="1117576"/>
                    <a:pt x="521036" y="1122109"/>
                    <a:pt x="567032" y="1116752"/>
                  </a:cubicBezTo>
                  <a:cubicBezTo>
                    <a:pt x="531993" y="1111421"/>
                    <a:pt x="462120" y="1113147"/>
                    <a:pt x="408682" y="1088140"/>
                  </a:cubicBezTo>
                  <a:cubicBezTo>
                    <a:pt x="423178" y="1066739"/>
                    <a:pt x="433101" y="1046316"/>
                    <a:pt x="437520" y="1027078"/>
                  </a:cubicBezTo>
                  <a:cubicBezTo>
                    <a:pt x="442869" y="1022623"/>
                    <a:pt x="453024" y="1040187"/>
                    <a:pt x="456978" y="1029190"/>
                  </a:cubicBezTo>
                  <a:cubicBezTo>
                    <a:pt x="485687" y="1006038"/>
                    <a:pt x="508969" y="958008"/>
                    <a:pt x="537910" y="935885"/>
                  </a:cubicBezTo>
                  <a:cubicBezTo>
                    <a:pt x="566386" y="947758"/>
                    <a:pt x="568454" y="976267"/>
                    <a:pt x="577730" y="992363"/>
                  </a:cubicBezTo>
                  <a:cubicBezTo>
                    <a:pt x="589049" y="1011910"/>
                    <a:pt x="602511" y="1032332"/>
                    <a:pt x="621659" y="1048042"/>
                  </a:cubicBezTo>
                  <a:cubicBezTo>
                    <a:pt x="706571" y="1117550"/>
                    <a:pt x="746650" y="1046316"/>
                    <a:pt x="798486" y="977992"/>
                  </a:cubicBezTo>
                  <a:close/>
                </a:path>
              </a:pathLst>
            </a:custGeom>
            <a:grpFill/>
            <a:ln w="25598" cap="flat">
              <a:noFill/>
              <a:prstDash val="solid"/>
              <a:round/>
            </a:ln>
          </p:spPr>
          <p:txBody>
            <a:bodyPr rtlCol="0" anchor="ctr"/>
            <a:lstStyle/>
            <a:p>
              <a:endParaRPr lang="en-LT"/>
            </a:p>
          </p:txBody>
        </p:sp>
        <p:sp>
          <p:nvSpPr>
            <p:cNvPr id="227" name="Freeform 226">
              <a:extLst>
                <a:ext uri="{FF2B5EF4-FFF2-40B4-BE49-F238E27FC236}">
                  <a16:creationId xmlns:a16="http://schemas.microsoft.com/office/drawing/2014/main" id="{8B9E1821-E16C-7C4D-BA32-8582EB92439C}"/>
                </a:ext>
              </a:extLst>
            </p:cNvPr>
            <p:cNvSpPr/>
            <p:nvPr/>
          </p:nvSpPr>
          <p:spPr>
            <a:xfrm rot="-1917689">
              <a:off x="5495934" y="2325758"/>
              <a:ext cx="395075" cy="751126"/>
            </a:xfrm>
            <a:custGeom>
              <a:avLst/>
              <a:gdLst>
                <a:gd name="connsiteX0" fmla="*/ 316309 w 395075"/>
                <a:gd name="connsiteY0" fmla="*/ 600109 h 751126"/>
                <a:gd name="connsiteX1" fmla="*/ 296722 w 395075"/>
                <a:gd name="connsiteY1" fmla="*/ 635983 h 751126"/>
                <a:gd name="connsiteX2" fmla="*/ 288350 w 395075"/>
                <a:gd name="connsiteY2" fmla="*/ 616797 h 751126"/>
                <a:gd name="connsiteX3" fmla="*/ 316309 w 395075"/>
                <a:gd name="connsiteY3" fmla="*/ 600109 h 751126"/>
                <a:gd name="connsiteX4" fmla="*/ 395045 w 395075"/>
                <a:gd name="connsiteY4" fmla="*/ 564054 h 751126"/>
                <a:gd name="connsiteX5" fmla="*/ 277032 w 395075"/>
                <a:gd name="connsiteY5" fmla="*/ 257175 h 751126"/>
                <a:gd name="connsiteX6" fmla="*/ 234317 w 395075"/>
                <a:gd name="connsiteY6" fmla="*/ 129618 h 751126"/>
                <a:gd name="connsiteX7" fmla="*/ 182585 w 395075"/>
                <a:gd name="connsiteY7" fmla="*/ -102 h 751126"/>
                <a:gd name="connsiteX8" fmla="*/ -30 w 395075"/>
                <a:gd name="connsiteY8" fmla="*/ 197530 h 751126"/>
                <a:gd name="connsiteX9" fmla="*/ 56871 w 395075"/>
                <a:gd name="connsiteY9" fmla="*/ 303016 h 751126"/>
                <a:gd name="connsiteX10" fmla="*/ 77646 w 395075"/>
                <a:gd name="connsiteY10" fmla="*/ 330135 h 751126"/>
                <a:gd name="connsiteX11" fmla="*/ 157623 w 395075"/>
                <a:gd name="connsiteY11" fmla="*/ 232709 h 751126"/>
                <a:gd name="connsiteX12" fmla="*/ 88680 w 395075"/>
                <a:gd name="connsiteY12" fmla="*/ 361348 h 751126"/>
                <a:gd name="connsiteX13" fmla="*/ 271347 w 395075"/>
                <a:gd name="connsiteY13" fmla="*/ 751024 h 751126"/>
                <a:gd name="connsiteX14" fmla="*/ 395045 w 395075"/>
                <a:gd name="connsiteY14" fmla="*/ 564054 h 75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5075" h="751126">
                  <a:moveTo>
                    <a:pt x="316309" y="600109"/>
                  </a:moveTo>
                  <a:cubicBezTo>
                    <a:pt x="317756" y="610384"/>
                    <a:pt x="301994" y="624342"/>
                    <a:pt x="296722" y="635983"/>
                  </a:cubicBezTo>
                  <a:cubicBezTo>
                    <a:pt x="293492" y="629699"/>
                    <a:pt x="291554" y="623081"/>
                    <a:pt x="288350" y="616797"/>
                  </a:cubicBezTo>
                  <a:cubicBezTo>
                    <a:pt x="296774" y="607294"/>
                    <a:pt x="307420" y="607783"/>
                    <a:pt x="316309" y="600109"/>
                  </a:cubicBezTo>
                  <a:close/>
                  <a:moveTo>
                    <a:pt x="395045" y="564054"/>
                  </a:moveTo>
                  <a:cubicBezTo>
                    <a:pt x="350470" y="462894"/>
                    <a:pt x="333829" y="355656"/>
                    <a:pt x="277032" y="257175"/>
                  </a:cubicBezTo>
                  <a:cubicBezTo>
                    <a:pt x="274319" y="212004"/>
                    <a:pt x="250054" y="172008"/>
                    <a:pt x="234317" y="129618"/>
                  </a:cubicBezTo>
                  <a:cubicBezTo>
                    <a:pt x="218296" y="86713"/>
                    <a:pt x="202559" y="38322"/>
                    <a:pt x="182585" y="-102"/>
                  </a:cubicBezTo>
                  <a:cubicBezTo>
                    <a:pt x="114495" y="32888"/>
                    <a:pt x="57026" y="114295"/>
                    <a:pt x="-30" y="197530"/>
                  </a:cubicBezTo>
                  <a:cubicBezTo>
                    <a:pt x="24467" y="228280"/>
                    <a:pt x="40669" y="270953"/>
                    <a:pt x="56871" y="303016"/>
                  </a:cubicBezTo>
                  <a:cubicBezTo>
                    <a:pt x="62375" y="313807"/>
                    <a:pt x="69016" y="328100"/>
                    <a:pt x="77646" y="330135"/>
                  </a:cubicBezTo>
                  <a:cubicBezTo>
                    <a:pt x="103900" y="295908"/>
                    <a:pt x="127441" y="249346"/>
                    <a:pt x="157623" y="232709"/>
                  </a:cubicBezTo>
                  <a:cubicBezTo>
                    <a:pt x="159380" y="270206"/>
                    <a:pt x="111368" y="318520"/>
                    <a:pt x="88680" y="361348"/>
                  </a:cubicBezTo>
                  <a:cubicBezTo>
                    <a:pt x="152868" y="490450"/>
                    <a:pt x="216022" y="619861"/>
                    <a:pt x="271347" y="751024"/>
                  </a:cubicBezTo>
                  <a:cubicBezTo>
                    <a:pt x="310831" y="676416"/>
                    <a:pt x="366827" y="634824"/>
                    <a:pt x="395045" y="564054"/>
                  </a:cubicBezTo>
                  <a:close/>
                </a:path>
              </a:pathLst>
            </a:custGeom>
            <a:grpFill/>
            <a:ln w="25598" cap="flat">
              <a:noFill/>
              <a:prstDash val="solid"/>
              <a:round/>
            </a:ln>
          </p:spPr>
          <p:txBody>
            <a:bodyPr rtlCol="0" anchor="ctr"/>
            <a:lstStyle/>
            <a:p>
              <a:endParaRPr lang="en-LT"/>
            </a:p>
          </p:txBody>
        </p:sp>
        <p:sp>
          <p:nvSpPr>
            <p:cNvPr id="228" name="Freeform 227">
              <a:extLst>
                <a:ext uri="{FF2B5EF4-FFF2-40B4-BE49-F238E27FC236}">
                  <a16:creationId xmlns:a16="http://schemas.microsoft.com/office/drawing/2014/main" id="{78039021-7245-3C4E-8730-F5497E36A04E}"/>
                </a:ext>
              </a:extLst>
            </p:cNvPr>
            <p:cNvSpPr/>
            <p:nvPr/>
          </p:nvSpPr>
          <p:spPr>
            <a:xfrm rot="-1917689">
              <a:off x="5665027" y="2786882"/>
              <a:ext cx="213111" cy="395419"/>
            </a:xfrm>
            <a:custGeom>
              <a:avLst/>
              <a:gdLst>
                <a:gd name="connsiteX0" fmla="*/ 210447 w 213111"/>
                <a:gd name="connsiteY0" fmla="*/ 391789 h 395419"/>
                <a:gd name="connsiteX1" fmla="*/ 197346 w 213111"/>
                <a:gd name="connsiteY1" fmla="*/ 341982 h 395419"/>
                <a:gd name="connsiteX2" fmla="*/ 18866 w 213111"/>
                <a:gd name="connsiteY2" fmla="*/ -102 h 395419"/>
                <a:gd name="connsiteX3" fmla="*/ -24 w 213111"/>
                <a:gd name="connsiteY3" fmla="*/ 29257 h 395419"/>
                <a:gd name="connsiteX4" fmla="*/ 128765 w 213111"/>
                <a:gd name="connsiteY4" fmla="*/ 260085 h 395419"/>
                <a:gd name="connsiteX5" fmla="*/ 130497 w 213111"/>
                <a:gd name="connsiteY5" fmla="*/ 270309 h 395419"/>
                <a:gd name="connsiteX6" fmla="*/ 204866 w 213111"/>
                <a:gd name="connsiteY6" fmla="*/ 395111 h 395419"/>
                <a:gd name="connsiteX7" fmla="*/ 210447 w 213111"/>
                <a:gd name="connsiteY7" fmla="*/ 391789 h 395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111" h="395419">
                  <a:moveTo>
                    <a:pt x="210447" y="391789"/>
                  </a:moveTo>
                  <a:cubicBezTo>
                    <a:pt x="219181" y="374405"/>
                    <a:pt x="204013" y="355785"/>
                    <a:pt x="197346" y="341982"/>
                  </a:cubicBezTo>
                  <a:cubicBezTo>
                    <a:pt x="141841" y="226220"/>
                    <a:pt x="82330" y="110999"/>
                    <a:pt x="18866" y="-102"/>
                  </a:cubicBezTo>
                  <a:cubicBezTo>
                    <a:pt x="12561" y="9684"/>
                    <a:pt x="6255" y="19496"/>
                    <a:pt x="-24" y="29257"/>
                  </a:cubicBezTo>
                  <a:cubicBezTo>
                    <a:pt x="44990" y="105745"/>
                    <a:pt x="77549" y="184937"/>
                    <a:pt x="128765" y="260085"/>
                  </a:cubicBezTo>
                  <a:cubicBezTo>
                    <a:pt x="128972" y="263099"/>
                    <a:pt x="129670" y="266627"/>
                    <a:pt x="130497" y="270309"/>
                  </a:cubicBezTo>
                  <a:cubicBezTo>
                    <a:pt x="159231" y="311051"/>
                    <a:pt x="177552" y="354060"/>
                    <a:pt x="204866" y="395111"/>
                  </a:cubicBezTo>
                  <a:cubicBezTo>
                    <a:pt x="207036" y="395755"/>
                    <a:pt x="209026" y="394956"/>
                    <a:pt x="210447" y="391789"/>
                  </a:cubicBezTo>
                  <a:close/>
                </a:path>
              </a:pathLst>
            </a:custGeom>
            <a:grpFill/>
            <a:ln w="25598" cap="flat">
              <a:noFill/>
              <a:prstDash val="solid"/>
              <a:round/>
            </a:ln>
          </p:spPr>
          <p:txBody>
            <a:bodyPr rtlCol="0" anchor="ctr"/>
            <a:lstStyle/>
            <a:p>
              <a:endParaRPr lang="en-LT"/>
            </a:p>
          </p:txBody>
        </p:sp>
        <p:sp>
          <p:nvSpPr>
            <p:cNvPr id="229" name="Freeform 228">
              <a:extLst>
                <a:ext uri="{FF2B5EF4-FFF2-40B4-BE49-F238E27FC236}">
                  <a16:creationId xmlns:a16="http://schemas.microsoft.com/office/drawing/2014/main" id="{22CCD244-2298-554F-836F-DB0BD7FA5AD5}"/>
                </a:ext>
              </a:extLst>
            </p:cNvPr>
            <p:cNvSpPr/>
            <p:nvPr/>
          </p:nvSpPr>
          <p:spPr>
            <a:xfrm rot="-1917689">
              <a:off x="5827547" y="3030662"/>
              <a:ext cx="2661" cy="4893"/>
            </a:xfrm>
            <a:custGeom>
              <a:avLst/>
              <a:gdLst>
                <a:gd name="connsiteX0" fmla="*/ 2639 w 2661"/>
                <a:gd name="connsiteY0" fmla="*/ 4790 h 4893"/>
                <a:gd name="connsiteX1" fmla="*/ 2432 w 2661"/>
                <a:gd name="connsiteY1" fmla="*/ 3657 h 4893"/>
                <a:gd name="connsiteX2" fmla="*/ -22 w 2661"/>
                <a:gd name="connsiteY2" fmla="*/ -103 h 4893"/>
                <a:gd name="connsiteX3" fmla="*/ 2639 w 2661"/>
                <a:gd name="connsiteY3" fmla="*/ 4790 h 4893"/>
              </a:gdLst>
              <a:ahLst/>
              <a:cxnLst>
                <a:cxn ang="0">
                  <a:pos x="connsiteX0" y="connsiteY0"/>
                </a:cxn>
                <a:cxn ang="0">
                  <a:pos x="connsiteX1" y="connsiteY1"/>
                </a:cxn>
                <a:cxn ang="0">
                  <a:pos x="connsiteX2" y="connsiteY2"/>
                </a:cxn>
                <a:cxn ang="0">
                  <a:pos x="connsiteX3" y="connsiteY3"/>
                </a:cxn>
              </a:cxnLst>
              <a:rect l="l" t="t" r="r" b="b"/>
              <a:pathLst>
                <a:path w="2661" h="4893">
                  <a:moveTo>
                    <a:pt x="2639" y="4790"/>
                  </a:moveTo>
                  <a:cubicBezTo>
                    <a:pt x="2536" y="4378"/>
                    <a:pt x="2536" y="4043"/>
                    <a:pt x="2432" y="3657"/>
                  </a:cubicBezTo>
                  <a:cubicBezTo>
                    <a:pt x="1554" y="2421"/>
                    <a:pt x="882" y="1133"/>
                    <a:pt x="-22" y="-103"/>
                  </a:cubicBezTo>
                  <a:cubicBezTo>
                    <a:pt x="856" y="1468"/>
                    <a:pt x="1735" y="3219"/>
                    <a:pt x="2639" y="4790"/>
                  </a:cubicBezTo>
                  <a:close/>
                </a:path>
              </a:pathLst>
            </a:custGeom>
            <a:grpFill/>
            <a:ln w="25598" cap="flat">
              <a:noFill/>
              <a:prstDash val="solid"/>
              <a:round/>
            </a:ln>
          </p:spPr>
          <p:txBody>
            <a:bodyPr rtlCol="0" anchor="ctr"/>
            <a:lstStyle/>
            <a:p>
              <a:endParaRPr lang="en-LT"/>
            </a:p>
          </p:txBody>
        </p:sp>
        <p:sp>
          <p:nvSpPr>
            <p:cNvPr id="230" name="Freeform 229">
              <a:extLst>
                <a:ext uri="{FF2B5EF4-FFF2-40B4-BE49-F238E27FC236}">
                  <a16:creationId xmlns:a16="http://schemas.microsoft.com/office/drawing/2014/main" id="{743C0128-300B-8349-88EB-4C1127A13ED4}"/>
                </a:ext>
              </a:extLst>
            </p:cNvPr>
            <p:cNvSpPr/>
            <p:nvPr/>
          </p:nvSpPr>
          <p:spPr>
            <a:xfrm rot="-1917689">
              <a:off x="5862100" y="3005744"/>
              <a:ext cx="69896" cy="135900"/>
            </a:xfrm>
            <a:custGeom>
              <a:avLst/>
              <a:gdLst>
                <a:gd name="connsiteX0" fmla="*/ 66286 w 69896"/>
                <a:gd name="connsiteY0" fmla="*/ 135797 h 135900"/>
                <a:gd name="connsiteX1" fmla="*/ 54218 w 69896"/>
                <a:gd name="connsiteY1" fmla="*/ 100515 h 135900"/>
                <a:gd name="connsiteX2" fmla="*/ -21 w 69896"/>
                <a:gd name="connsiteY2" fmla="*/ -104 h 135900"/>
                <a:gd name="connsiteX3" fmla="*/ 45536 w 69896"/>
                <a:gd name="connsiteY3" fmla="*/ 108755 h 135900"/>
                <a:gd name="connsiteX4" fmla="*/ 66286 w 69896"/>
                <a:gd name="connsiteY4" fmla="*/ 135797 h 13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896" h="135900">
                  <a:moveTo>
                    <a:pt x="66286" y="135797"/>
                  </a:moveTo>
                  <a:cubicBezTo>
                    <a:pt x="77371" y="122096"/>
                    <a:pt x="59748" y="110507"/>
                    <a:pt x="54218" y="100515"/>
                  </a:cubicBezTo>
                  <a:cubicBezTo>
                    <a:pt x="35432" y="66520"/>
                    <a:pt x="17809" y="31856"/>
                    <a:pt x="-21" y="-104"/>
                  </a:cubicBezTo>
                  <a:cubicBezTo>
                    <a:pt x="7162" y="30105"/>
                    <a:pt x="31943" y="79294"/>
                    <a:pt x="45536" y="108755"/>
                  </a:cubicBezTo>
                  <a:cubicBezTo>
                    <a:pt x="50523" y="119598"/>
                    <a:pt x="57267" y="134689"/>
                    <a:pt x="66286" y="135797"/>
                  </a:cubicBezTo>
                  <a:close/>
                </a:path>
              </a:pathLst>
            </a:custGeom>
            <a:grpFill/>
            <a:ln w="25598" cap="flat">
              <a:noFill/>
              <a:prstDash val="solid"/>
              <a:round/>
            </a:ln>
          </p:spPr>
          <p:txBody>
            <a:bodyPr rtlCol="0" anchor="ctr"/>
            <a:lstStyle/>
            <a:p>
              <a:endParaRPr lang="en-LT"/>
            </a:p>
          </p:txBody>
        </p:sp>
        <p:sp>
          <p:nvSpPr>
            <p:cNvPr id="231" name="Freeform 230">
              <a:extLst>
                <a:ext uri="{FF2B5EF4-FFF2-40B4-BE49-F238E27FC236}">
                  <a16:creationId xmlns:a16="http://schemas.microsoft.com/office/drawing/2014/main" id="{C6F20A8A-5961-D14A-A869-8E6219B9A6EA}"/>
                </a:ext>
              </a:extLst>
            </p:cNvPr>
            <p:cNvSpPr/>
            <p:nvPr/>
          </p:nvSpPr>
          <p:spPr>
            <a:xfrm rot="-1917689">
              <a:off x="5629209" y="2848440"/>
              <a:ext cx="260704" cy="419756"/>
            </a:xfrm>
            <a:custGeom>
              <a:avLst/>
              <a:gdLst>
                <a:gd name="connsiteX0" fmla="*/ 182722 w 260704"/>
                <a:gd name="connsiteY0" fmla="*/ 321302 h 419756"/>
                <a:gd name="connsiteX1" fmla="*/ 177218 w 260704"/>
                <a:gd name="connsiteY1" fmla="*/ 286663 h 419756"/>
                <a:gd name="connsiteX2" fmla="*/ 182722 w 260704"/>
                <a:gd name="connsiteY2" fmla="*/ 321302 h 419756"/>
                <a:gd name="connsiteX3" fmla="*/ 153884 w 260704"/>
                <a:gd name="connsiteY3" fmla="*/ 247595 h 419756"/>
                <a:gd name="connsiteX4" fmla="*/ 169672 w 260704"/>
                <a:gd name="connsiteY4" fmla="*/ 271495 h 419756"/>
                <a:gd name="connsiteX5" fmla="*/ 153884 w 260704"/>
                <a:gd name="connsiteY5" fmla="*/ 247595 h 419756"/>
                <a:gd name="connsiteX6" fmla="*/ 260682 w 260704"/>
                <a:gd name="connsiteY6" fmla="*/ 378037 h 419756"/>
                <a:gd name="connsiteX7" fmla="*/ 63675 w 260704"/>
                <a:gd name="connsiteY7" fmla="*/ -102 h 419756"/>
                <a:gd name="connsiteX8" fmla="*/ -22 w 260704"/>
                <a:gd name="connsiteY8" fmla="*/ 104277 h 419756"/>
                <a:gd name="connsiteX9" fmla="*/ 125563 w 260704"/>
                <a:gd name="connsiteY9" fmla="*/ 340050 h 419756"/>
                <a:gd name="connsiteX10" fmla="*/ 140705 w 260704"/>
                <a:gd name="connsiteY10" fmla="*/ 370440 h 419756"/>
                <a:gd name="connsiteX11" fmla="*/ 233912 w 260704"/>
                <a:gd name="connsiteY11" fmla="*/ 419655 h 419756"/>
                <a:gd name="connsiteX12" fmla="*/ 260682 w 260704"/>
                <a:gd name="connsiteY12" fmla="*/ 378037 h 419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0704" h="419756">
                  <a:moveTo>
                    <a:pt x="182722" y="321302"/>
                  </a:moveTo>
                  <a:cubicBezTo>
                    <a:pt x="175383" y="311001"/>
                    <a:pt x="173652" y="299411"/>
                    <a:pt x="177218" y="286663"/>
                  </a:cubicBezTo>
                  <a:cubicBezTo>
                    <a:pt x="181094" y="297789"/>
                    <a:pt x="194686" y="306751"/>
                    <a:pt x="182722" y="321302"/>
                  </a:cubicBezTo>
                  <a:close/>
                  <a:moveTo>
                    <a:pt x="153884" y="247595"/>
                  </a:moveTo>
                  <a:cubicBezTo>
                    <a:pt x="164297" y="246127"/>
                    <a:pt x="164194" y="264953"/>
                    <a:pt x="169672" y="271495"/>
                  </a:cubicBezTo>
                  <a:cubicBezTo>
                    <a:pt x="157269" y="273323"/>
                    <a:pt x="159026" y="254291"/>
                    <a:pt x="153884" y="247595"/>
                  </a:cubicBezTo>
                  <a:close/>
                  <a:moveTo>
                    <a:pt x="260682" y="378037"/>
                  </a:moveTo>
                  <a:cubicBezTo>
                    <a:pt x="197838" y="251330"/>
                    <a:pt x="145330" y="122485"/>
                    <a:pt x="63675" y="-102"/>
                  </a:cubicBezTo>
                  <a:cubicBezTo>
                    <a:pt x="46284" y="33841"/>
                    <a:pt x="22717" y="69098"/>
                    <a:pt x="-22" y="104277"/>
                  </a:cubicBezTo>
                  <a:cubicBezTo>
                    <a:pt x="44242" y="179787"/>
                    <a:pt x="87448" y="263794"/>
                    <a:pt x="125563" y="340050"/>
                  </a:cubicBezTo>
                  <a:cubicBezTo>
                    <a:pt x="130912" y="350712"/>
                    <a:pt x="135718" y="365418"/>
                    <a:pt x="140705" y="370440"/>
                  </a:cubicBezTo>
                  <a:cubicBezTo>
                    <a:pt x="166158" y="396219"/>
                    <a:pt x="205694" y="393953"/>
                    <a:pt x="233912" y="419655"/>
                  </a:cubicBezTo>
                  <a:cubicBezTo>
                    <a:pt x="242801" y="405799"/>
                    <a:pt x="251742" y="391918"/>
                    <a:pt x="260682" y="378037"/>
                  </a:cubicBezTo>
                  <a:close/>
                </a:path>
              </a:pathLst>
            </a:custGeom>
            <a:grpFill/>
            <a:ln w="25598" cap="flat">
              <a:noFill/>
              <a:prstDash val="solid"/>
              <a:round/>
            </a:ln>
          </p:spPr>
          <p:txBody>
            <a:bodyPr rtlCol="0" anchor="ctr"/>
            <a:lstStyle/>
            <a:p>
              <a:endParaRPr lang="en-LT"/>
            </a:p>
          </p:txBody>
        </p:sp>
        <p:sp>
          <p:nvSpPr>
            <p:cNvPr id="232" name="Freeform 231">
              <a:extLst>
                <a:ext uri="{FF2B5EF4-FFF2-40B4-BE49-F238E27FC236}">
                  <a16:creationId xmlns:a16="http://schemas.microsoft.com/office/drawing/2014/main" id="{71807606-12E9-C14E-9634-0F531A00C6CC}"/>
                </a:ext>
              </a:extLst>
            </p:cNvPr>
            <p:cNvSpPr/>
            <p:nvPr/>
          </p:nvSpPr>
          <p:spPr>
            <a:xfrm rot="-1917689">
              <a:off x="5623603" y="3005208"/>
              <a:ext cx="154836" cy="239764"/>
            </a:xfrm>
            <a:custGeom>
              <a:avLst/>
              <a:gdLst>
                <a:gd name="connsiteX0" fmla="*/ -21 w 154836"/>
                <a:gd name="connsiteY0" fmla="*/ 43990 h 239764"/>
                <a:gd name="connsiteX1" fmla="*/ 154815 w 154836"/>
                <a:gd name="connsiteY1" fmla="*/ 239665 h 239764"/>
                <a:gd name="connsiteX2" fmla="*/ 28326 w 154836"/>
                <a:gd name="connsiteY2" fmla="*/ -100 h 239764"/>
                <a:gd name="connsiteX3" fmla="*/ -21 w 154836"/>
                <a:gd name="connsiteY3" fmla="*/ 43990 h 239764"/>
              </a:gdLst>
              <a:ahLst/>
              <a:cxnLst>
                <a:cxn ang="0">
                  <a:pos x="connsiteX0" y="connsiteY0"/>
                </a:cxn>
                <a:cxn ang="0">
                  <a:pos x="connsiteX1" y="connsiteY1"/>
                </a:cxn>
                <a:cxn ang="0">
                  <a:pos x="connsiteX2" y="connsiteY2"/>
                </a:cxn>
                <a:cxn ang="0">
                  <a:pos x="connsiteX3" y="connsiteY3"/>
                </a:cxn>
              </a:cxnLst>
              <a:rect l="l" t="t" r="r" b="b"/>
              <a:pathLst>
                <a:path w="154836" h="239764">
                  <a:moveTo>
                    <a:pt x="-21" y="43990"/>
                  </a:moveTo>
                  <a:cubicBezTo>
                    <a:pt x="40057" y="112855"/>
                    <a:pt x="49851" y="192665"/>
                    <a:pt x="154815" y="239665"/>
                  </a:cubicBezTo>
                  <a:cubicBezTo>
                    <a:pt x="118096" y="158542"/>
                    <a:pt x="74632" y="78938"/>
                    <a:pt x="28326" y="-100"/>
                  </a:cubicBezTo>
                  <a:cubicBezTo>
                    <a:pt x="18868" y="14605"/>
                    <a:pt x="9462" y="29285"/>
                    <a:pt x="-21" y="43990"/>
                  </a:cubicBezTo>
                  <a:close/>
                </a:path>
              </a:pathLst>
            </a:custGeom>
            <a:grpFill/>
            <a:ln w="25598" cap="flat">
              <a:noFill/>
              <a:prstDash val="solid"/>
              <a:round/>
            </a:ln>
          </p:spPr>
          <p:txBody>
            <a:bodyPr rtlCol="0" anchor="ctr"/>
            <a:lstStyle/>
            <a:p>
              <a:endParaRPr lang="en-LT"/>
            </a:p>
          </p:txBody>
        </p:sp>
        <p:sp>
          <p:nvSpPr>
            <p:cNvPr id="233" name="Freeform 232">
              <a:extLst>
                <a:ext uri="{FF2B5EF4-FFF2-40B4-BE49-F238E27FC236}">
                  <a16:creationId xmlns:a16="http://schemas.microsoft.com/office/drawing/2014/main" id="{D2D28B37-6B3B-0141-8494-904D1516A3D4}"/>
                </a:ext>
              </a:extLst>
            </p:cNvPr>
            <p:cNvSpPr/>
            <p:nvPr/>
          </p:nvSpPr>
          <p:spPr>
            <a:xfrm rot="-1917689">
              <a:off x="5725460" y="4230670"/>
              <a:ext cx="51655" cy="8881"/>
            </a:xfrm>
            <a:custGeom>
              <a:avLst/>
              <a:gdLst>
                <a:gd name="connsiteX0" fmla="*/ 2 w 51655"/>
                <a:gd name="connsiteY0" fmla="*/ 4876 h 8881"/>
                <a:gd name="connsiteX1" fmla="*/ 51657 w 51655"/>
                <a:gd name="connsiteY1" fmla="*/ -94 h 8881"/>
                <a:gd name="connsiteX2" fmla="*/ 2 w 51655"/>
                <a:gd name="connsiteY2" fmla="*/ 4876 h 8881"/>
              </a:gdLst>
              <a:ahLst/>
              <a:cxnLst>
                <a:cxn ang="0">
                  <a:pos x="connsiteX0" y="connsiteY0"/>
                </a:cxn>
                <a:cxn ang="0">
                  <a:pos x="connsiteX1" y="connsiteY1"/>
                </a:cxn>
                <a:cxn ang="0">
                  <a:pos x="connsiteX2" y="connsiteY2"/>
                </a:cxn>
              </a:cxnLst>
              <a:rect l="l" t="t" r="r" b="b"/>
              <a:pathLst>
                <a:path w="51655" h="8881">
                  <a:moveTo>
                    <a:pt x="2" y="4876"/>
                  </a:moveTo>
                  <a:cubicBezTo>
                    <a:pt x="16126" y="4515"/>
                    <a:pt x="46101" y="16645"/>
                    <a:pt x="51657" y="-94"/>
                  </a:cubicBezTo>
                  <a:cubicBezTo>
                    <a:pt x="36385" y="4206"/>
                    <a:pt x="7341" y="-3340"/>
                    <a:pt x="2" y="4876"/>
                  </a:cubicBezTo>
                  <a:close/>
                </a:path>
              </a:pathLst>
            </a:custGeom>
            <a:grpFill/>
            <a:ln w="25598" cap="flat">
              <a:noFill/>
              <a:prstDash val="solid"/>
              <a:round/>
            </a:ln>
          </p:spPr>
          <p:txBody>
            <a:bodyPr rtlCol="0" anchor="ctr"/>
            <a:lstStyle/>
            <a:p>
              <a:endParaRPr lang="en-LT"/>
            </a:p>
          </p:txBody>
        </p:sp>
        <p:sp>
          <p:nvSpPr>
            <p:cNvPr id="234" name="Freeform 233">
              <a:extLst>
                <a:ext uri="{FF2B5EF4-FFF2-40B4-BE49-F238E27FC236}">
                  <a16:creationId xmlns:a16="http://schemas.microsoft.com/office/drawing/2014/main" id="{BECA5845-58BC-0A4F-8F82-90ED078708CC}"/>
                </a:ext>
              </a:extLst>
            </p:cNvPr>
            <p:cNvSpPr/>
            <p:nvPr/>
          </p:nvSpPr>
          <p:spPr>
            <a:xfrm rot="-1917689">
              <a:off x="5519663" y="4263724"/>
              <a:ext cx="223546" cy="24702"/>
            </a:xfrm>
            <a:custGeom>
              <a:avLst/>
              <a:gdLst>
                <a:gd name="connsiteX0" fmla="*/ 223548 w 223546"/>
                <a:gd name="connsiteY0" fmla="*/ 19245 h 24702"/>
                <a:gd name="connsiteX1" fmla="*/ 2 w 223546"/>
                <a:gd name="connsiteY1" fmla="*/ 11082 h 24702"/>
                <a:gd name="connsiteX2" fmla="*/ 203393 w 223546"/>
                <a:gd name="connsiteY2" fmla="*/ 23598 h 24702"/>
                <a:gd name="connsiteX3" fmla="*/ 223548 w 223546"/>
                <a:gd name="connsiteY3" fmla="*/ 19245 h 24702"/>
              </a:gdLst>
              <a:ahLst/>
              <a:cxnLst>
                <a:cxn ang="0">
                  <a:pos x="connsiteX0" y="connsiteY0"/>
                </a:cxn>
                <a:cxn ang="0">
                  <a:pos x="connsiteX1" y="connsiteY1"/>
                </a:cxn>
                <a:cxn ang="0">
                  <a:pos x="connsiteX2" y="connsiteY2"/>
                </a:cxn>
                <a:cxn ang="0">
                  <a:pos x="connsiteX3" y="connsiteY3"/>
                </a:cxn>
              </a:cxnLst>
              <a:rect l="l" t="t" r="r" b="b"/>
              <a:pathLst>
                <a:path w="223546" h="24702">
                  <a:moveTo>
                    <a:pt x="223548" y="19245"/>
                  </a:moveTo>
                  <a:cubicBezTo>
                    <a:pt x="150755" y="18035"/>
                    <a:pt x="59203" y="-17685"/>
                    <a:pt x="2" y="11082"/>
                  </a:cubicBezTo>
                  <a:cubicBezTo>
                    <a:pt x="66748" y="22388"/>
                    <a:pt x="142693" y="26791"/>
                    <a:pt x="203393" y="23598"/>
                  </a:cubicBezTo>
                  <a:cubicBezTo>
                    <a:pt x="210163" y="23186"/>
                    <a:pt x="222282" y="26920"/>
                    <a:pt x="223548" y="19245"/>
                  </a:cubicBezTo>
                  <a:close/>
                </a:path>
              </a:pathLst>
            </a:custGeom>
            <a:grpFill/>
            <a:ln w="25598" cap="flat">
              <a:noFill/>
              <a:prstDash val="solid"/>
              <a:round/>
            </a:ln>
          </p:spPr>
          <p:txBody>
            <a:bodyPr rtlCol="0" anchor="ctr"/>
            <a:lstStyle/>
            <a:p>
              <a:endParaRPr lang="en-LT"/>
            </a:p>
          </p:txBody>
        </p:sp>
        <p:sp>
          <p:nvSpPr>
            <p:cNvPr id="235" name="Freeform 234">
              <a:extLst>
                <a:ext uri="{FF2B5EF4-FFF2-40B4-BE49-F238E27FC236}">
                  <a16:creationId xmlns:a16="http://schemas.microsoft.com/office/drawing/2014/main" id="{77498BC4-7054-5742-AB8E-DE5D3029DA03}"/>
                </a:ext>
              </a:extLst>
            </p:cNvPr>
            <p:cNvSpPr/>
            <p:nvPr/>
          </p:nvSpPr>
          <p:spPr>
            <a:xfrm rot="-1917689">
              <a:off x="5540538" y="4253345"/>
              <a:ext cx="63128" cy="11590"/>
            </a:xfrm>
            <a:custGeom>
              <a:avLst/>
              <a:gdLst>
                <a:gd name="connsiteX0" fmla="*/ 63130 w 63128"/>
                <a:gd name="connsiteY0" fmla="*/ 4794 h 11590"/>
                <a:gd name="connsiteX1" fmla="*/ 1 w 63128"/>
                <a:gd name="connsiteY1" fmla="*/ 5901 h 11590"/>
                <a:gd name="connsiteX2" fmla="*/ 63130 w 63128"/>
                <a:gd name="connsiteY2" fmla="*/ 4794 h 11590"/>
              </a:gdLst>
              <a:ahLst/>
              <a:cxnLst>
                <a:cxn ang="0">
                  <a:pos x="connsiteX0" y="connsiteY0"/>
                </a:cxn>
                <a:cxn ang="0">
                  <a:pos x="connsiteX1" y="connsiteY1"/>
                </a:cxn>
                <a:cxn ang="0">
                  <a:pos x="connsiteX2" y="connsiteY2"/>
                </a:cxn>
              </a:cxnLst>
              <a:rect l="l" t="t" r="r" b="b"/>
              <a:pathLst>
                <a:path w="63128" h="11590">
                  <a:moveTo>
                    <a:pt x="63130" y="4794"/>
                  </a:moveTo>
                  <a:cubicBezTo>
                    <a:pt x="43207" y="10434"/>
                    <a:pt x="17754" y="-9551"/>
                    <a:pt x="1" y="5901"/>
                  </a:cubicBezTo>
                  <a:cubicBezTo>
                    <a:pt x="21836" y="15610"/>
                    <a:pt x="51734" y="11000"/>
                    <a:pt x="63130" y="4794"/>
                  </a:cubicBezTo>
                  <a:close/>
                </a:path>
              </a:pathLst>
            </a:custGeom>
            <a:grpFill/>
            <a:ln w="25598" cap="flat">
              <a:noFill/>
              <a:prstDash val="solid"/>
              <a:round/>
            </a:ln>
          </p:spPr>
          <p:txBody>
            <a:bodyPr rtlCol="0" anchor="ctr"/>
            <a:lstStyle/>
            <a:p>
              <a:endParaRPr lang="en-LT"/>
            </a:p>
          </p:txBody>
        </p:sp>
        <p:sp>
          <p:nvSpPr>
            <p:cNvPr id="236" name="Freeform 235">
              <a:extLst>
                <a:ext uri="{FF2B5EF4-FFF2-40B4-BE49-F238E27FC236}">
                  <a16:creationId xmlns:a16="http://schemas.microsoft.com/office/drawing/2014/main" id="{32B87244-B586-1643-B3EB-0CFE92772FFF}"/>
                </a:ext>
              </a:extLst>
            </p:cNvPr>
            <p:cNvSpPr/>
            <p:nvPr/>
          </p:nvSpPr>
          <p:spPr>
            <a:xfrm rot="-1917689">
              <a:off x="5867773" y="2258160"/>
              <a:ext cx="238350" cy="486122"/>
            </a:xfrm>
            <a:custGeom>
              <a:avLst/>
              <a:gdLst>
                <a:gd name="connsiteX0" fmla="*/ 205296 w 238350"/>
                <a:gd name="connsiteY0" fmla="*/ 191265 h 486122"/>
                <a:gd name="connsiteX1" fmla="*/ 172091 w 238350"/>
                <a:gd name="connsiteY1" fmla="*/ 280603 h 486122"/>
                <a:gd name="connsiteX2" fmla="*/ 205296 w 238350"/>
                <a:gd name="connsiteY2" fmla="*/ 191265 h 486122"/>
                <a:gd name="connsiteX3" fmla="*/ 186355 w 238350"/>
                <a:gd name="connsiteY3" fmla="*/ 123842 h 486122"/>
                <a:gd name="connsiteX4" fmla="*/ 193539 w 238350"/>
                <a:gd name="connsiteY4" fmla="*/ 166516 h 486122"/>
                <a:gd name="connsiteX5" fmla="*/ 186355 w 238350"/>
                <a:gd name="connsiteY5" fmla="*/ 123842 h 486122"/>
                <a:gd name="connsiteX6" fmla="*/ 43612 w 238350"/>
                <a:gd name="connsiteY6" fmla="*/ 291755 h 486122"/>
                <a:gd name="connsiteX7" fmla="*/ 84802 w 238350"/>
                <a:gd name="connsiteY7" fmla="*/ 238600 h 486122"/>
                <a:gd name="connsiteX8" fmla="*/ 51571 w 238350"/>
                <a:gd name="connsiteY8" fmla="*/ 327964 h 486122"/>
                <a:gd name="connsiteX9" fmla="*/ 85319 w 238350"/>
                <a:gd name="connsiteY9" fmla="*/ 453152 h 486122"/>
                <a:gd name="connsiteX10" fmla="*/ 98885 w 238350"/>
                <a:gd name="connsiteY10" fmla="*/ 486013 h 486122"/>
                <a:gd name="connsiteX11" fmla="*/ 232455 w 238350"/>
                <a:gd name="connsiteY11" fmla="*/ 122245 h 486122"/>
                <a:gd name="connsiteX12" fmla="*/ 219069 w 238350"/>
                <a:gd name="connsiteY12" fmla="*/ 99891 h 486122"/>
                <a:gd name="connsiteX13" fmla="*/ 216253 w 238350"/>
                <a:gd name="connsiteY13" fmla="*/ 77357 h 486122"/>
                <a:gd name="connsiteX14" fmla="*/ 127439 w 238350"/>
                <a:gd name="connsiteY14" fmla="*/ -109 h 486122"/>
                <a:gd name="connsiteX15" fmla="*/ 83174 w 238350"/>
                <a:gd name="connsiteY15" fmla="*/ 57913 h 486122"/>
                <a:gd name="connsiteX16" fmla="*/ 113511 w 238350"/>
                <a:gd name="connsiteY16" fmla="*/ 80756 h 486122"/>
                <a:gd name="connsiteX17" fmla="*/ 78445 w 238350"/>
                <a:gd name="connsiteY17" fmla="*/ 65279 h 486122"/>
                <a:gd name="connsiteX18" fmla="*/ -32 w 238350"/>
                <a:gd name="connsiteY18" fmla="*/ 160206 h 486122"/>
                <a:gd name="connsiteX19" fmla="*/ 43612 w 238350"/>
                <a:gd name="connsiteY19" fmla="*/ 291755 h 48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8350" h="486122">
                  <a:moveTo>
                    <a:pt x="205296" y="191265"/>
                  </a:moveTo>
                  <a:cubicBezTo>
                    <a:pt x="199456" y="219954"/>
                    <a:pt x="185683" y="250317"/>
                    <a:pt x="172091" y="280603"/>
                  </a:cubicBezTo>
                  <a:cubicBezTo>
                    <a:pt x="176122" y="252507"/>
                    <a:pt x="174572" y="212331"/>
                    <a:pt x="205296" y="191265"/>
                  </a:cubicBezTo>
                  <a:close/>
                  <a:moveTo>
                    <a:pt x="186355" y="123842"/>
                  </a:moveTo>
                  <a:cubicBezTo>
                    <a:pt x="198965" y="135895"/>
                    <a:pt x="198991" y="150548"/>
                    <a:pt x="193539" y="166516"/>
                  </a:cubicBezTo>
                  <a:cubicBezTo>
                    <a:pt x="190050" y="152532"/>
                    <a:pt x="183125" y="139294"/>
                    <a:pt x="186355" y="123842"/>
                  </a:cubicBezTo>
                  <a:close/>
                  <a:moveTo>
                    <a:pt x="43612" y="291755"/>
                  </a:moveTo>
                  <a:cubicBezTo>
                    <a:pt x="55499" y="276741"/>
                    <a:pt x="63923" y="235303"/>
                    <a:pt x="84802" y="238600"/>
                  </a:cubicBezTo>
                  <a:cubicBezTo>
                    <a:pt x="88936" y="265074"/>
                    <a:pt x="60176" y="298708"/>
                    <a:pt x="51571" y="327964"/>
                  </a:cubicBezTo>
                  <a:cubicBezTo>
                    <a:pt x="54491" y="368140"/>
                    <a:pt x="74388" y="415088"/>
                    <a:pt x="85319" y="453152"/>
                  </a:cubicBezTo>
                  <a:cubicBezTo>
                    <a:pt x="89040" y="465977"/>
                    <a:pt x="85939" y="484185"/>
                    <a:pt x="98885" y="486013"/>
                  </a:cubicBezTo>
                  <a:cubicBezTo>
                    <a:pt x="152194" y="362345"/>
                    <a:pt x="265246" y="221680"/>
                    <a:pt x="232455" y="122245"/>
                  </a:cubicBezTo>
                  <a:cubicBezTo>
                    <a:pt x="229974" y="114725"/>
                    <a:pt x="221937" y="108004"/>
                    <a:pt x="219069" y="99891"/>
                  </a:cubicBezTo>
                  <a:cubicBezTo>
                    <a:pt x="216433" y="92448"/>
                    <a:pt x="219405" y="84001"/>
                    <a:pt x="216253" y="77357"/>
                  </a:cubicBezTo>
                  <a:cubicBezTo>
                    <a:pt x="202428" y="47895"/>
                    <a:pt x="163176" y="20596"/>
                    <a:pt x="127439" y="-109"/>
                  </a:cubicBezTo>
                  <a:cubicBezTo>
                    <a:pt x="112891" y="19927"/>
                    <a:pt x="97645" y="37284"/>
                    <a:pt x="83174" y="57913"/>
                  </a:cubicBezTo>
                  <a:cubicBezTo>
                    <a:pt x="92037" y="65819"/>
                    <a:pt x="111314" y="71408"/>
                    <a:pt x="113511" y="80756"/>
                  </a:cubicBezTo>
                  <a:cubicBezTo>
                    <a:pt x="103330" y="79675"/>
                    <a:pt x="84053" y="76250"/>
                    <a:pt x="78445" y="65279"/>
                  </a:cubicBezTo>
                  <a:cubicBezTo>
                    <a:pt x="52501" y="97702"/>
                    <a:pt x="27255" y="133551"/>
                    <a:pt x="-32" y="160206"/>
                  </a:cubicBezTo>
                  <a:cubicBezTo>
                    <a:pt x="14206" y="204090"/>
                    <a:pt x="25886" y="248592"/>
                    <a:pt x="43612" y="291755"/>
                  </a:cubicBezTo>
                  <a:close/>
                </a:path>
              </a:pathLst>
            </a:custGeom>
            <a:grpFill/>
            <a:ln w="25598" cap="flat">
              <a:noFill/>
              <a:prstDash val="solid"/>
              <a:round/>
            </a:ln>
          </p:spPr>
          <p:txBody>
            <a:bodyPr rtlCol="0" anchor="ctr"/>
            <a:lstStyle/>
            <a:p>
              <a:endParaRPr lang="en-LT"/>
            </a:p>
          </p:txBody>
        </p:sp>
        <p:sp>
          <p:nvSpPr>
            <p:cNvPr id="237" name="Freeform 236">
              <a:extLst>
                <a:ext uri="{FF2B5EF4-FFF2-40B4-BE49-F238E27FC236}">
                  <a16:creationId xmlns:a16="http://schemas.microsoft.com/office/drawing/2014/main" id="{7BC1B36E-E7AB-7E41-B220-3796183CE3F6}"/>
                </a:ext>
              </a:extLst>
            </p:cNvPr>
            <p:cNvSpPr/>
            <p:nvPr/>
          </p:nvSpPr>
          <p:spPr>
            <a:xfrm rot="-1917689">
              <a:off x="5422447" y="2809993"/>
              <a:ext cx="142071" cy="222502"/>
            </a:xfrm>
            <a:custGeom>
              <a:avLst/>
              <a:gdLst>
                <a:gd name="connsiteX0" fmla="*/ 90363 w 142071"/>
                <a:gd name="connsiteY0" fmla="*/ 35667 h 222502"/>
                <a:gd name="connsiteX1" fmla="*/ 46770 w 142071"/>
                <a:gd name="connsiteY1" fmla="*/ 87303 h 222502"/>
                <a:gd name="connsiteX2" fmla="*/ 86151 w 142071"/>
                <a:gd name="connsiteY2" fmla="*/ 26086 h 222502"/>
                <a:gd name="connsiteX3" fmla="*/ 61396 w 142071"/>
                <a:gd name="connsiteY3" fmla="*/ -79 h 222502"/>
                <a:gd name="connsiteX4" fmla="*/ -27 w 142071"/>
                <a:gd name="connsiteY4" fmla="*/ 95441 h 222502"/>
                <a:gd name="connsiteX5" fmla="*/ 74316 w 142071"/>
                <a:gd name="connsiteY5" fmla="*/ 222405 h 222502"/>
                <a:gd name="connsiteX6" fmla="*/ 142044 w 142071"/>
                <a:gd name="connsiteY6" fmla="*/ 117125 h 222502"/>
                <a:gd name="connsiteX7" fmla="*/ 90363 w 142071"/>
                <a:gd name="connsiteY7" fmla="*/ 35667 h 222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071" h="222502">
                  <a:moveTo>
                    <a:pt x="90363" y="35667"/>
                  </a:moveTo>
                  <a:cubicBezTo>
                    <a:pt x="74084" y="44784"/>
                    <a:pt x="64652" y="85448"/>
                    <a:pt x="46770" y="87303"/>
                  </a:cubicBezTo>
                  <a:cubicBezTo>
                    <a:pt x="60879" y="67241"/>
                    <a:pt x="76358" y="38577"/>
                    <a:pt x="86151" y="26086"/>
                  </a:cubicBezTo>
                  <a:cubicBezTo>
                    <a:pt x="76280" y="19030"/>
                    <a:pt x="74704" y="-775"/>
                    <a:pt x="61396" y="-79"/>
                  </a:cubicBezTo>
                  <a:cubicBezTo>
                    <a:pt x="47365" y="22532"/>
                    <a:pt x="19302" y="64794"/>
                    <a:pt x="-27" y="95441"/>
                  </a:cubicBezTo>
                  <a:cubicBezTo>
                    <a:pt x="24082" y="136518"/>
                    <a:pt x="46254" y="189080"/>
                    <a:pt x="74316" y="222405"/>
                  </a:cubicBezTo>
                  <a:cubicBezTo>
                    <a:pt x="96333" y="190986"/>
                    <a:pt x="132328" y="143677"/>
                    <a:pt x="142044" y="117125"/>
                  </a:cubicBezTo>
                  <a:cubicBezTo>
                    <a:pt x="126178" y="109116"/>
                    <a:pt x="122586" y="76692"/>
                    <a:pt x="90363" y="35667"/>
                  </a:cubicBezTo>
                  <a:close/>
                </a:path>
              </a:pathLst>
            </a:custGeom>
            <a:grpFill/>
            <a:ln w="25598" cap="flat">
              <a:noFill/>
              <a:prstDash val="solid"/>
              <a:round/>
            </a:ln>
          </p:spPr>
          <p:txBody>
            <a:bodyPr rtlCol="0" anchor="ctr"/>
            <a:lstStyle/>
            <a:p>
              <a:endParaRPr lang="en-LT"/>
            </a:p>
          </p:txBody>
        </p:sp>
        <p:sp>
          <p:nvSpPr>
            <p:cNvPr id="238" name="Freeform 237">
              <a:extLst>
                <a:ext uri="{FF2B5EF4-FFF2-40B4-BE49-F238E27FC236}">
                  <a16:creationId xmlns:a16="http://schemas.microsoft.com/office/drawing/2014/main" id="{F8B3694A-77A1-3D43-8626-675789F1B569}"/>
                </a:ext>
              </a:extLst>
            </p:cNvPr>
            <p:cNvSpPr/>
            <p:nvPr/>
          </p:nvSpPr>
          <p:spPr>
            <a:xfrm rot="-1917689">
              <a:off x="5803477" y="3184122"/>
              <a:ext cx="111010" cy="234975"/>
            </a:xfrm>
            <a:custGeom>
              <a:avLst/>
              <a:gdLst>
                <a:gd name="connsiteX0" fmla="*/ 110994 w 111010"/>
                <a:gd name="connsiteY0" fmla="*/ 212879 h 234975"/>
                <a:gd name="connsiteX1" fmla="*/ 15772 w 111010"/>
                <a:gd name="connsiteY1" fmla="*/ -102 h 234975"/>
                <a:gd name="connsiteX2" fmla="*/ 25746 w 111010"/>
                <a:gd name="connsiteY2" fmla="*/ 65054 h 234975"/>
                <a:gd name="connsiteX3" fmla="*/ 54377 w 111010"/>
                <a:gd name="connsiteY3" fmla="*/ 128228 h 234975"/>
                <a:gd name="connsiteX4" fmla="*/ -17 w 111010"/>
                <a:gd name="connsiteY4" fmla="*/ 24415 h 234975"/>
                <a:gd name="connsiteX5" fmla="*/ 96833 w 111010"/>
                <a:gd name="connsiteY5" fmla="*/ 234873 h 234975"/>
                <a:gd name="connsiteX6" fmla="*/ 110994 w 111010"/>
                <a:gd name="connsiteY6" fmla="*/ 212879 h 2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010" h="234975">
                  <a:moveTo>
                    <a:pt x="110994" y="212879"/>
                  </a:moveTo>
                  <a:cubicBezTo>
                    <a:pt x="78849" y="141877"/>
                    <a:pt x="53344" y="69613"/>
                    <a:pt x="15772" y="-102"/>
                  </a:cubicBezTo>
                  <a:cubicBezTo>
                    <a:pt x="-3298" y="22921"/>
                    <a:pt x="17374" y="47568"/>
                    <a:pt x="25746" y="65054"/>
                  </a:cubicBezTo>
                  <a:cubicBezTo>
                    <a:pt x="36057" y="86661"/>
                    <a:pt x="49029" y="106955"/>
                    <a:pt x="54377" y="128228"/>
                  </a:cubicBezTo>
                  <a:cubicBezTo>
                    <a:pt x="34971" y="93898"/>
                    <a:pt x="22671" y="58024"/>
                    <a:pt x="-17" y="24415"/>
                  </a:cubicBezTo>
                  <a:cubicBezTo>
                    <a:pt x="23266" y="96473"/>
                    <a:pt x="66109" y="164308"/>
                    <a:pt x="96833" y="234873"/>
                  </a:cubicBezTo>
                  <a:cubicBezTo>
                    <a:pt x="101536" y="227507"/>
                    <a:pt x="106265" y="220193"/>
                    <a:pt x="110994" y="212879"/>
                  </a:cubicBezTo>
                  <a:close/>
                </a:path>
              </a:pathLst>
            </a:custGeom>
            <a:grpFill/>
            <a:ln w="25598" cap="flat">
              <a:noFill/>
              <a:prstDash val="solid"/>
              <a:round/>
            </a:ln>
          </p:spPr>
          <p:txBody>
            <a:bodyPr rtlCol="0" anchor="ctr"/>
            <a:lstStyle/>
            <a:p>
              <a:endParaRPr lang="en-LT"/>
            </a:p>
          </p:txBody>
        </p:sp>
      </p:grpSp>
      <p:grpSp>
        <p:nvGrpSpPr>
          <p:cNvPr id="239" name="Group 238">
            <a:extLst>
              <a:ext uri="{FF2B5EF4-FFF2-40B4-BE49-F238E27FC236}">
                <a16:creationId xmlns:a16="http://schemas.microsoft.com/office/drawing/2014/main" id="{55A4698C-AA75-FF48-9410-1AFC52459EE5}"/>
              </a:ext>
            </a:extLst>
          </p:cNvPr>
          <p:cNvGrpSpPr/>
          <p:nvPr/>
        </p:nvGrpSpPr>
        <p:grpSpPr>
          <a:xfrm>
            <a:off x="3004059" y="3808610"/>
            <a:ext cx="546081" cy="1285264"/>
            <a:chOff x="6136180" y="2021920"/>
            <a:chExt cx="1063695" cy="2503528"/>
          </a:xfrm>
        </p:grpSpPr>
        <p:sp>
          <p:nvSpPr>
            <p:cNvPr id="240" name="Freeform 239">
              <a:extLst>
                <a:ext uri="{FF2B5EF4-FFF2-40B4-BE49-F238E27FC236}">
                  <a16:creationId xmlns:a16="http://schemas.microsoft.com/office/drawing/2014/main" id="{EDCB9079-E0EE-044D-A38F-E8EE2D657B90}"/>
                </a:ext>
              </a:extLst>
            </p:cNvPr>
            <p:cNvSpPr/>
            <p:nvPr/>
          </p:nvSpPr>
          <p:spPr>
            <a:xfrm>
              <a:off x="6220308" y="2674119"/>
              <a:ext cx="194530" cy="512316"/>
            </a:xfrm>
            <a:custGeom>
              <a:avLst/>
              <a:gdLst>
                <a:gd name="connsiteX0" fmla="*/ 70802 w 71393"/>
                <a:gd name="connsiteY0" fmla="*/ 138873 h 188021"/>
                <a:gd name="connsiteX1" fmla="*/ 64456 w 71393"/>
                <a:gd name="connsiteY1" fmla="*/ 87599 h 188021"/>
                <a:gd name="connsiteX2" fmla="*/ 47485 w 71393"/>
                <a:gd name="connsiteY2" fmla="*/ -12 h 188021"/>
                <a:gd name="connsiteX3" fmla="*/ 47485 w 71393"/>
                <a:gd name="connsiteY3" fmla="*/ 12797 h 188021"/>
                <a:gd name="connsiteX4" fmla="*/ 46433 w 71393"/>
                <a:gd name="connsiteY4" fmla="*/ 4254 h 188021"/>
                <a:gd name="connsiteX5" fmla="*/ 26279 w 71393"/>
                <a:gd name="connsiteY5" fmla="*/ 30960 h 188021"/>
                <a:gd name="connsiteX6" fmla="*/ 24158 w 71393"/>
                <a:gd name="connsiteY6" fmla="*/ 27772 h 188021"/>
                <a:gd name="connsiteX7" fmla="*/ -220 w 71393"/>
                <a:gd name="connsiteY7" fmla="*/ 100408 h 188021"/>
                <a:gd name="connsiteX8" fmla="*/ 50657 w 71393"/>
                <a:gd name="connsiteY8" fmla="*/ 188009 h 188021"/>
                <a:gd name="connsiteX9" fmla="*/ 70802 w 71393"/>
                <a:gd name="connsiteY9" fmla="*/ 138873 h 188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393" h="188021">
                  <a:moveTo>
                    <a:pt x="70802" y="138873"/>
                  </a:moveTo>
                  <a:cubicBezTo>
                    <a:pt x="72548" y="123699"/>
                    <a:pt x="67760" y="104126"/>
                    <a:pt x="64456" y="87599"/>
                  </a:cubicBezTo>
                  <a:cubicBezTo>
                    <a:pt x="58655" y="58792"/>
                    <a:pt x="51136" y="31178"/>
                    <a:pt x="47485" y="-12"/>
                  </a:cubicBezTo>
                  <a:cubicBezTo>
                    <a:pt x="46001" y="5087"/>
                    <a:pt x="50169" y="10025"/>
                    <a:pt x="47485" y="12797"/>
                  </a:cubicBezTo>
                  <a:cubicBezTo>
                    <a:pt x="47710" y="9372"/>
                    <a:pt x="45617" y="8275"/>
                    <a:pt x="46433" y="4254"/>
                  </a:cubicBezTo>
                  <a:cubicBezTo>
                    <a:pt x="36943" y="10356"/>
                    <a:pt x="32390" y="21443"/>
                    <a:pt x="26279" y="30960"/>
                  </a:cubicBezTo>
                  <a:cubicBezTo>
                    <a:pt x="26176" y="29305"/>
                    <a:pt x="26420" y="27271"/>
                    <a:pt x="24158" y="27772"/>
                  </a:cubicBezTo>
                  <a:cubicBezTo>
                    <a:pt x="23088" y="59067"/>
                    <a:pt x="2624" y="70873"/>
                    <a:pt x="-220" y="100408"/>
                  </a:cubicBezTo>
                  <a:cubicBezTo>
                    <a:pt x="16198" y="130141"/>
                    <a:pt x="34906" y="157595"/>
                    <a:pt x="50657" y="188009"/>
                  </a:cubicBezTo>
                  <a:cubicBezTo>
                    <a:pt x="50545" y="167471"/>
                    <a:pt x="68690" y="157235"/>
                    <a:pt x="70802" y="138873"/>
                  </a:cubicBezTo>
                  <a:close/>
                </a:path>
              </a:pathLst>
            </a:custGeom>
            <a:solidFill>
              <a:schemeClr val="bg1"/>
            </a:solidFill>
            <a:ln w="9318" cap="flat">
              <a:noFill/>
              <a:prstDash val="solid"/>
              <a:round/>
            </a:ln>
          </p:spPr>
          <p:txBody>
            <a:bodyPr rtlCol="0" anchor="ctr"/>
            <a:lstStyle/>
            <a:p>
              <a:endParaRPr lang="en-LT"/>
            </a:p>
          </p:txBody>
        </p:sp>
        <p:sp>
          <p:nvSpPr>
            <p:cNvPr id="241" name="Freeform 240">
              <a:extLst>
                <a:ext uri="{FF2B5EF4-FFF2-40B4-BE49-F238E27FC236}">
                  <a16:creationId xmlns:a16="http://schemas.microsoft.com/office/drawing/2014/main" id="{9C488638-F54E-BA45-947D-06E70ADBB069}"/>
                </a:ext>
              </a:extLst>
            </p:cNvPr>
            <p:cNvSpPr/>
            <p:nvPr/>
          </p:nvSpPr>
          <p:spPr>
            <a:xfrm>
              <a:off x="6405359" y="3212650"/>
              <a:ext cx="10169" cy="72741"/>
            </a:xfrm>
            <a:custGeom>
              <a:avLst/>
              <a:gdLst>
                <a:gd name="connsiteX0" fmla="*/ 776 w 3732"/>
                <a:gd name="connsiteY0" fmla="*/ 26684 h 26696"/>
                <a:gd name="connsiteX1" fmla="*/ 2888 w 3732"/>
                <a:gd name="connsiteY1" fmla="*/ -12 h 26696"/>
                <a:gd name="connsiteX2" fmla="*/ 776 w 3732"/>
                <a:gd name="connsiteY2" fmla="*/ 26684 h 26696"/>
              </a:gdLst>
              <a:ahLst/>
              <a:cxnLst>
                <a:cxn ang="0">
                  <a:pos x="connsiteX0" y="connsiteY0"/>
                </a:cxn>
                <a:cxn ang="0">
                  <a:pos x="connsiteX1" y="connsiteY1"/>
                </a:cxn>
                <a:cxn ang="0">
                  <a:pos x="connsiteX2" y="connsiteY2"/>
                </a:cxn>
              </a:cxnLst>
              <a:rect l="l" t="t" r="r" b="b"/>
              <a:pathLst>
                <a:path w="3732" h="26696">
                  <a:moveTo>
                    <a:pt x="776" y="26684"/>
                  </a:moveTo>
                  <a:cubicBezTo>
                    <a:pt x="851" y="17839"/>
                    <a:pt x="5066" y="7528"/>
                    <a:pt x="2888" y="-12"/>
                  </a:cubicBezTo>
                  <a:cubicBezTo>
                    <a:pt x="2391" y="8379"/>
                    <a:pt x="-2199" y="18322"/>
                    <a:pt x="776" y="26684"/>
                  </a:cubicBezTo>
                  <a:close/>
                </a:path>
              </a:pathLst>
            </a:custGeom>
            <a:solidFill>
              <a:schemeClr val="bg1"/>
            </a:solidFill>
            <a:ln w="9318" cap="flat">
              <a:noFill/>
              <a:prstDash val="solid"/>
              <a:round/>
            </a:ln>
          </p:spPr>
          <p:txBody>
            <a:bodyPr rtlCol="0" anchor="ctr"/>
            <a:lstStyle/>
            <a:p>
              <a:endParaRPr lang="en-LT"/>
            </a:p>
          </p:txBody>
        </p:sp>
        <p:sp>
          <p:nvSpPr>
            <p:cNvPr id="242" name="Freeform 241">
              <a:extLst>
                <a:ext uri="{FF2B5EF4-FFF2-40B4-BE49-F238E27FC236}">
                  <a16:creationId xmlns:a16="http://schemas.microsoft.com/office/drawing/2014/main" id="{DCF64BD0-99CC-8141-8815-68432CA759D8}"/>
                </a:ext>
              </a:extLst>
            </p:cNvPr>
            <p:cNvSpPr/>
            <p:nvPr/>
          </p:nvSpPr>
          <p:spPr>
            <a:xfrm>
              <a:off x="6419609" y="3110765"/>
              <a:ext cx="219503" cy="47567"/>
            </a:xfrm>
            <a:custGeom>
              <a:avLst/>
              <a:gdLst>
                <a:gd name="connsiteX0" fmla="*/ 54910 w 80558"/>
                <a:gd name="connsiteY0" fmla="*/ 6389 h 17457"/>
                <a:gd name="connsiteX1" fmla="*/ 59134 w 80558"/>
                <a:gd name="connsiteY1" fmla="*/ 7458 h 17457"/>
                <a:gd name="connsiteX2" fmla="*/ 54910 w 80558"/>
                <a:gd name="connsiteY2" fmla="*/ 7458 h 17457"/>
                <a:gd name="connsiteX3" fmla="*/ 33695 w 80558"/>
                <a:gd name="connsiteY3" fmla="*/ 9596 h 17457"/>
                <a:gd name="connsiteX4" fmla="*/ 31583 w 80558"/>
                <a:gd name="connsiteY4" fmla="*/ 7458 h 17457"/>
                <a:gd name="connsiteX5" fmla="*/ 54910 w 80558"/>
                <a:gd name="connsiteY5" fmla="*/ 6389 h 17457"/>
                <a:gd name="connsiteX6" fmla="*/ 16733 w 80558"/>
                <a:gd name="connsiteY6" fmla="*/ 17069 h 17457"/>
                <a:gd name="connsiteX7" fmla="*/ 17794 w 80558"/>
                <a:gd name="connsiteY7" fmla="*/ 11734 h 17457"/>
                <a:gd name="connsiteX8" fmla="*/ 80339 w 80558"/>
                <a:gd name="connsiteY8" fmla="*/ 2122 h 17457"/>
                <a:gd name="connsiteX9" fmla="*/ 8266 w 80558"/>
                <a:gd name="connsiteY9" fmla="*/ 1053 h 17457"/>
                <a:gd name="connsiteX10" fmla="*/ 8266 w 80558"/>
                <a:gd name="connsiteY10" fmla="*/ 2122 h 17457"/>
                <a:gd name="connsiteX11" fmla="*/ 30503 w 80558"/>
                <a:gd name="connsiteY11" fmla="*/ 5329 h 17457"/>
                <a:gd name="connsiteX12" fmla="*/ 30503 w 80558"/>
                <a:gd name="connsiteY12" fmla="*/ 9596 h 17457"/>
                <a:gd name="connsiteX13" fmla="*/ 14621 w 80558"/>
                <a:gd name="connsiteY13" fmla="*/ 6389 h 17457"/>
                <a:gd name="connsiteX14" fmla="*/ -220 w 80558"/>
                <a:gd name="connsiteY14" fmla="*/ 7458 h 17457"/>
                <a:gd name="connsiteX15" fmla="*/ 11439 w 80558"/>
                <a:gd name="connsiteY15" fmla="*/ 11734 h 17457"/>
                <a:gd name="connsiteX16" fmla="*/ 16733 w 80558"/>
                <a:gd name="connsiteY16" fmla="*/ 17069 h 1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0558" h="17457">
                  <a:moveTo>
                    <a:pt x="54910" y="6389"/>
                  </a:moveTo>
                  <a:cubicBezTo>
                    <a:pt x="56580" y="6483"/>
                    <a:pt x="58927" y="5878"/>
                    <a:pt x="59134" y="7458"/>
                  </a:cubicBezTo>
                  <a:lnTo>
                    <a:pt x="54910" y="7458"/>
                  </a:lnTo>
                  <a:cubicBezTo>
                    <a:pt x="49503" y="9870"/>
                    <a:pt x="38839" y="6947"/>
                    <a:pt x="33695" y="9596"/>
                  </a:cubicBezTo>
                  <a:cubicBezTo>
                    <a:pt x="32766" y="9113"/>
                    <a:pt x="31818" y="8650"/>
                    <a:pt x="31583" y="7458"/>
                  </a:cubicBezTo>
                  <a:cubicBezTo>
                    <a:pt x="36352" y="1867"/>
                    <a:pt x="46630" y="8432"/>
                    <a:pt x="54910" y="6389"/>
                  </a:cubicBezTo>
                  <a:close/>
                  <a:moveTo>
                    <a:pt x="16733" y="17069"/>
                  </a:moveTo>
                  <a:cubicBezTo>
                    <a:pt x="20262" y="16729"/>
                    <a:pt x="13945" y="12405"/>
                    <a:pt x="17794" y="11734"/>
                  </a:cubicBezTo>
                  <a:cubicBezTo>
                    <a:pt x="42491" y="12405"/>
                    <a:pt x="62992" y="8848"/>
                    <a:pt x="80339" y="2122"/>
                  </a:cubicBezTo>
                  <a:cubicBezTo>
                    <a:pt x="63424" y="7562"/>
                    <a:pt x="30654" y="3570"/>
                    <a:pt x="8266" y="1053"/>
                  </a:cubicBezTo>
                  <a:cubicBezTo>
                    <a:pt x="6173" y="-1463"/>
                    <a:pt x="6173" y="1138"/>
                    <a:pt x="8266" y="2122"/>
                  </a:cubicBezTo>
                  <a:cubicBezTo>
                    <a:pt x="15944" y="2917"/>
                    <a:pt x="24430" y="2917"/>
                    <a:pt x="30503" y="5329"/>
                  </a:cubicBezTo>
                  <a:lnTo>
                    <a:pt x="30503" y="9596"/>
                  </a:lnTo>
                  <a:cubicBezTo>
                    <a:pt x="25097" y="8650"/>
                    <a:pt x="15278" y="12131"/>
                    <a:pt x="14621" y="6389"/>
                  </a:cubicBezTo>
                  <a:cubicBezTo>
                    <a:pt x="10791" y="13068"/>
                    <a:pt x="4558" y="4951"/>
                    <a:pt x="-220" y="7458"/>
                  </a:cubicBezTo>
                  <a:cubicBezTo>
                    <a:pt x="3563" y="8990"/>
                    <a:pt x="6604" y="11251"/>
                    <a:pt x="11439" y="11734"/>
                  </a:cubicBezTo>
                  <a:cubicBezTo>
                    <a:pt x="13025" y="13683"/>
                    <a:pt x="11410" y="18876"/>
                    <a:pt x="16733" y="17069"/>
                  </a:cubicBezTo>
                  <a:close/>
                </a:path>
              </a:pathLst>
            </a:custGeom>
            <a:solidFill>
              <a:schemeClr val="bg1"/>
            </a:solidFill>
            <a:ln w="9318" cap="flat">
              <a:noFill/>
              <a:prstDash val="solid"/>
              <a:round/>
            </a:ln>
          </p:spPr>
          <p:txBody>
            <a:bodyPr rtlCol="0" anchor="ctr"/>
            <a:lstStyle/>
            <a:p>
              <a:endParaRPr lang="en-LT"/>
            </a:p>
          </p:txBody>
        </p:sp>
        <p:sp>
          <p:nvSpPr>
            <p:cNvPr id="243" name="Freeform 242">
              <a:extLst>
                <a:ext uri="{FF2B5EF4-FFF2-40B4-BE49-F238E27FC236}">
                  <a16:creationId xmlns:a16="http://schemas.microsoft.com/office/drawing/2014/main" id="{F18ADC87-9343-E749-A018-E8BF318CD142}"/>
                </a:ext>
              </a:extLst>
            </p:cNvPr>
            <p:cNvSpPr/>
            <p:nvPr/>
          </p:nvSpPr>
          <p:spPr>
            <a:xfrm>
              <a:off x="6789253" y="2583847"/>
              <a:ext cx="15087" cy="142108"/>
            </a:xfrm>
            <a:custGeom>
              <a:avLst/>
              <a:gdLst>
                <a:gd name="connsiteX0" fmla="*/ -220 w 5537"/>
                <a:gd name="connsiteY0" fmla="*/ 52142 h 52154"/>
                <a:gd name="connsiteX1" fmla="*/ 5102 w 5537"/>
                <a:gd name="connsiteY1" fmla="*/ -12 h 52154"/>
                <a:gd name="connsiteX2" fmla="*/ -220 w 5537"/>
                <a:gd name="connsiteY2" fmla="*/ 52142 h 52154"/>
              </a:gdLst>
              <a:ahLst/>
              <a:cxnLst>
                <a:cxn ang="0">
                  <a:pos x="connsiteX0" y="connsiteY0"/>
                </a:cxn>
                <a:cxn ang="0">
                  <a:pos x="connsiteX1" y="connsiteY1"/>
                </a:cxn>
                <a:cxn ang="0">
                  <a:pos x="connsiteX2" y="connsiteY2"/>
                </a:cxn>
              </a:cxnLst>
              <a:rect l="l" t="t" r="r" b="b"/>
              <a:pathLst>
                <a:path w="5537" h="52154">
                  <a:moveTo>
                    <a:pt x="-220" y="52142"/>
                  </a:moveTo>
                  <a:cubicBezTo>
                    <a:pt x="1911" y="34924"/>
                    <a:pt x="6342" y="16988"/>
                    <a:pt x="5102" y="-12"/>
                  </a:cubicBezTo>
                  <a:cubicBezTo>
                    <a:pt x="2408" y="16449"/>
                    <a:pt x="794" y="33988"/>
                    <a:pt x="-220" y="52142"/>
                  </a:cubicBezTo>
                  <a:close/>
                </a:path>
              </a:pathLst>
            </a:custGeom>
            <a:solidFill>
              <a:schemeClr val="bg1"/>
            </a:solidFill>
            <a:ln w="9318" cap="flat">
              <a:noFill/>
              <a:prstDash val="solid"/>
              <a:round/>
            </a:ln>
          </p:spPr>
          <p:txBody>
            <a:bodyPr rtlCol="0" anchor="ctr"/>
            <a:lstStyle/>
            <a:p>
              <a:endParaRPr lang="en-LT"/>
            </a:p>
          </p:txBody>
        </p:sp>
        <p:sp>
          <p:nvSpPr>
            <p:cNvPr id="244" name="Freeform 243">
              <a:extLst>
                <a:ext uri="{FF2B5EF4-FFF2-40B4-BE49-F238E27FC236}">
                  <a16:creationId xmlns:a16="http://schemas.microsoft.com/office/drawing/2014/main" id="{628F9E9D-342E-8145-9843-03B98E31C11B}"/>
                </a:ext>
              </a:extLst>
            </p:cNvPr>
            <p:cNvSpPr/>
            <p:nvPr/>
          </p:nvSpPr>
          <p:spPr>
            <a:xfrm>
              <a:off x="6845280" y="3780260"/>
              <a:ext cx="8024" cy="20681"/>
            </a:xfrm>
            <a:custGeom>
              <a:avLst/>
              <a:gdLst>
                <a:gd name="connsiteX0" fmla="*/ 2554 w 2945"/>
                <a:gd name="connsiteY0" fmla="*/ -12 h 7590"/>
                <a:gd name="connsiteX1" fmla="*/ 2554 w 2945"/>
                <a:gd name="connsiteY1" fmla="*/ -12 h 7590"/>
              </a:gdLst>
              <a:ahLst/>
              <a:cxnLst>
                <a:cxn ang="0">
                  <a:pos x="connsiteX0" y="connsiteY0"/>
                </a:cxn>
                <a:cxn ang="0">
                  <a:pos x="connsiteX1" y="connsiteY1"/>
                </a:cxn>
              </a:cxnLst>
              <a:rect l="l" t="t" r="r" b="b"/>
              <a:pathLst>
                <a:path w="2945" h="7590">
                  <a:moveTo>
                    <a:pt x="2554" y="-12"/>
                  </a:moveTo>
                  <a:cubicBezTo>
                    <a:pt x="-4355" y="14121"/>
                    <a:pt x="3999" y="5144"/>
                    <a:pt x="2554" y="-12"/>
                  </a:cubicBezTo>
                  <a:close/>
                </a:path>
              </a:pathLst>
            </a:custGeom>
            <a:solidFill>
              <a:schemeClr val="bg1"/>
            </a:solidFill>
            <a:ln w="9318" cap="flat">
              <a:noFill/>
              <a:prstDash val="solid"/>
              <a:round/>
            </a:ln>
          </p:spPr>
          <p:txBody>
            <a:bodyPr rtlCol="0" anchor="ctr"/>
            <a:lstStyle/>
            <a:p>
              <a:endParaRPr lang="en-LT"/>
            </a:p>
          </p:txBody>
        </p:sp>
        <p:sp>
          <p:nvSpPr>
            <p:cNvPr id="245" name="Freeform 244">
              <a:extLst>
                <a:ext uri="{FF2B5EF4-FFF2-40B4-BE49-F238E27FC236}">
                  <a16:creationId xmlns:a16="http://schemas.microsoft.com/office/drawing/2014/main" id="{9C52EBF7-C518-0F42-AC48-7C00C0A9D963}"/>
                </a:ext>
              </a:extLst>
            </p:cNvPr>
            <p:cNvSpPr/>
            <p:nvPr/>
          </p:nvSpPr>
          <p:spPr>
            <a:xfrm>
              <a:off x="7024881" y="3853029"/>
              <a:ext cx="18608" cy="20338"/>
            </a:xfrm>
            <a:custGeom>
              <a:avLst/>
              <a:gdLst>
                <a:gd name="connsiteX0" fmla="*/ 245 w 6829"/>
                <a:gd name="connsiteY0" fmla="*/ 7452 h 7464"/>
                <a:gd name="connsiteX1" fmla="*/ 6610 w 6829"/>
                <a:gd name="connsiteY1" fmla="*/ -12 h 7464"/>
                <a:gd name="connsiteX2" fmla="*/ 245 w 6829"/>
                <a:gd name="connsiteY2" fmla="*/ 7452 h 7464"/>
              </a:gdLst>
              <a:ahLst/>
              <a:cxnLst>
                <a:cxn ang="0">
                  <a:pos x="connsiteX0" y="connsiteY0"/>
                </a:cxn>
                <a:cxn ang="0">
                  <a:pos x="connsiteX1" y="connsiteY1"/>
                </a:cxn>
                <a:cxn ang="0">
                  <a:pos x="connsiteX2" y="connsiteY2"/>
                </a:cxn>
              </a:cxnLst>
              <a:rect l="l" t="t" r="r" b="b"/>
              <a:pathLst>
                <a:path w="6829" h="7464">
                  <a:moveTo>
                    <a:pt x="245" y="7452"/>
                  </a:moveTo>
                  <a:cubicBezTo>
                    <a:pt x="1710" y="4311"/>
                    <a:pt x="5155" y="3138"/>
                    <a:pt x="6610" y="-12"/>
                  </a:cubicBezTo>
                  <a:cubicBezTo>
                    <a:pt x="3475" y="792"/>
                    <a:pt x="-1820" y="4945"/>
                    <a:pt x="245" y="7452"/>
                  </a:cubicBezTo>
                  <a:close/>
                </a:path>
              </a:pathLst>
            </a:custGeom>
            <a:solidFill>
              <a:schemeClr val="bg1"/>
            </a:solidFill>
            <a:ln w="9318" cap="flat">
              <a:noFill/>
              <a:prstDash val="solid"/>
              <a:round/>
            </a:ln>
          </p:spPr>
          <p:txBody>
            <a:bodyPr rtlCol="0" anchor="ctr"/>
            <a:lstStyle/>
            <a:p>
              <a:endParaRPr lang="en-LT"/>
            </a:p>
          </p:txBody>
        </p:sp>
        <p:sp>
          <p:nvSpPr>
            <p:cNvPr id="246" name="Freeform 245">
              <a:extLst>
                <a:ext uri="{FF2B5EF4-FFF2-40B4-BE49-F238E27FC236}">
                  <a16:creationId xmlns:a16="http://schemas.microsoft.com/office/drawing/2014/main" id="{DC8B5CF4-F0F4-694D-8D87-090408514424}"/>
                </a:ext>
              </a:extLst>
            </p:cNvPr>
            <p:cNvSpPr/>
            <p:nvPr/>
          </p:nvSpPr>
          <p:spPr>
            <a:xfrm>
              <a:off x="7080549" y="3786062"/>
              <a:ext cx="21594" cy="26471"/>
            </a:xfrm>
            <a:custGeom>
              <a:avLst/>
              <a:gdLst>
                <a:gd name="connsiteX0" fmla="*/ 7366 w 7925"/>
                <a:gd name="connsiteY0" fmla="*/ -12 h 9715"/>
                <a:gd name="connsiteX1" fmla="*/ -49 w 7925"/>
                <a:gd name="connsiteY1" fmla="*/ 9599 h 9715"/>
                <a:gd name="connsiteX2" fmla="*/ 7366 w 7925"/>
                <a:gd name="connsiteY2" fmla="*/ -12 h 9715"/>
              </a:gdLst>
              <a:ahLst/>
              <a:cxnLst>
                <a:cxn ang="0">
                  <a:pos x="connsiteX0" y="connsiteY0"/>
                </a:cxn>
                <a:cxn ang="0">
                  <a:pos x="connsiteX1" y="connsiteY1"/>
                </a:cxn>
                <a:cxn ang="0">
                  <a:pos x="connsiteX2" y="connsiteY2"/>
                </a:cxn>
              </a:cxnLst>
              <a:rect l="l" t="t" r="r" b="b"/>
              <a:pathLst>
                <a:path w="7925" h="9715">
                  <a:moveTo>
                    <a:pt x="7366" y="-12"/>
                  </a:moveTo>
                  <a:cubicBezTo>
                    <a:pt x="4175" y="1359"/>
                    <a:pt x="-1251" y="10791"/>
                    <a:pt x="-49" y="9599"/>
                  </a:cubicBezTo>
                  <a:cubicBezTo>
                    <a:pt x="2372" y="6998"/>
                    <a:pt x="9310" y="3403"/>
                    <a:pt x="7366" y="-12"/>
                  </a:cubicBezTo>
                  <a:close/>
                </a:path>
              </a:pathLst>
            </a:custGeom>
            <a:solidFill>
              <a:schemeClr val="bg1"/>
            </a:solidFill>
            <a:ln w="9318" cap="flat">
              <a:noFill/>
              <a:prstDash val="solid"/>
              <a:round/>
            </a:ln>
          </p:spPr>
          <p:txBody>
            <a:bodyPr rtlCol="0" anchor="ctr"/>
            <a:lstStyle/>
            <a:p>
              <a:endParaRPr lang="en-LT"/>
            </a:p>
          </p:txBody>
        </p:sp>
        <p:sp>
          <p:nvSpPr>
            <p:cNvPr id="247" name="Freeform 246">
              <a:extLst>
                <a:ext uri="{FF2B5EF4-FFF2-40B4-BE49-F238E27FC236}">
                  <a16:creationId xmlns:a16="http://schemas.microsoft.com/office/drawing/2014/main" id="{BFCBB474-5631-2D4C-8D55-85C87F3D36C6}"/>
                </a:ext>
              </a:extLst>
            </p:cNvPr>
            <p:cNvSpPr/>
            <p:nvPr/>
          </p:nvSpPr>
          <p:spPr>
            <a:xfrm>
              <a:off x="6893002" y="3981115"/>
              <a:ext cx="14725" cy="11891"/>
            </a:xfrm>
            <a:custGeom>
              <a:avLst/>
              <a:gdLst>
                <a:gd name="connsiteX0" fmla="*/ 4133 w 5404"/>
                <a:gd name="connsiteY0" fmla="*/ 4254 h 4364"/>
                <a:gd name="connsiteX1" fmla="*/ 5184 w 5404"/>
                <a:gd name="connsiteY1" fmla="*/ 1057 h 4364"/>
                <a:gd name="connsiteX2" fmla="*/ -129 w 5404"/>
                <a:gd name="connsiteY2" fmla="*/ -12 h 4364"/>
                <a:gd name="connsiteX3" fmla="*/ 4133 w 5404"/>
                <a:gd name="connsiteY3" fmla="*/ 4254 h 4364"/>
              </a:gdLst>
              <a:ahLst/>
              <a:cxnLst>
                <a:cxn ang="0">
                  <a:pos x="connsiteX0" y="connsiteY0"/>
                </a:cxn>
                <a:cxn ang="0">
                  <a:pos x="connsiteX1" y="connsiteY1"/>
                </a:cxn>
                <a:cxn ang="0">
                  <a:pos x="connsiteX2" y="connsiteY2"/>
                </a:cxn>
                <a:cxn ang="0">
                  <a:pos x="connsiteX3" y="connsiteY3"/>
                </a:cxn>
              </a:cxnLst>
              <a:rect l="l" t="t" r="r" b="b"/>
              <a:pathLst>
                <a:path w="5404" h="4364">
                  <a:moveTo>
                    <a:pt x="4133" y="4254"/>
                  </a:moveTo>
                  <a:cubicBezTo>
                    <a:pt x="4076" y="2760"/>
                    <a:pt x="4630" y="1918"/>
                    <a:pt x="5184" y="1057"/>
                  </a:cubicBezTo>
                  <a:cubicBezTo>
                    <a:pt x="2725" y="1369"/>
                    <a:pt x="1110" y="877"/>
                    <a:pt x="-129" y="-12"/>
                  </a:cubicBezTo>
                  <a:cubicBezTo>
                    <a:pt x="-608" y="3327"/>
                    <a:pt x="800" y="4756"/>
                    <a:pt x="4133" y="4254"/>
                  </a:cubicBezTo>
                  <a:close/>
                </a:path>
              </a:pathLst>
            </a:custGeom>
            <a:solidFill>
              <a:schemeClr val="bg1"/>
            </a:solidFill>
            <a:ln w="9318" cap="flat">
              <a:noFill/>
              <a:prstDash val="solid"/>
              <a:round/>
            </a:ln>
          </p:spPr>
          <p:txBody>
            <a:bodyPr rtlCol="0" anchor="ctr"/>
            <a:lstStyle/>
            <a:p>
              <a:endParaRPr lang="en-LT"/>
            </a:p>
          </p:txBody>
        </p:sp>
        <p:sp>
          <p:nvSpPr>
            <p:cNvPr id="248" name="Freeform 247">
              <a:extLst>
                <a:ext uri="{FF2B5EF4-FFF2-40B4-BE49-F238E27FC236}">
                  <a16:creationId xmlns:a16="http://schemas.microsoft.com/office/drawing/2014/main" id="{158CFF46-6682-DC45-804B-3F5475500639}"/>
                </a:ext>
              </a:extLst>
            </p:cNvPr>
            <p:cNvSpPr/>
            <p:nvPr/>
          </p:nvSpPr>
          <p:spPr>
            <a:xfrm>
              <a:off x="6883882" y="3835527"/>
              <a:ext cx="9232" cy="26240"/>
            </a:xfrm>
            <a:custGeom>
              <a:avLst/>
              <a:gdLst>
                <a:gd name="connsiteX0" fmla="*/ 2157 w 3388"/>
                <a:gd name="connsiteY0" fmla="*/ -12 h 9630"/>
                <a:gd name="connsiteX1" fmla="*/ 1106 w 3388"/>
                <a:gd name="connsiteY1" fmla="*/ 9618 h 9630"/>
                <a:gd name="connsiteX2" fmla="*/ 2157 w 3388"/>
                <a:gd name="connsiteY2" fmla="*/ -12 h 9630"/>
              </a:gdLst>
              <a:ahLst/>
              <a:cxnLst>
                <a:cxn ang="0">
                  <a:pos x="connsiteX0" y="connsiteY0"/>
                </a:cxn>
                <a:cxn ang="0">
                  <a:pos x="connsiteX1" y="connsiteY1"/>
                </a:cxn>
                <a:cxn ang="0">
                  <a:pos x="connsiteX2" y="connsiteY2"/>
                </a:cxn>
              </a:cxnLst>
              <a:rect l="l" t="t" r="r" b="b"/>
              <a:pathLst>
                <a:path w="3388" h="9630">
                  <a:moveTo>
                    <a:pt x="2157" y="-12"/>
                  </a:moveTo>
                  <a:cubicBezTo>
                    <a:pt x="1697" y="2438"/>
                    <a:pt x="-2217" y="6865"/>
                    <a:pt x="1106" y="9618"/>
                  </a:cubicBezTo>
                  <a:cubicBezTo>
                    <a:pt x="186" y="5749"/>
                    <a:pt x="5246" y="2485"/>
                    <a:pt x="2157" y="-12"/>
                  </a:cubicBezTo>
                  <a:close/>
                </a:path>
              </a:pathLst>
            </a:custGeom>
            <a:solidFill>
              <a:schemeClr val="bg1"/>
            </a:solidFill>
            <a:ln w="9318" cap="flat">
              <a:noFill/>
              <a:prstDash val="solid"/>
              <a:round/>
            </a:ln>
          </p:spPr>
          <p:txBody>
            <a:bodyPr rtlCol="0" anchor="ctr"/>
            <a:lstStyle/>
            <a:p>
              <a:endParaRPr lang="en-LT"/>
            </a:p>
          </p:txBody>
        </p:sp>
        <p:sp>
          <p:nvSpPr>
            <p:cNvPr id="249" name="Freeform 248">
              <a:extLst>
                <a:ext uri="{FF2B5EF4-FFF2-40B4-BE49-F238E27FC236}">
                  <a16:creationId xmlns:a16="http://schemas.microsoft.com/office/drawing/2014/main" id="{DFB51CC6-BC33-514F-BC74-4F2C99BEF255}"/>
                </a:ext>
              </a:extLst>
            </p:cNvPr>
            <p:cNvSpPr/>
            <p:nvPr/>
          </p:nvSpPr>
          <p:spPr>
            <a:xfrm>
              <a:off x="6382571" y="3372366"/>
              <a:ext cx="26114" cy="26986"/>
            </a:xfrm>
            <a:custGeom>
              <a:avLst/>
              <a:gdLst>
                <a:gd name="connsiteX0" fmla="*/ -220 w 9584"/>
                <a:gd name="connsiteY0" fmla="*/ 9893 h 9904"/>
                <a:gd name="connsiteX1" fmla="*/ 9364 w 9584"/>
                <a:gd name="connsiteY1" fmla="*/ -12 h 9904"/>
                <a:gd name="connsiteX2" fmla="*/ -220 w 9584"/>
                <a:gd name="connsiteY2" fmla="*/ 9893 h 9904"/>
              </a:gdLst>
              <a:ahLst/>
              <a:cxnLst>
                <a:cxn ang="0">
                  <a:pos x="connsiteX0" y="connsiteY0"/>
                </a:cxn>
                <a:cxn ang="0">
                  <a:pos x="connsiteX1" y="connsiteY1"/>
                </a:cxn>
                <a:cxn ang="0">
                  <a:pos x="connsiteX2" y="connsiteY2"/>
                </a:cxn>
              </a:cxnLst>
              <a:rect l="l" t="t" r="r" b="b"/>
              <a:pathLst>
                <a:path w="9584" h="9904">
                  <a:moveTo>
                    <a:pt x="-220" y="9893"/>
                  </a:moveTo>
                  <a:cubicBezTo>
                    <a:pt x="3000" y="6563"/>
                    <a:pt x="6191" y="3233"/>
                    <a:pt x="9364" y="-12"/>
                  </a:cubicBezTo>
                  <a:cubicBezTo>
                    <a:pt x="5590" y="2958"/>
                    <a:pt x="2099" y="6118"/>
                    <a:pt x="-220" y="9893"/>
                  </a:cubicBezTo>
                  <a:close/>
                </a:path>
              </a:pathLst>
            </a:custGeom>
            <a:solidFill>
              <a:schemeClr val="bg1"/>
            </a:solidFill>
            <a:ln w="9318" cap="flat">
              <a:noFill/>
              <a:prstDash val="solid"/>
              <a:round/>
            </a:ln>
          </p:spPr>
          <p:txBody>
            <a:bodyPr rtlCol="0" anchor="ctr"/>
            <a:lstStyle/>
            <a:p>
              <a:endParaRPr lang="en-LT"/>
            </a:p>
          </p:txBody>
        </p:sp>
        <p:sp>
          <p:nvSpPr>
            <p:cNvPr id="250" name="Freeform 249">
              <a:extLst>
                <a:ext uri="{FF2B5EF4-FFF2-40B4-BE49-F238E27FC236}">
                  <a16:creationId xmlns:a16="http://schemas.microsoft.com/office/drawing/2014/main" id="{2205957C-4732-7147-BA18-540D9203CF5A}"/>
                </a:ext>
              </a:extLst>
            </p:cNvPr>
            <p:cNvSpPr/>
            <p:nvPr/>
          </p:nvSpPr>
          <p:spPr>
            <a:xfrm>
              <a:off x="6786468" y="2725955"/>
              <a:ext cx="2782" cy="54389"/>
            </a:xfrm>
            <a:custGeom>
              <a:avLst/>
              <a:gdLst>
                <a:gd name="connsiteX0" fmla="*/ -71 w 1021"/>
                <a:gd name="connsiteY0" fmla="*/ 19949 h 19961"/>
                <a:gd name="connsiteX1" fmla="*/ 802 w 1021"/>
                <a:gd name="connsiteY1" fmla="*/ -12 h 19961"/>
                <a:gd name="connsiteX2" fmla="*/ -71 w 1021"/>
                <a:gd name="connsiteY2" fmla="*/ 19949 h 19961"/>
              </a:gdLst>
              <a:ahLst/>
              <a:cxnLst>
                <a:cxn ang="0">
                  <a:pos x="connsiteX0" y="connsiteY0"/>
                </a:cxn>
                <a:cxn ang="0">
                  <a:pos x="connsiteX1" y="connsiteY1"/>
                </a:cxn>
                <a:cxn ang="0">
                  <a:pos x="connsiteX2" y="connsiteY2"/>
                </a:cxn>
              </a:cxnLst>
              <a:rect l="l" t="t" r="r" b="b"/>
              <a:pathLst>
                <a:path w="1021" h="19961">
                  <a:moveTo>
                    <a:pt x="-71" y="19949"/>
                  </a:moveTo>
                  <a:cubicBezTo>
                    <a:pt x="145" y="13213"/>
                    <a:pt x="436" y="6563"/>
                    <a:pt x="802" y="-12"/>
                  </a:cubicBezTo>
                  <a:cubicBezTo>
                    <a:pt x="-43" y="6790"/>
                    <a:pt x="-465" y="13469"/>
                    <a:pt x="-71" y="19949"/>
                  </a:cubicBezTo>
                  <a:close/>
                </a:path>
              </a:pathLst>
            </a:custGeom>
            <a:solidFill>
              <a:schemeClr val="bg1"/>
            </a:solidFill>
            <a:ln w="9318" cap="flat">
              <a:noFill/>
              <a:prstDash val="solid"/>
              <a:round/>
            </a:ln>
          </p:spPr>
          <p:txBody>
            <a:bodyPr rtlCol="0" anchor="ctr"/>
            <a:lstStyle/>
            <a:p>
              <a:endParaRPr lang="en-LT"/>
            </a:p>
          </p:txBody>
        </p:sp>
        <p:sp>
          <p:nvSpPr>
            <p:cNvPr id="251" name="Freeform 250">
              <a:extLst>
                <a:ext uri="{FF2B5EF4-FFF2-40B4-BE49-F238E27FC236}">
                  <a16:creationId xmlns:a16="http://schemas.microsoft.com/office/drawing/2014/main" id="{BB1B515A-A09C-1B4A-9398-338AE35552DF}"/>
                </a:ext>
              </a:extLst>
            </p:cNvPr>
            <p:cNvSpPr/>
            <p:nvPr/>
          </p:nvSpPr>
          <p:spPr>
            <a:xfrm>
              <a:off x="6552159" y="3547341"/>
              <a:ext cx="6101" cy="29101"/>
            </a:xfrm>
            <a:custGeom>
              <a:avLst/>
              <a:gdLst>
                <a:gd name="connsiteX0" fmla="*/ 2020 w 2239"/>
                <a:gd name="connsiteY0" fmla="*/ 10668 h 10680"/>
                <a:gd name="connsiteX1" fmla="*/ -101 w 2239"/>
                <a:gd name="connsiteY1" fmla="*/ -12 h 10680"/>
                <a:gd name="connsiteX2" fmla="*/ 2020 w 2239"/>
                <a:gd name="connsiteY2" fmla="*/ 10668 h 10680"/>
              </a:gdLst>
              <a:ahLst/>
              <a:cxnLst>
                <a:cxn ang="0">
                  <a:pos x="connsiteX0" y="connsiteY0"/>
                </a:cxn>
                <a:cxn ang="0">
                  <a:pos x="connsiteX1" y="connsiteY1"/>
                </a:cxn>
                <a:cxn ang="0">
                  <a:pos x="connsiteX2" y="connsiteY2"/>
                </a:cxn>
              </a:cxnLst>
              <a:rect l="l" t="t" r="r" b="b"/>
              <a:pathLst>
                <a:path w="2239" h="10680">
                  <a:moveTo>
                    <a:pt x="2020" y="10668"/>
                  </a:moveTo>
                  <a:cubicBezTo>
                    <a:pt x="1935" y="6487"/>
                    <a:pt x="1494" y="2646"/>
                    <a:pt x="-101" y="-12"/>
                  </a:cubicBezTo>
                  <a:cubicBezTo>
                    <a:pt x="452" y="3687"/>
                    <a:pt x="-1678" y="10139"/>
                    <a:pt x="2020" y="10668"/>
                  </a:cubicBezTo>
                  <a:close/>
                </a:path>
              </a:pathLst>
            </a:custGeom>
            <a:solidFill>
              <a:schemeClr val="bg1"/>
            </a:solidFill>
            <a:ln w="9318" cap="flat">
              <a:noFill/>
              <a:prstDash val="solid"/>
              <a:round/>
            </a:ln>
          </p:spPr>
          <p:txBody>
            <a:bodyPr rtlCol="0" anchor="ctr"/>
            <a:lstStyle/>
            <a:p>
              <a:endParaRPr lang="en-LT"/>
            </a:p>
          </p:txBody>
        </p:sp>
        <p:sp>
          <p:nvSpPr>
            <p:cNvPr id="252" name="Freeform 251">
              <a:extLst>
                <a:ext uri="{FF2B5EF4-FFF2-40B4-BE49-F238E27FC236}">
                  <a16:creationId xmlns:a16="http://schemas.microsoft.com/office/drawing/2014/main" id="{5AAC949A-524E-B140-9C13-2A1B5FB3400E}"/>
                </a:ext>
              </a:extLst>
            </p:cNvPr>
            <p:cNvSpPr/>
            <p:nvPr/>
          </p:nvSpPr>
          <p:spPr>
            <a:xfrm>
              <a:off x="6612608" y="2639217"/>
              <a:ext cx="17858" cy="205669"/>
            </a:xfrm>
            <a:custGeom>
              <a:avLst/>
              <a:gdLst>
                <a:gd name="connsiteX0" fmla="*/ 1031 w 6554"/>
                <a:gd name="connsiteY0" fmla="*/ 72623 h 75481"/>
                <a:gd name="connsiteX1" fmla="*/ 6334 w 6554"/>
                <a:gd name="connsiteY1" fmla="*/ -12 h 75481"/>
                <a:gd name="connsiteX2" fmla="*/ -39 w 6554"/>
                <a:gd name="connsiteY2" fmla="*/ 71554 h 75481"/>
                <a:gd name="connsiteX3" fmla="*/ 1031 w 6554"/>
                <a:gd name="connsiteY3" fmla="*/ 72623 h 75481"/>
              </a:gdLst>
              <a:ahLst/>
              <a:cxnLst>
                <a:cxn ang="0">
                  <a:pos x="connsiteX0" y="connsiteY0"/>
                </a:cxn>
                <a:cxn ang="0">
                  <a:pos x="connsiteX1" y="connsiteY1"/>
                </a:cxn>
                <a:cxn ang="0">
                  <a:pos x="connsiteX2" y="connsiteY2"/>
                </a:cxn>
                <a:cxn ang="0">
                  <a:pos x="connsiteX3" y="connsiteY3"/>
                </a:cxn>
              </a:cxnLst>
              <a:rect l="l" t="t" r="r" b="b"/>
              <a:pathLst>
                <a:path w="6554" h="75481">
                  <a:moveTo>
                    <a:pt x="1031" y="72623"/>
                  </a:moveTo>
                  <a:cubicBezTo>
                    <a:pt x="26" y="46314"/>
                    <a:pt x="5856" y="21216"/>
                    <a:pt x="6334" y="-12"/>
                  </a:cubicBezTo>
                  <a:cubicBezTo>
                    <a:pt x="-1494" y="18104"/>
                    <a:pt x="-20" y="45558"/>
                    <a:pt x="-39" y="71554"/>
                  </a:cubicBezTo>
                  <a:cubicBezTo>
                    <a:pt x="-884" y="75206"/>
                    <a:pt x="1538" y="77647"/>
                    <a:pt x="1031" y="72623"/>
                  </a:cubicBezTo>
                  <a:close/>
                </a:path>
              </a:pathLst>
            </a:custGeom>
            <a:solidFill>
              <a:schemeClr val="bg1"/>
            </a:solidFill>
            <a:ln w="9318" cap="flat">
              <a:noFill/>
              <a:prstDash val="solid"/>
              <a:round/>
            </a:ln>
          </p:spPr>
          <p:txBody>
            <a:bodyPr rtlCol="0" anchor="ctr"/>
            <a:lstStyle/>
            <a:p>
              <a:endParaRPr lang="en-LT"/>
            </a:p>
          </p:txBody>
        </p:sp>
        <p:sp>
          <p:nvSpPr>
            <p:cNvPr id="253" name="Freeform 252">
              <a:extLst>
                <a:ext uri="{FF2B5EF4-FFF2-40B4-BE49-F238E27FC236}">
                  <a16:creationId xmlns:a16="http://schemas.microsoft.com/office/drawing/2014/main" id="{AA4AD252-62C3-6F43-9D16-7DAF3B9EE110}"/>
                </a:ext>
              </a:extLst>
            </p:cNvPr>
            <p:cNvSpPr/>
            <p:nvPr/>
          </p:nvSpPr>
          <p:spPr>
            <a:xfrm>
              <a:off x="6657513" y="2586787"/>
              <a:ext cx="8150" cy="26188"/>
            </a:xfrm>
            <a:custGeom>
              <a:avLst/>
              <a:gdLst>
                <a:gd name="connsiteX0" fmla="*/ 1494 w 2991"/>
                <a:gd name="connsiteY0" fmla="*/ -12 h 9611"/>
                <a:gd name="connsiteX1" fmla="*/ 1494 w 2991"/>
                <a:gd name="connsiteY1" fmla="*/ 9599 h 9611"/>
                <a:gd name="connsiteX2" fmla="*/ 1494 w 2991"/>
                <a:gd name="connsiteY2" fmla="*/ -12 h 9611"/>
              </a:gdLst>
              <a:ahLst/>
              <a:cxnLst>
                <a:cxn ang="0">
                  <a:pos x="connsiteX0" y="connsiteY0"/>
                </a:cxn>
                <a:cxn ang="0">
                  <a:pos x="connsiteX1" y="connsiteY1"/>
                </a:cxn>
                <a:cxn ang="0">
                  <a:pos x="connsiteX2" y="connsiteY2"/>
                </a:cxn>
              </a:cxnLst>
              <a:rect l="l" t="t" r="r" b="b"/>
              <a:pathLst>
                <a:path w="2991" h="9611">
                  <a:moveTo>
                    <a:pt x="1494" y="-12"/>
                  </a:moveTo>
                  <a:cubicBezTo>
                    <a:pt x="-1312" y="1918"/>
                    <a:pt x="-205" y="6667"/>
                    <a:pt x="1494" y="9599"/>
                  </a:cubicBezTo>
                  <a:cubicBezTo>
                    <a:pt x="1936" y="7461"/>
                    <a:pt x="4132" y="1681"/>
                    <a:pt x="1494" y="-12"/>
                  </a:cubicBezTo>
                  <a:close/>
                </a:path>
              </a:pathLst>
            </a:custGeom>
            <a:solidFill>
              <a:schemeClr val="bg1"/>
            </a:solidFill>
            <a:ln w="9318" cap="flat">
              <a:noFill/>
              <a:prstDash val="solid"/>
              <a:round/>
            </a:ln>
          </p:spPr>
          <p:txBody>
            <a:bodyPr rtlCol="0" anchor="ctr"/>
            <a:lstStyle/>
            <a:p>
              <a:endParaRPr lang="en-LT"/>
            </a:p>
          </p:txBody>
        </p:sp>
        <p:sp>
          <p:nvSpPr>
            <p:cNvPr id="254" name="Freeform 253">
              <a:extLst>
                <a:ext uri="{FF2B5EF4-FFF2-40B4-BE49-F238E27FC236}">
                  <a16:creationId xmlns:a16="http://schemas.microsoft.com/office/drawing/2014/main" id="{C206EAC6-C2FE-DD42-88A3-0F2ED40BD0ED}"/>
                </a:ext>
              </a:extLst>
            </p:cNvPr>
            <p:cNvSpPr/>
            <p:nvPr/>
          </p:nvSpPr>
          <p:spPr>
            <a:xfrm>
              <a:off x="6679063" y="2755625"/>
              <a:ext cx="7561" cy="36231"/>
            </a:xfrm>
            <a:custGeom>
              <a:avLst/>
              <a:gdLst>
                <a:gd name="connsiteX0" fmla="*/ 2081 w 2775"/>
                <a:gd name="connsiteY0" fmla="*/ -12 h 13297"/>
                <a:gd name="connsiteX1" fmla="*/ -31 w 2775"/>
                <a:gd name="connsiteY1" fmla="*/ 5323 h 13297"/>
                <a:gd name="connsiteX2" fmla="*/ 2081 w 2775"/>
                <a:gd name="connsiteY2" fmla="*/ -12 h 13297"/>
              </a:gdLst>
              <a:ahLst/>
              <a:cxnLst>
                <a:cxn ang="0">
                  <a:pos x="connsiteX0" y="connsiteY0"/>
                </a:cxn>
                <a:cxn ang="0">
                  <a:pos x="connsiteX1" y="connsiteY1"/>
                </a:cxn>
                <a:cxn ang="0">
                  <a:pos x="connsiteX2" y="connsiteY2"/>
                </a:cxn>
              </a:cxnLst>
              <a:rect l="l" t="t" r="r" b="b"/>
              <a:pathLst>
                <a:path w="2775" h="13297">
                  <a:moveTo>
                    <a:pt x="2081" y="-12"/>
                  </a:moveTo>
                  <a:cubicBezTo>
                    <a:pt x="1490" y="1889"/>
                    <a:pt x="1518" y="4425"/>
                    <a:pt x="-31" y="5323"/>
                  </a:cubicBezTo>
                  <a:cubicBezTo>
                    <a:pt x="-1280" y="25956"/>
                    <a:pt x="4146" y="-31"/>
                    <a:pt x="2081" y="-12"/>
                  </a:cubicBezTo>
                  <a:close/>
                </a:path>
              </a:pathLst>
            </a:custGeom>
            <a:solidFill>
              <a:schemeClr val="bg1"/>
            </a:solidFill>
            <a:ln w="9318" cap="flat">
              <a:noFill/>
              <a:prstDash val="solid"/>
              <a:round/>
            </a:ln>
          </p:spPr>
          <p:txBody>
            <a:bodyPr rtlCol="0" anchor="ctr"/>
            <a:lstStyle/>
            <a:p>
              <a:endParaRPr lang="en-LT"/>
            </a:p>
          </p:txBody>
        </p:sp>
        <p:sp>
          <p:nvSpPr>
            <p:cNvPr id="255" name="Freeform 254">
              <a:extLst>
                <a:ext uri="{FF2B5EF4-FFF2-40B4-BE49-F238E27FC236}">
                  <a16:creationId xmlns:a16="http://schemas.microsoft.com/office/drawing/2014/main" id="{BDA64F3B-9172-8242-A42F-0487B4B69008}"/>
                </a:ext>
              </a:extLst>
            </p:cNvPr>
            <p:cNvSpPr/>
            <p:nvPr/>
          </p:nvSpPr>
          <p:spPr>
            <a:xfrm>
              <a:off x="6522933" y="2775276"/>
              <a:ext cx="29948" cy="44850"/>
            </a:xfrm>
            <a:custGeom>
              <a:avLst/>
              <a:gdLst>
                <a:gd name="connsiteX0" fmla="*/ 8503 w 10991"/>
                <a:gd name="connsiteY0" fmla="*/ 16294 h 16460"/>
                <a:gd name="connsiteX1" fmla="*/ 8503 w 10991"/>
                <a:gd name="connsiteY1" fmla="*/ 1318 h 16460"/>
                <a:gd name="connsiteX2" fmla="*/ 1087 w 10991"/>
                <a:gd name="connsiteY2" fmla="*/ 15215 h 16460"/>
                <a:gd name="connsiteX3" fmla="*/ 8503 w 10991"/>
                <a:gd name="connsiteY3" fmla="*/ 16294 h 16460"/>
              </a:gdLst>
              <a:ahLst/>
              <a:cxnLst>
                <a:cxn ang="0">
                  <a:pos x="connsiteX0" y="connsiteY0"/>
                </a:cxn>
                <a:cxn ang="0">
                  <a:pos x="connsiteX1" y="connsiteY1"/>
                </a:cxn>
                <a:cxn ang="0">
                  <a:pos x="connsiteX2" y="connsiteY2"/>
                </a:cxn>
                <a:cxn ang="0">
                  <a:pos x="connsiteX3" y="connsiteY3"/>
                </a:cxn>
              </a:cxnLst>
              <a:rect l="l" t="t" r="r" b="b"/>
              <a:pathLst>
                <a:path w="10991" h="16460">
                  <a:moveTo>
                    <a:pt x="8503" y="16294"/>
                  </a:moveTo>
                  <a:cubicBezTo>
                    <a:pt x="11901" y="13730"/>
                    <a:pt x="11131" y="4071"/>
                    <a:pt x="8503" y="1318"/>
                  </a:cubicBezTo>
                  <a:cubicBezTo>
                    <a:pt x="-405" y="-4235"/>
                    <a:pt x="-1691" y="9000"/>
                    <a:pt x="1087" y="15215"/>
                  </a:cubicBezTo>
                  <a:cubicBezTo>
                    <a:pt x="3575" y="15556"/>
                    <a:pt x="5058" y="16899"/>
                    <a:pt x="8503" y="16294"/>
                  </a:cubicBezTo>
                  <a:close/>
                </a:path>
              </a:pathLst>
            </a:custGeom>
            <a:solidFill>
              <a:schemeClr val="bg1"/>
            </a:solidFill>
            <a:ln w="9318" cap="flat">
              <a:noFill/>
              <a:prstDash val="solid"/>
              <a:round/>
            </a:ln>
          </p:spPr>
          <p:txBody>
            <a:bodyPr rtlCol="0" anchor="ctr"/>
            <a:lstStyle/>
            <a:p>
              <a:endParaRPr lang="en-LT"/>
            </a:p>
          </p:txBody>
        </p:sp>
        <p:sp>
          <p:nvSpPr>
            <p:cNvPr id="256" name="Freeform 255">
              <a:extLst>
                <a:ext uri="{FF2B5EF4-FFF2-40B4-BE49-F238E27FC236}">
                  <a16:creationId xmlns:a16="http://schemas.microsoft.com/office/drawing/2014/main" id="{4483F455-33AA-5449-AD95-B8E709BF1381}"/>
                </a:ext>
              </a:extLst>
            </p:cNvPr>
            <p:cNvSpPr/>
            <p:nvPr/>
          </p:nvSpPr>
          <p:spPr>
            <a:xfrm>
              <a:off x="6408686" y="3326148"/>
              <a:ext cx="51357" cy="46218"/>
            </a:xfrm>
            <a:custGeom>
              <a:avLst/>
              <a:gdLst>
                <a:gd name="connsiteX0" fmla="*/ 18629 w 18848"/>
                <a:gd name="connsiteY0" fmla="*/ -12 h 16962"/>
                <a:gd name="connsiteX1" fmla="*/ -220 w 18848"/>
                <a:gd name="connsiteY1" fmla="*/ 16950 h 16962"/>
                <a:gd name="connsiteX2" fmla="*/ 18629 w 18848"/>
                <a:gd name="connsiteY2" fmla="*/ -12 h 16962"/>
              </a:gdLst>
              <a:ahLst/>
              <a:cxnLst>
                <a:cxn ang="0">
                  <a:pos x="connsiteX0" y="connsiteY0"/>
                </a:cxn>
                <a:cxn ang="0">
                  <a:pos x="connsiteX1" y="connsiteY1"/>
                </a:cxn>
                <a:cxn ang="0">
                  <a:pos x="connsiteX2" y="connsiteY2"/>
                </a:cxn>
              </a:cxnLst>
              <a:rect l="l" t="t" r="r" b="b"/>
              <a:pathLst>
                <a:path w="18848" h="16962">
                  <a:moveTo>
                    <a:pt x="18629" y="-12"/>
                  </a:moveTo>
                  <a:cubicBezTo>
                    <a:pt x="12349" y="4491"/>
                    <a:pt x="6097" y="10507"/>
                    <a:pt x="-220" y="16950"/>
                  </a:cubicBezTo>
                  <a:cubicBezTo>
                    <a:pt x="6867" y="11397"/>
                    <a:pt x="14978" y="6553"/>
                    <a:pt x="18629" y="-12"/>
                  </a:cubicBezTo>
                  <a:close/>
                </a:path>
              </a:pathLst>
            </a:custGeom>
            <a:solidFill>
              <a:schemeClr val="bg1"/>
            </a:solidFill>
            <a:ln w="9318" cap="flat">
              <a:noFill/>
              <a:prstDash val="solid"/>
              <a:round/>
            </a:ln>
          </p:spPr>
          <p:txBody>
            <a:bodyPr rtlCol="0" anchor="ctr"/>
            <a:lstStyle/>
            <a:p>
              <a:endParaRPr lang="en-LT"/>
            </a:p>
          </p:txBody>
        </p:sp>
        <p:sp>
          <p:nvSpPr>
            <p:cNvPr id="257" name="Freeform 256">
              <a:extLst>
                <a:ext uri="{FF2B5EF4-FFF2-40B4-BE49-F238E27FC236}">
                  <a16:creationId xmlns:a16="http://schemas.microsoft.com/office/drawing/2014/main" id="{16A4DA77-16AA-A243-A123-635C9B139754}"/>
                </a:ext>
              </a:extLst>
            </p:cNvPr>
            <p:cNvSpPr/>
            <p:nvPr/>
          </p:nvSpPr>
          <p:spPr>
            <a:xfrm>
              <a:off x="6382086" y="3136945"/>
              <a:ext cx="326315" cy="285274"/>
            </a:xfrm>
            <a:custGeom>
              <a:avLst/>
              <a:gdLst>
                <a:gd name="connsiteX0" fmla="*/ -220 w 119758"/>
                <a:gd name="connsiteY0" fmla="*/ 104684 h 104696"/>
                <a:gd name="connsiteX1" fmla="*/ 119539 w 119758"/>
                <a:gd name="connsiteY1" fmla="*/ -12 h 104696"/>
                <a:gd name="connsiteX2" fmla="*/ -220 w 119758"/>
                <a:gd name="connsiteY2" fmla="*/ 104684 h 104696"/>
              </a:gdLst>
              <a:ahLst/>
              <a:cxnLst>
                <a:cxn ang="0">
                  <a:pos x="connsiteX0" y="connsiteY0"/>
                </a:cxn>
                <a:cxn ang="0">
                  <a:pos x="connsiteX1" y="connsiteY1"/>
                </a:cxn>
                <a:cxn ang="0">
                  <a:pos x="connsiteX2" y="connsiteY2"/>
                </a:cxn>
              </a:cxnLst>
              <a:rect l="l" t="t" r="r" b="b"/>
              <a:pathLst>
                <a:path w="119758" h="104696">
                  <a:moveTo>
                    <a:pt x="-220" y="104684"/>
                  </a:moveTo>
                  <a:cubicBezTo>
                    <a:pt x="35910" y="66663"/>
                    <a:pt x="81465" y="32465"/>
                    <a:pt x="119539" y="-12"/>
                  </a:cubicBezTo>
                  <a:cubicBezTo>
                    <a:pt x="77542" y="32077"/>
                    <a:pt x="32550" y="66852"/>
                    <a:pt x="-220" y="104684"/>
                  </a:cubicBezTo>
                  <a:close/>
                </a:path>
              </a:pathLst>
            </a:custGeom>
            <a:solidFill>
              <a:schemeClr val="bg1"/>
            </a:solidFill>
            <a:ln w="9318" cap="flat">
              <a:noFill/>
              <a:prstDash val="solid"/>
              <a:round/>
            </a:ln>
          </p:spPr>
          <p:txBody>
            <a:bodyPr rtlCol="0" anchor="ctr"/>
            <a:lstStyle/>
            <a:p>
              <a:endParaRPr lang="en-LT"/>
            </a:p>
          </p:txBody>
        </p:sp>
        <p:sp>
          <p:nvSpPr>
            <p:cNvPr id="258" name="Freeform 257">
              <a:extLst>
                <a:ext uri="{FF2B5EF4-FFF2-40B4-BE49-F238E27FC236}">
                  <a16:creationId xmlns:a16="http://schemas.microsoft.com/office/drawing/2014/main" id="{B1534F67-350E-1E46-B155-BB79B9C8C388}"/>
                </a:ext>
              </a:extLst>
            </p:cNvPr>
            <p:cNvSpPr/>
            <p:nvPr/>
          </p:nvSpPr>
          <p:spPr>
            <a:xfrm>
              <a:off x="6521759" y="2856090"/>
              <a:ext cx="36613" cy="48321"/>
            </a:xfrm>
            <a:custGeom>
              <a:avLst/>
              <a:gdLst>
                <a:gd name="connsiteX0" fmla="*/ 11056 w 13437"/>
                <a:gd name="connsiteY0" fmla="*/ 17580 h 17734"/>
                <a:gd name="connsiteX1" fmla="*/ 2570 w 13437"/>
                <a:gd name="connsiteY1" fmla="*/ 16520 h 17734"/>
                <a:gd name="connsiteX2" fmla="*/ 11056 w 13437"/>
                <a:gd name="connsiteY2" fmla="*/ 17580 h 17734"/>
              </a:gdLst>
              <a:ahLst/>
              <a:cxnLst>
                <a:cxn ang="0">
                  <a:pos x="connsiteX0" y="connsiteY0"/>
                </a:cxn>
                <a:cxn ang="0">
                  <a:pos x="connsiteX1" y="connsiteY1"/>
                </a:cxn>
                <a:cxn ang="0">
                  <a:pos x="connsiteX2" y="connsiteY2"/>
                </a:cxn>
              </a:cxnLst>
              <a:rect l="l" t="t" r="r" b="b"/>
              <a:pathLst>
                <a:path w="13437" h="17734">
                  <a:moveTo>
                    <a:pt x="11056" y="17580"/>
                  </a:moveTo>
                  <a:cubicBezTo>
                    <a:pt x="21391" y="-3753"/>
                    <a:pt x="-9342" y="-7518"/>
                    <a:pt x="2570" y="16520"/>
                  </a:cubicBezTo>
                  <a:cubicBezTo>
                    <a:pt x="5114" y="17182"/>
                    <a:pt x="7404" y="18072"/>
                    <a:pt x="11056" y="17580"/>
                  </a:cubicBezTo>
                  <a:close/>
                </a:path>
              </a:pathLst>
            </a:custGeom>
            <a:solidFill>
              <a:schemeClr val="bg1"/>
            </a:solidFill>
            <a:ln w="9318" cap="flat">
              <a:noFill/>
              <a:prstDash val="solid"/>
              <a:round/>
            </a:ln>
          </p:spPr>
          <p:txBody>
            <a:bodyPr rtlCol="0" anchor="ctr"/>
            <a:lstStyle/>
            <a:p>
              <a:endParaRPr lang="en-LT"/>
            </a:p>
          </p:txBody>
        </p:sp>
        <p:sp>
          <p:nvSpPr>
            <p:cNvPr id="259" name="Freeform 258">
              <a:extLst>
                <a:ext uri="{FF2B5EF4-FFF2-40B4-BE49-F238E27FC236}">
                  <a16:creationId xmlns:a16="http://schemas.microsoft.com/office/drawing/2014/main" id="{93E85F33-D653-5146-A209-ABCA291559DA}"/>
                </a:ext>
              </a:extLst>
            </p:cNvPr>
            <p:cNvSpPr/>
            <p:nvPr/>
          </p:nvSpPr>
          <p:spPr>
            <a:xfrm>
              <a:off x="6706273" y="2473288"/>
              <a:ext cx="13477" cy="58177"/>
            </a:xfrm>
            <a:custGeom>
              <a:avLst/>
              <a:gdLst>
                <a:gd name="connsiteX0" fmla="*/ 2693 w 4946"/>
                <a:gd name="connsiteY0" fmla="*/ -12 h 21351"/>
                <a:gd name="connsiteX1" fmla="*/ 562 w 4946"/>
                <a:gd name="connsiteY1" fmla="*/ 21339 h 21351"/>
                <a:gd name="connsiteX2" fmla="*/ 2693 w 4946"/>
                <a:gd name="connsiteY2" fmla="*/ -12 h 21351"/>
              </a:gdLst>
              <a:ahLst/>
              <a:cxnLst>
                <a:cxn ang="0">
                  <a:pos x="connsiteX0" y="connsiteY0"/>
                </a:cxn>
                <a:cxn ang="0">
                  <a:pos x="connsiteX1" y="connsiteY1"/>
                </a:cxn>
                <a:cxn ang="0">
                  <a:pos x="connsiteX2" y="connsiteY2"/>
                </a:cxn>
              </a:cxnLst>
              <a:rect l="l" t="t" r="r" b="b"/>
              <a:pathLst>
                <a:path w="4946" h="21351">
                  <a:moveTo>
                    <a:pt x="2693" y="-12"/>
                  </a:moveTo>
                  <a:cubicBezTo>
                    <a:pt x="2852" y="7282"/>
                    <a:pt x="-2085" y="15096"/>
                    <a:pt x="562" y="21339"/>
                  </a:cubicBezTo>
                  <a:cubicBezTo>
                    <a:pt x="3068" y="15162"/>
                    <a:pt x="7255" y="4169"/>
                    <a:pt x="2693" y="-12"/>
                  </a:cubicBezTo>
                  <a:close/>
                </a:path>
              </a:pathLst>
            </a:custGeom>
            <a:solidFill>
              <a:schemeClr val="bg1"/>
            </a:solidFill>
            <a:ln w="9318" cap="flat">
              <a:noFill/>
              <a:prstDash val="solid"/>
              <a:round/>
            </a:ln>
          </p:spPr>
          <p:txBody>
            <a:bodyPr rtlCol="0" anchor="ctr"/>
            <a:lstStyle/>
            <a:p>
              <a:endParaRPr lang="en-LT"/>
            </a:p>
          </p:txBody>
        </p:sp>
        <p:sp>
          <p:nvSpPr>
            <p:cNvPr id="260" name="Freeform 259">
              <a:extLst>
                <a:ext uri="{FF2B5EF4-FFF2-40B4-BE49-F238E27FC236}">
                  <a16:creationId xmlns:a16="http://schemas.microsoft.com/office/drawing/2014/main" id="{19C949BD-F624-1847-975A-58C96C837989}"/>
                </a:ext>
              </a:extLst>
            </p:cNvPr>
            <p:cNvSpPr/>
            <p:nvPr/>
          </p:nvSpPr>
          <p:spPr>
            <a:xfrm>
              <a:off x="6512020" y="3629169"/>
              <a:ext cx="71556" cy="11390"/>
            </a:xfrm>
            <a:custGeom>
              <a:avLst/>
              <a:gdLst>
                <a:gd name="connsiteX0" fmla="*/ 15691 w 26261"/>
                <a:gd name="connsiteY0" fmla="*/ 3086 h 4180"/>
                <a:gd name="connsiteX1" fmla="*/ -220 w 26261"/>
                <a:gd name="connsiteY1" fmla="*/ 4146 h 4180"/>
                <a:gd name="connsiteX2" fmla="*/ 19915 w 26261"/>
                <a:gd name="connsiteY2" fmla="*/ 4146 h 4180"/>
                <a:gd name="connsiteX3" fmla="*/ 15691 w 26261"/>
                <a:gd name="connsiteY3" fmla="*/ 3086 h 4180"/>
              </a:gdLst>
              <a:ahLst/>
              <a:cxnLst>
                <a:cxn ang="0">
                  <a:pos x="connsiteX0" y="connsiteY0"/>
                </a:cxn>
                <a:cxn ang="0">
                  <a:pos x="connsiteX1" y="connsiteY1"/>
                </a:cxn>
                <a:cxn ang="0">
                  <a:pos x="connsiteX2" y="connsiteY2"/>
                </a:cxn>
                <a:cxn ang="0">
                  <a:pos x="connsiteX3" y="connsiteY3"/>
                </a:cxn>
              </a:cxnLst>
              <a:rect l="l" t="t" r="r" b="b"/>
              <a:pathLst>
                <a:path w="26261" h="4180">
                  <a:moveTo>
                    <a:pt x="15691" y="3086"/>
                  </a:moveTo>
                  <a:cubicBezTo>
                    <a:pt x="11561" y="731"/>
                    <a:pt x="1526" y="-2997"/>
                    <a:pt x="-220" y="4146"/>
                  </a:cubicBezTo>
                  <a:lnTo>
                    <a:pt x="19915" y="4146"/>
                  </a:lnTo>
                  <a:cubicBezTo>
                    <a:pt x="32484" y="4411"/>
                    <a:pt x="22975" y="2263"/>
                    <a:pt x="15691" y="3086"/>
                  </a:cubicBezTo>
                  <a:close/>
                </a:path>
              </a:pathLst>
            </a:custGeom>
            <a:solidFill>
              <a:schemeClr val="bg1"/>
            </a:solidFill>
            <a:ln w="9318" cap="flat">
              <a:noFill/>
              <a:prstDash val="solid"/>
              <a:round/>
            </a:ln>
          </p:spPr>
          <p:txBody>
            <a:bodyPr rtlCol="0" anchor="ctr"/>
            <a:lstStyle/>
            <a:p>
              <a:endParaRPr lang="en-LT"/>
            </a:p>
          </p:txBody>
        </p:sp>
        <p:sp>
          <p:nvSpPr>
            <p:cNvPr id="261" name="Freeform 260">
              <a:extLst>
                <a:ext uri="{FF2B5EF4-FFF2-40B4-BE49-F238E27FC236}">
                  <a16:creationId xmlns:a16="http://schemas.microsoft.com/office/drawing/2014/main" id="{556A52EB-4A2E-E542-AD43-C3DF4F87CEE0}"/>
                </a:ext>
              </a:extLst>
            </p:cNvPr>
            <p:cNvSpPr/>
            <p:nvPr/>
          </p:nvSpPr>
          <p:spPr>
            <a:xfrm>
              <a:off x="6528723" y="2950044"/>
              <a:ext cx="29831" cy="42242"/>
            </a:xfrm>
            <a:custGeom>
              <a:avLst/>
              <a:gdLst>
                <a:gd name="connsiteX0" fmla="*/ 8499 w 10948"/>
                <a:gd name="connsiteY0" fmla="*/ 15158 h 15503"/>
                <a:gd name="connsiteX1" fmla="*/ 7429 w 10948"/>
                <a:gd name="connsiteY1" fmla="*/ 211 h 15503"/>
                <a:gd name="connsiteX2" fmla="*/ 8499 w 10948"/>
                <a:gd name="connsiteY2" fmla="*/ 15158 h 15503"/>
              </a:gdLst>
              <a:ahLst/>
              <a:cxnLst>
                <a:cxn ang="0">
                  <a:pos x="connsiteX0" y="connsiteY0"/>
                </a:cxn>
                <a:cxn ang="0">
                  <a:pos x="connsiteX1" y="connsiteY1"/>
                </a:cxn>
                <a:cxn ang="0">
                  <a:pos x="connsiteX2" y="connsiteY2"/>
                </a:cxn>
              </a:cxnLst>
              <a:rect l="l" t="t" r="r" b="b"/>
              <a:pathLst>
                <a:path w="10948" h="15503">
                  <a:moveTo>
                    <a:pt x="8499" y="15158"/>
                  </a:moveTo>
                  <a:cubicBezTo>
                    <a:pt x="12339" y="12027"/>
                    <a:pt x="10715" y="2529"/>
                    <a:pt x="7429" y="211"/>
                  </a:cubicBezTo>
                  <a:cubicBezTo>
                    <a:pt x="-3985" y="-2371"/>
                    <a:pt x="-1789" y="18337"/>
                    <a:pt x="8499" y="15158"/>
                  </a:cubicBezTo>
                  <a:close/>
                </a:path>
              </a:pathLst>
            </a:custGeom>
            <a:solidFill>
              <a:schemeClr val="bg1"/>
            </a:solidFill>
            <a:ln w="9318" cap="flat">
              <a:noFill/>
              <a:prstDash val="solid"/>
              <a:round/>
            </a:ln>
          </p:spPr>
          <p:txBody>
            <a:bodyPr rtlCol="0" anchor="ctr"/>
            <a:lstStyle/>
            <a:p>
              <a:endParaRPr lang="en-LT"/>
            </a:p>
          </p:txBody>
        </p:sp>
        <p:sp>
          <p:nvSpPr>
            <p:cNvPr id="262" name="Freeform 261">
              <a:extLst>
                <a:ext uri="{FF2B5EF4-FFF2-40B4-BE49-F238E27FC236}">
                  <a16:creationId xmlns:a16="http://schemas.microsoft.com/office/drawing/2014/main" id="{B2C6EC0D-8E22-FB48-9E2D-5FB395C9B6D9}"/>
                </a:ext>
              </a:extLst>
            </p:cNvPr>
            <p:cNvSpPr/>
            <p:nvPr/>
          </p:nvSpPr>
          <p:spPr>
            <a:xfrm>
              <a:off x="6505595" y="3544428"/>
              <a:ext cx="8343" cy="29152"/>
            </a:xfrm>
            <a:custGeom>
              <a:avLst/>
              <a:gdLst>
                <a:gd name="connsiteX0" fmla="*/ 1086 w 3062"/>
                <a:gd name="connsiteY0" fmla="*/ -12 h 10699"/>
                <a:gd name="connsiteX1" fmla="*/ 2138 w 3062"/>
                <a:gd name="connsiteY1" fmla="*/ 10687 h 10699"/>
                <a:gd name="connsiteX2" fmla="*/ 1086 w 3062"/>
                <a:gd name="connsiteY2" fmla="*/ -12 h 10699"/>
              </a:gdLst>
              <a:ahLst/>
              <a:cxnLst>
                <a:cxn ang="0">
                  <a:pos x="connsiteX0" y="connsiteY0"/>
                </a:cxn>
                <a:cxn ang="0">
                  <a:pos x="connsiteX1" y="connsiteY1"/>
                </a:cxn>
                <a:cxn ang="0">
                  <a:pos x="connsiteX2" y="connsiteY2"/>
                </a:cxn>
              </a:cxnLst>
              <a:rect l="l" t="t" r="r" b="b"/>
              <a:pathLst>
                <a:path w="3062" h="10699">
                  <a:moveTo>
                    <a:pt x="1086" y="-12"/>
                  </a:moveTo>
                  <a:cubicBezTo>
                    <a:pt x="2063" y="3469"/>
                    <a:pt x="-3035" y="9845"/>
                    <a:pt x="2138" y="10687"/>
                  </a:cubicBezTo>
                  <a:cubicBezTo>
                    <a:pt x="3809" y="9259"/>
                    <a:pt x="2119" y="2230"/>
                    <a:pt x="1086" y="-12"/>
                  </a:cubicBezTo>
                  <a:close/>
                </a:path>
              </a:pathLst>
            </a:custGeom>
            <a:solidFill>
              <a:schemeClr val="bg1"/>
            </a:solidFill>
            <a:ln w="9318" cap="flat">
              <a:noFill/>
              <a:prstDash val="solid"/>
              <a:round/>
            </a:ln>
          </p:spPr>
          <p:txBody>
            <a:bodyPr rtlCol="0" anchor="ctr"/>
            <a:lstStyle/>
            <a:p>
              <a:endParaRPr lang="en-LT"/>
            </a:p>
          </p:txBody>
        </p:sp>
        <p:sp>
          <p:nvSpPr>
            <p:cNvPr id="263" name="Freeform 262">
              <a:extLst>
                <a:ext uri="{FF2B5EF4-FFF2-40B4-BE49-F238E27FC236}">
                  <a16:creationId xmlns:a16="http://schemas.microsoft.com/office/drawing/2014/main" id="{037D115F-EE42-2449-9963-6194C9A8D4EB}"/>
                </a:ext>
              </a:extLst>
            </p:cNvPr>
            <p:cNvSpPr/>
            <p:nvPr/>
          </p:nvSpPr>
          <p:spPr>
            <a:xfrm>
              <a:off x="6676687" y="3340712"/>
              <a:ext cx="17313" cy="84419"/>
            </a:xfrm>
            <a:custGeom>
              <a:avLst/>
              <a:gdLst>
                <a:gd name="connsiteX0" fmla="*/ 6135 w 6354"/>
                <a:gd name="connsiteY0" fmla="*/ 30970 h 30982"/>
                <a:gd name="connsiteX1" fmla="*/ -220 w 6354"/>
                <a:gd name="connsiteY1" fmla="*/ -12 h 30982"/>
                <a:gd name="connsiteX2" fmla="*/ 6135 w 6354"/>
                <a:gd name="connsiteY2" fmla="*/ 30970 h 30982"/>
              </a:gdLst>
              <a:ahLst/>
              <a:cxnLst>
                <a:cxn ang="0">
                  <a:pos x="connsiteX0" y="connsiteY0"/>
                </a:cxn>
                <a:cxn ang="0">
                  <a:pos x="connsiteX1" y="connsiteY1"/>
                </a:cxn>
                <a:cxn ang="0">
                  <a:pos x="connsiteX2" y="connsiteY2"/>
                </a:cxn>
              </a:cxnLst>
              <a:rect l="l" t="t" r="r" b="b"/>
              <a:pathLst>
                <a:path w="6354" h="30982">
                  <a:moveTo>
                    <a:pt x="6135" y="30970"/>
                  </a:moveTo>
                  <a:cubicBezTo>
                    <a:pt x="4258" y="20393"/>
                    <a:pt x="3563" y="8615"/>
                    <a:pt x="-220" y="-12"/>
                  </a:cubicBezTo>
                  <a:cubicBezTo>
                    <a:pt x="784" y="10716"/>
                    <a:pt x="3366" y="25559"/>
                    <a:pt x="6135" y="30970"/>
                  </a:cubicBezTo>
                  <a:close/>
                </a:path>
              </a:pathLst>
            </a:custGeom>
            <a:solidFill>
              <a:schemeClr val="bg1"/>
            </a:solidFill>
            <a:ln w="9318" cap="flat">
              <a:noFill/>
              <a:prstDash val="solid"/>
              <a:round/>
            </a:ln>
          </p:spPr>
          <p:txBody>
            <a:bodyPr rtlCol="0" anchor="ctr"/>
            <a:lstStyle/>
            <a:p>
              <a:endParaRPr lang="en-LT"/>
            </a:p>
          </p:txBody>
        </p:sp>
        <p:sp>
          <p:nvSpPr>
            <p:cNvPr id="264" name="Freeform 263">
              <a:extLst>
                <a:ext uri="{FF2B5EF4-FFF2-40B4-BE49-F238E27FC236}">
                  <a16:creationId xmlns:a16="http://schemas.microsoft.com/office/drawing/2014/main" id="{ED8231A8-874D-1942-B29E-3350DE5CD8C0}"/>
                </a:ext>
              </a:extLst>
            </p:cNvPr>
            <p:cNvSpPr/>
            <p:nvPr/>
          </p:nvSpPr>
          <p:spPr>
            <a:xfrm>
              <a:off x="6740068" y="3489161"/>
              <a:ext cx="9158" cy="69855"/>
            </a:xfrm>
            <a:custGeom>
              <a:avLst/>
              <a:gdLst>
                <a:gd name="connsiteX0" fmla="*/ 887 w 3361"/>
                <a:gd name="connsiteY0" fmla="*/ 25625 h 25637"/>
                <a:gd name="connsiteX1" fmla="*/ -174 w 3361"/>
                <a:gd name="connsiteY1" fmla="*/ -12 h 25637"/>
                <a:gd name="connsiteX2" fmla="*/ 887 w 3361"/>
                <a:gd name="connsiteY2" fmla="*/ 25625 h 25637"/>
              </a:gdLst>
              <a:ahLst/>
              <a:cxnLst>
                <a:cxn ang="0">
                  <a:pos x="connsiteX0" y="connsiteY0"/>
                </a:cxn>
                <a:cxn ang="0">
                  <a:pos x="connsiteX1" y="connsiteY1"/>
                </a:cxn>
                <a:cxn ang="0">
                  <a:pos x="connsiteX2" y="connsiteY2"/>
                </a:cxn>
              </a:cxnLst>
              <a:rect l="l" t="t" r="r" b="b"/>
              <a:pathLst>
                <a:path w="3361" h="25637">
                  <a:moveTo>
                    <a:pt x="887" y="25625"/>
                  </a:moveTo>
                  <a:cubicBezTo>
                    <a:pt x="6003" y="19883"/>
                    <a:pt x="972" y="6468"/>
                    <a:pt x="-174" y="-12"/>
                  </a:cubicBezTo>
                  <a:cubicBezTo>
                    <a:pt x="-568" y="9297"/>
                    <a:pt x="1704" y="15871"/>
                    <a:pt x="887" y="25625"/>
                  </a:cubicBezTo>
                  <a:close/>
                </a:path>
              </a:pathLst>
            </a:custGeom>
            <a:solidFill>
              <a:schemeClr val="bg1"/>
            </a:solidFill>
            <a:ln w="9318" cap="flat">
              <a:noFill/>
              <a:prstDash val="solid"/>
              <a:round/>
            </a:ln>
          </p:spPr>
          <p:txBody>
            <a:bodyPr rtlCol="0" anchor="ctr"/>
            <a:lstStyle/>
            <a:p>
              <a:endParaRPr lang="en-LT"/>
            </a:p>
          </p:txBody>
        </p:sp>
        <p:sp>
          <p:nvSpPr>
            <p:cNvPr id="265" name="Freeform 264">
              <a:extLst>
                <a:ext uri="{FF2B5EF4-FFF2-40B4-BE49-F238E27FC236}">
                  <a16:creationId xmlns:a16="http://schemas.microsoft.com/office/drawing/2014/main" id="{1914FF44-B019-5A4A-962E-1AEAA41A15D8}"/>
                </a:ext>
              </a:extLst>
            </p:cNvPr>
            <p:cNvSpPr/>
            <p:nvPr/>
          </p:nvSpPr>
          <p:spPr>
            <a:xfrm>
              <a:off x="6616017" y="2021920"/>
              <a:ext cx="29139" cy="125288"/>
            </a:xfrm>
            <a:custGeom>
              <a:avLst/>
              <a:gdLst>
                <a:gd name="connsiteX0" fmla="*/ 5084 w 10694"/>
                <a:gd name="connsiteY0" fmla="*/ 39565 h 45981"/>
                <a:gd name="connsiteX1" fmla="*/ 9317 w 10694"/>
                <a:gd name="connsiteY1" fmla="*/ 45969 h 45981"/>
                <a:gd name="connsiteX2" fmla="*/ 10368 w 10694"/>
                <a:gd name="connsiteY2" fmla="*/ 1118 h 45981"/>
                <a:gd name="connsiteX3" fmla="*/ -220 w 10694"/>
                <a:gd name="connsiteY3" fmla="*/ 49 h 45981"/>
                <a:gd name="connsiteX4" fmla="*/ 8256 w 10694"/>
                <a:gd name="connsiteY4" fmla="*/ 36367 h 45981"/>
                <a:gd name="connsiteX5" fmla="*/ 5084 w 10694"/>
                <a:gd name="connsiteY5" fmla="*/ 39565 h 4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94" h="45981">
                  <a:moveTo>
                    <a:pt x="5084" y="39565"/>
                  </a:moveTo>
                  <a:cubicBezTo>
                    <a:pt x="6341" y="41844"/>
                    <a:pt x="6370" y="45392"/>
                    <a:pt x="9317" y="45969"/>
                  </a:cubicBezTo>
                  <a:cubicBezTo>
                    <a:pt x="11410" y="32801"/>
                    <a:pt x="9937" y="15990"/>
                    <a:pt x="10368" y="1118"/>
                  </a:cubicBezTo>
                  <a:cubicBezTo>
                    <a:pt x="8378" y="-764"/>
                    <a:pt x="3366" y="343"/>
                    <a:pt x="-220" y="49"/>
                  </a:cubicBezTo>
                  <a:cubicBezTo>
                    <a:pt x="3103" y="11657"/>
                    <a:pt x="3563" y="26159"/>
                    <a:pt x="8256" y="36367"/>
                  </a:cubicBezTo>
                  <a:cubicBezTo>
                    <a:pt x="8679" y="38931"/>
                    <a:pt x="3422" y="35790"/>
                    <a:pt x="5084" y="39565"/>
                  </a:cubicBezTo>
                  <a:close/>
                </a:path>
              </a:pathLst>
            </a:custGeom>
            <a:solidFill>
              <a:schemeClr val="bg1"/>
            </a:solidFill>
            <a:ln w="9318" cap="flat">
              <a:noFill/>
              <a:prstDash val="solid"/>
              <a:round/>
            </a:ln>
          </p:spPr>
          <p:txBody>
            <a:bodyPr rtlCol="0" anchor="ctr"/>
            <a:lstStyle/>
            <a:p>
              <a:endParaRPr lang="en-LT"/>
            </a:p>
          </p:txBody>
        </p:sp>
        <p:sp>
          <p:nvSpPr>
            <p:cNvPr id="266" name="Freeform 265">
              <a:extLst>
                <a:ext uri="{FF2B5EF4-FFF2-40B4-BE49-F238E27FC236}">
                  <a16:creationId xmlns:a16="http://schemas.microsoft.com/office/drawing/2014/main" id="{2C02D5D5-936B-AD45-B1BD-257189DE320D}"/>
                </a:ext>
              </a:extLst>
            </p:cNvPr>
            <p:cNvSpPr/>
            <p:nvPr/>
          </p:nvSpPr>
          <p:spPr>
            <a:xfrm>
              <a:off x="6605769" y="2025002"/>
              <a:ext cx="21809" cy="87332"/>
            </a:xfrm>
            <a:custGeom>
              <a:avLst/>
              <a:gdLst>
                <a:gd name="connsiteX0" fmla="*/ 1411 w 8004"/>
                <a:gd name="connsiteY0" fmla="*/ -12 h 32051"/>
                <a:gd name="connsiteX1" fmla="*/ 7784 w 8004"/>
                <a:gd name="connsiteY1" fmla="*/ 32039 h 32051"/>
                <a:gd name="connsiteX2" fmla="*/ 1411 w 8004"/>
                <a:gd name="connsiteY2" fmla="*/ -12 h 32051"/>
              </a:gdLst>
              <a:ahLst/>
              <a:cxnLst>
                <a:cxn ang="0">
                  <a:pos x="connsiteX0" y="connsiteY0"/>
                </a:cxn>
                <a:cxn ang="0">
                  <a:pos x="connsiteX1" y="connsiteY1"/>
                </a:cxn>
                <a:cxn ang="0">
                  <a:pos x="connsiteX2" y="connsiteY2"/>
                </a:cxn>
              </a:cxnLst>
              <a:rect l="l" t="t" r="r" b="b"/>
              <a:pathLst>
                <a:path w="8004" h="32051">
                  <a:moveTo>
                    <a:pt x="1411" y="-12"/>
                  </a:moveTo>
                  <a:cubicBezTo>
                    <a:pt x="-3058" y="9420"/>
                    <a:pt x="2518" y="25474"/>
                    <a:pt x="7784" y="32039"/>
                  </a:cubicBezTo>
                  <a:cubicBezTo>
                    <a:pt x="7521" y="19476"/>
                    <a:pt x="5024" y="9183"/>
                    <a:pt x="1411" y="-12"/>
                  </a:cubicBezTo>
                  <a:close/>
                </a:path>
              </a:pathLst>
            </a:custGeom>
            <a:solidFill>
              <a:schemeClr val="bg1"/>
            </a:solidFill>
            <a:ln w="9318" cap="flat">
              <a:noFill/>
              <a:prstDash val="solid"/>
              <a:round/>
            </a:ln>
          </p:spPr>
          <p:txBody>
            <a:bodyPr rtlCol="0" anchor="ctr"/>
            <a:lstStyle/>
            <a:p>
              <a:endParaRPr lang="en-LT"/>
            </a:p>
          </p:txBody>
        </p:sp>
        <p:sp>
          <p:nvSpPr>
            <p:cNvPr id="267" name="Freeform 266">
              <a:extLst>
                <a:ext uri="{FF2B5EF4-FFF2-40B4-BE49-F238E27FC236}">
                  <a16:creationId xmlns:a16="http://schemas.microsoft.com/office/drawing/2014/main" id="{2A97E915-ECA4-CA4C-B489-32FB7B81D9CD}"/>
                </a:ext>
              </a:extLst>
            </p:cNvPr>
            <p:cNvSpPr/>
            <p:nvPr/>
          </p:nvSpPr>
          <p:spPr>
            <a:xfrm>
              <a:off x="6393582" y="2031792"/>
              <a:ext cx="167569" cy="229015"/>
            </a:xfrm>
            <a:custGeom>
              <a:avLst/>
              <a:gdLst>
                <a:gd name="connsiteX0" fmla="*/ 44307 w 61498"/>
                <a:gd name="connsiteY0" fmla="*/ 22073 h 84049"/>
                <a:gd name="connsiteX1" fmla="*/ 26284 w 61498"/>
                <a:gd name="connsiteY1" fmla="*/ 28477 h 84049"/>
                <a:gd name="connsiteX2" fmla="*/ 47480 w 61498"/>
                <a:gd name="connsiteY2" fmla="*/ 19935 h 84049"/>
                <a:gd name="connsiteX3" fmla="*/ 61279 w 61498"/>
                <a:gd name="connsiteY3" fmla="*/ 3900 h 84049"/>
                <a:gd name="connsiteX4" fmla="*/ 2967 w 61498"/>
                <a:gd name="connsiteY4" fmla="*/ 84037 h 84049"/>
                <a:gd name="connsiteX5" fmla="*/ 44307 w 61498"/>
                <a:gd name="connsiteY5" fmla="*/ 22073 h 84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98" h="84049">
                  <a:moveTo>
                    <a:pt x="44307" y="22073"/>
                  </a:moveTo>
                  <a:cubicBezTo>
                    <a:pt x="37098" y="22281"/>
                    <a:pt x="28772" y="27058"/>
                    <a:pt x="26284" y="28477"/>
                  </a:cubicBezTo>
                  <a:cubicBezTo>
                    <a:pt x="31616" y="23870"/>
                    <a:pt x="36075" y="18383"/>
                    <a:pt x="47480" y="19935"/>
                  </a:cubicBezTo>
                  <a:cubicBezTo>
                    <a:pt x="50868" y="13370"/>
                    <a:pt x="57158" y="9737"/>
                    <a:pt x="61279" y="3900"/>
                  </a:cubicBezTo>
                  <a:cubicBezTo>
                    <a:pt x="17263" y="-15087"/>
                    <a:pt x="-9846" y="38827"/>
                    <a:pt x="2967" y="84037"/>
                  </a:cubicBezTo>
                  <a:cubicBezTo>
                    <a:pt x="16099" y="62704"/>
                    <a:pt x="28509" y="40681"/>
                    <a:pt x="44307" y="22073"/>
                  </a:cubicBezTo>
                  <a:close/>
                </a:path>
              </a:pathLst>
            </a:custGeom>
            <a:solidFill>
              <a:schemeClr val="bg1"/>
            </a:solidFill>
            <a:ln w="9318" cap="flat">
              <a:noFill/>
              <a:prstDash val="solid"/>
              <a:round/>
            </a:ln>
          </p:spPr>
          <p:txBody>
            <a:bodyPr rtlCol="0" anchor="ctr"/>
            <a:lstStyle/>
            <a:p>
              <a:endParaRPr lang="en-LT"/>
            </a:p>
          </p:txBody>
        </p:sp>
        <p:sp>
          <p:nvSpPr>
            <p:cNvPr id="268" name="Freeform 267">
              <a:extLst>
                <a:ext uri="{FF2B5EF4-FFF2-40B4-BE49-F238E27FC236}">
                  <a16:creationId xmlns:a16="http://schemas.microsoft.com/office/drawing/2014/main" id="{5AD9FDF0-B1EE-D246-A40F-0FA5ED97B956}"/>
                </a:ext>
              </a:extLst>
            </p:cNvPr>
            <p:cNvSpPr/>
            <p:nvPr/>
          </p:nvSpPr>
          <p:spPr>
            <a:xfrm>
              <a:off x="6647785" y="2027915"/>
              <a:ext cx="48741" cy="142648"/>
            </a:xfrm>
            <a:custGeom>
              <a:avLst/>
              <a:gdLst>
                <a:gd name="connsiteX0" fmla="*/ 2962 w 17888"/>
                <a:gd name="connsiteY0" fmla="*/ 52341 h 52352"/>
                <a:gd name="connsiteX1" fmla="*/ 9317 w 17888"/>
                <a:gd name="connsiteY1" fmla="*/ 7461 h 52352"/>
                <a:gd name="connsiteX2" fmla="*/ 6154 w 17888"/>
                <a:gd name="connsiteY2" fmla="*/ 49133 h 52352"/>
                <a:gd name="connsiteX3" fmla="*/ -220 w 17888"/>
                <a:gd name="connsiteY3" fmla="*/ -12 h 52352"/>
                <a:gd name="connsiteX4" fmla="*/ 2962 w 17888"/>
                <a:gd name="connsiteY4" fmla="*/ 52341 h 52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88" h="52352">
                  <a:moveTo>
                    <a:pt x="2962" y="52341"/>
                  </a:moveTo>
                  <a:cubicBezTo>
                    <a:pt x="8069" y="40383"/>
                    <a:pt x="5572" y="20772"/>
                    <a:pt x="9317" y="7461"/>
                  </a:cubicBezTo>
                  <a:cubicBezTo>
                    <a:pt x="10040" y="23165"/>
                    <a:pt x="8735" y="36788"/>
                    <a:pt x="6154" y="49133"/>
                  </a:cubicBezTo>
                  <a:cubicBezTo>
                    <a:pt x="25378" y="41405"/>
                    <a:pt x="18657" y="2258"/>
                    <a:pt x="-220" y="-12"/>
                  </a:cubicBezTo>
                  <a:cubicBezTo>
                    <a:pt x="4624" y="15900"/>
                    <a:pt x="-4472" y="44120"/>
                    <a:pt x="2962" y="52341"/>
                  </a:cubicBezTo>
                  <a:close/>
                </a:path>
              </a:pathLst>
            </a:custGeom>
            <a:solidFill>
              <a:schemeClr val="bg1"/>
            </a:solidFill>
            <a:ln w="9318" cap="flat">
              <a:noFill/>
              <a:prstDash val="solid"/>
              <a:round/>
            </a:ln>
          </p:spPr>
          <p:txBody>
            <a:bodyPr rtlCol="0" anchor="ctr"/>
            <a:lstStyle/>
            <a:p>
              <a:endParaRPr lang="en-LT"/>
            </a:p>
          </p:txBody>
        </p:sp>
        <p:sp>
          <p:nvSpPr>
            <p:cNvPr id="269" name="Freeform 268">
              <a:extLst>
                <a:ext uri="{FF2B5EF4-FFF2-40B4-BE49-F238E27FC236}">
                  <a16:creationId xmlns:a16="http://schemas.microsoft.com/office/drawing/2014/main" id="{D5DF254D-CCE6-B44E-864E-CE7EEF09498B}"/>
                </a:ext>
              </a:extLst>
            </p:cNvPr>
            <p:cNvSpPr/>
            <p:nvPr/>
          </p:nvSpPr>
          <p:spPr>
            <a:xfrm>
              <a:off x="6593614" y="2033740"/>
              <a:ext cx="8390" cy="26215"/>
            </a:xfrm>
            <a:custGeom>
              <a:avLst/>
              <a:gdLst>
                <a:gd name="connsiteX0" fmla="*/ 1647 w 3079"/>
                <a:gd name="connsiteY0" fmla="*/ -12 h 9621"/>
                <a:gd name="connsiteX1" fmla="*/ 2698 w 3079"/>
                <a:gd name="connsiteY1" fmla="*/ 9609 h 9621"/>
                <a:gd name="connsiteX2" fmla="*/ 1647 w 3079"/>
                <a:gd name="connsiteY2" fmla="*/ -12 h 9621"/>
              </a:gdLst>
              <a:ahLst/>
              <a:cxnLst>
                <a:cxn ang="0">
                  <a:pos x="connsiteX0" y="connsiteY0"/>
                </a:cxn>
                <a:cxn ang="0">
                  <a:pos x="connsiteX1" y="connsiteY1"/>
                </a:cxn>
                <a:cxn ang="0">
                  <a:pos x="connsiteX2" y="connsiteY2"/>
                </a:cxn>
              </a:cxnLst>
              <a:rect l="l" t="t" r="r" b="b"/>
              <a:pathLst>
                <a:path w="3079" h="9621">
                  <a:moveTo>
                    <a:pt x="1647" y="-12"/>
                  </a:moveTo>
                  <a:cubicBezTo>
                    <a:pt x="-1788" y="2419"/>
                    <a:pt x="89" y="7452"/>
                    <a:pt x="2698" y="9609"/>
                  </a:cubicBezTo>
                  <a:cubicBezTo>
                    <a:pt x="2032" y="6704"/>
                    <a:pt x="4041" y="1123"/>
                    <a:pt x="1647" y="-12"/>
                  </a:cubicBezTo>
                  <a:close/>
                </a:path>
              </a:pathLst>
            </a:custGeom>
            <a:solidFill>
              <a:schemeClr val="bg1"/>
            </a:solidFill>
            <a:ln w="9318" cap="flat">
              <a:noFill/>
              <a:prstDash val="solid"/>
              <a:round/>
            </a:ln>
          </p:spPr>
          <p:txBody>
            <a:bodyPr rtlCol="0" anchor="ctr"/>
            <a:lstStyle/>
            <a:p>
              <a:endParaRPr lang="en-LT"/>
            </a:p>
          </p:txBody>
        </p:sp>
        <p:sp>
          <p:nvSpPr>
            <p:cNvPr id="270" name="Freeform 269">
              <a:extLst>
                <a:ext uri="{FF2B5EF4-FFF2-40B4-BE49-F238E27FC236}">
                  <a16:creationId xmlns:a16="http://schemas.microsoft.com/office/drawing/2014/main" id="{E1137E9D-605E-2544-8D5E-D858B8FB2665}"/>
                </a:ext>
              </a:extLst>
            </p:cNvPr>
            <p:cNvSpPr/>
            <p:nvPr/>
          </p:nvSpPr>
          <p:spPr>
            <a:xfrm>
              <a:off x="6409443" y="2045367"/>
              <a:ext cx="166135" cy="250345"/>
            </a:xfrm>
            <a:custGeom>
              <a:avLst/>
              <a:gdLst>
                <a:gd name="connsiteX0" fmla="*/ 10926 w 60972"/>
                <a:gd name="connsiteY0" fmla="*/ 59814 h 91877"/>
                <a:gd name="connsiteX1" fmla="*/ 4562 w 60972"/>
                <a:gd name="connsiteY1" fmla="*/ 91865 h 91877"/>
                <a:gd name="connsiteX2" fmla="*/ 60752 w 60972"/>
                <a:gd name="connsiteY2" fmla="*/ 3204 h 91877"/>
                <a:gd name="connsiteX3" fmla="*/ 55458 w 60972"/>
                <a:gd name="connsiteY3" fmla="*/ -12 h 91877"/>
                <a:gd name="connsiteX4" fmla="*/ 10926 w 60972"/>
                <a:gd name="connsiteY4" fmla="*/ 59814 h 918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72" h="91877">
                  <a:moveTo>
                    <a:pt x="10926" y="59814"/>
                  </a:moveTo>
                  <a:cubicBezTo>
                    <a:pt x="4121" y="71270"/>
                    <a:pt x="-6468" y="83408"/>
                    <a:pt x="4562" y="91865"/>
                  </a:cubicBezTo>
                  <a:cubicBezTo>
                    <a:pt x="19769" y="59474"/>
                    <a:pt x="45790" y="32285"/>
                    <a:pt x="60752" y="3204"/>
                  </a:cubicBezTo>
                  <a:cubicBezTo>
                    <a:pt x="60020" y="1085"/>
                    <a:pt x="57927" y="357"/>
                    <a:pt x="55458" y="-12"/>
                  </a:cubicBezTo>
                  <a:cubicBezTo>
                    <a:pt x="41218" y="15616"/>
                    <a:pt x="24378" y="37157"/>
                    <a:pt x="10926" y="59814"/>
                  </a:cubicBezTo>
                  <a:close/>
                </a:path>
              </a:pathLst>
            </a:custGeom>
            <a:solidFill>
              <a:schemeClr val="bg1"/>
            </a:solidFill>
            <a:ln w="9318" cap="flat">
              <a:noFill/>
              <a:prstDash val="solid"/>
              <a:round/>
            </a:ln>
          </p:spPr>
          <p:txBody>
            <a:bodyPr rtlCol="0" anchor="ctr"/>
            <a:lstStyle/>
            <a:p>
              <a:endParaRPr lang="en-LT"/>
            </a:p>
          </p:txBody>
        </p:sp>
        <p:sp>
          <p:nvSpPr>
            <p:cNvPr id="271" name="Freeform 270">
              <a:extLst>
                <a:ext uri="{FF2B5EF4-FFF2-40B4-BE49-F238E27FC236}">
                  <a16:creationId xmlns:a16="http://schemas.microsoft.com/office/drawing/2014/main" id="{CA47241F-2DDA-5B45-8FB8-BC9EC19D1347}"/>
                </a:ext>
              </a:extLst>
            </p:cNvPr>
            <p:cNvSpPr/>
            <p:nvPr/>
          </p:nvSpPr>
          <p:spPr>
            <a:xfrm>
              <a:off x="6427939" y="2062893"/>
              <a:ext cx="209277" cy="346878"/>
            </a:xfrm>
            <a:custGeom>
              <a:avLst/>
              <a:gdLst>
                <a:gd name="connsiteX0" fmla="*/ -104 w 76805"/>
                <a:gd name="connsiteY0" fmla="*/ 90777 h 127305"/>
                <a:gd name="connsiteX1" fmla="*/ 60310 w 76805"/>
                <a:gd name="connsiteY1" fmla="*/ 10659 h 127305"/>
                <a:gd name="connsiteX2" fmla="*/ 13676 w 76805"/>
                <a:gd name="connsiteY2" fmla="*/ 77959 h 127305"/>
                <a:gd name="connsiteX3" fmla="*/ 11564 w 76805"/>
                <a:gd name="connsiteY3" fmla="*/ 76890 h 127305"/>
                <a:gd name="connsiteX4" fmla="*/ 2017 w 76805"/>
                <a:gd name="connsiteY4" fmla="*/ 98251 h 127305"/>
                <a:gd name="connsiteX5" fmla="*/ 15797 w 76805"/>
                <a:gd name="connsiteY5" fmla="*/ 79018 h 127305"/>
                <a:gd name="connsiteX6" fmla="*/ 17928 w 76805"/>
                <a:gd name="connsiteY6" fmla="*/ 80097 h 127305"/>
                <a:gd name="connsiteX7" fmla="*/ 60310 w 76805"/>
                <a:gd name="connsiteY7" fmla="*/ 22399 h 127305"/>
                <a:gd name="connsiteX8" fmla="*/ 56077 w 76805"/>
                <a:gd name="connsiteY8" fmla="*/ 32011 h 127305"/>
                <a:gd name="connsiteX9" fmla="*/ 59259 w 76805"/>
                <a:gd name="connsiteY9" fmla="*/ 33098 h 127305"/>
                <a:gd name="connsiteX10" fmla="*/ 7330 w 76805"/>
                <a:gd name="connsiteY10" fmla="*/ 110010 h 127305"/>
                <a:gd name="connsiteX11" fmla="*/ 29587 w 76805"/>
                <a:gd name="connsiteY11" fmla="*/ 127095 h 127305"/>
                <a:gd name="connsiteX12" fmla="*/ 67735 w 76805"/>
                <a:gd name="connsiteY12" fmla="*/ 29873 h 127305"/>
                <a:gd name="connsiteX13" fmla="*/ 57147 w 76805"/>
                <a:gd name="connsiteY13" fmla="*/ -12 h 127305"/>
                <a:gd name="connsiteX14" fmla="*/ 11564 w 76805"/>
                <a:gd name="connsiteY14" fmla="*/ 66209 h 127305"/>
                <a:gd name="connsiteX15" fmla="*/ -104 w 76805"/>
                <a:gd name="connsiteY15" fmla="*/ 90777 h 127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805" h="127305">
                  <a:moveTo>
                    <a:pt x="-104" y="90777"/>
                  </a:moveTo>
                  <a:cubicBezTo>
                    <a:pt x="19130" y="63154"/>
                    <a:pt x="37068" y="34215"/>
                    <a:pt x="60310" y="10659"/>
                  </a:cubicBezTo>
                  <a:cubicBezTo>
                    <a:pt x="45976" y="33647"/>
                    <a:pt x="22678" y="53116"/>
                    <a:pt x="13676" y="77959"/>
                  </a:cubicBezTo>
                  <a:cubicBezTo>
                    <a:pt x="13741" y="75963"/>
                    <a:pt x="12869" y="75698"/>
                    <a:pt x="11564" y="76890"/>
                  </a:cubicBezTo>
                  <a:cubicBezTo>
                    <a:pt x="9386" y="85026"/>
                    <a:pt x="2073" y="87977"/>
                    <a:pt x="2017" y="98251"/>
                  </a:cubicBezTo>
                  <a:cubicBezTo>
                    <a:pt x="8588" y="93975"/>
                    <a:pt x="14549" y="85309"/>
                    <a:pt x="15797" y="79018"/>
                  </a:cubicBezTo>
                  <a:cubicBezTo>
                    <a:pt x="15750" y="81014"/>
                    <a:pt x="16614" y="81289"/>
                    <a:pt x="17928" y="80097"/>
                  </a:cubicBezTo>
                  <a:cubicBezTo>
                    <a:pt x="29521" y="58319"/>
                    <a:pt x="47901" y="43363"/>
                    <a:pt x="60310" y="22399"/>
                  </a:cubicBezTo>
                  <a:cubicBezTo>
                    <a:pt x="59672" y="26363"/>
                    <a:pt x="57335" y="28662"/>
                    <a:pt x="56077" y="32011"/>
                  </a:cubicBezTo>
                  <a:cubicBezTo>
                    <a:pt x="55767" y="35359"/>
                    <a:pt x="59137" y="29305"/>
                    <a:pt x="59259" y="33098"/>
                  </a:cubicBezTo>
                  <a:cubicBezTo>
                    <a:pt x="43921" y="60713"/>
                    <a:pt x="20725" y="80428"/>
                    <a:pt x="7330" y="110010"/>
                  </a:cubicBezTo>
                  <a:cubicBezTo>
                    <a:pt x="13122" y="120170"/>
                    <a:pt x="18501" y="125913"/>
                    <a:pt x="29587" y="127095"/>
                  </a:cubicBezTo>
                  <a:cubicBezTo>
                    <a:pt x="70213" y="131466"/>
                    <a:pt x="89016" y="62378"/>
                    <a:pt x="67735" y="29873"/>
                  </a:cubicBezTo>
                  <a:cubicBezTo>
                    <a:pt x="66628" y="17470"/>
                    <a:pt x="61577" y="9041"/>
                    <a:pt x="57147" y="-12"/>
                  </a:cubicBezTo>
                  <a:cubicBezTo>
                    <a:pt x="39969" y="19627"/>
                    <a:pt x="25212" y="43770"/>
                    <a:pt x="11564" y="66209"/>
                  </a:cubicBezTo>
                  <a:cubicBezTo>
                    <a:pt x="6880" y="73900"/>
                    <a:pt x="-1287" y="81014"/>
                    <a:pt x="-104" y="90777"/>
                  </a:cubicBezTo>
                  <a:close/>
                </a:path>
              </a:pathLst>
            </a:custGeom>
            <a:solidFill>
              <a:schemeClr val="bg1"/>
            </a:solidFill>
            <a:ln w="9318" cap="flat">
              <a:noFill/>
              <a:prstDash val="solid"/>
              <a:round/>
            </a:ln>
          </p:spPr>
          <p:txBody>
            <a:bodyPr rtlCol="0" anchor="ctr"/>
            <a:lstStyle/>
            <a:p>
              <a:endParaRPr lang="en-LT"/>
            </a:p>
          </p:txBody>
        </p:sp>
        <p:sp>
          <p:nvSpPr>
            <p:cNvPr id="272" name="Freeform 271">
              <a:extLst>
                <a:ext uri="{FF2B5EF4-FFF2-40B4-BE49-F238E27FC236}">
                  <a16:creationId xmlns:a16="http://schemas.microsoft.com/office/drawing/2014/main" id="{DD58F721-DBDB-234C-B399-AA14C0295071}"/>
                </a:ext>
              </a:extLst>
            </p:cNvPr>
            <p:cNvSpPr/>
            <p:nvPr/>
          </p:nvSpPr>
          <p:spPr>
            <a:xfrm>
              <a:off x="6517036" y="2470351"/>
              <a:ext cx="9060" cy="37815"/>
            </a:xfrm>
            <a:custGeom>
              <a:avLst/>
              <a:gdLst>
                <a:gd name="connsiteX0" fmla="*/ 2172 w 3325"/>
                <a:gd name="connsiteY0" fmla="*/ 13866 h 13878"/>
                <a:gd name="connsiteX1" fmla="*/ 50 w 3325"/>
                <a:gd name="connsiteY1" fmla="*/ -12 h 13878"/>
                <a:gd name="connsiteX2" fmla="*/ 2172 w 3325"/>
                <a:gd name="connsiteY2" fmla="*/ 13866 h 13878"/>
              </a:gdLst>
              <a:ahLst/>
              <a:cxnLst>
                <a:cxn ang="0">
                  <a:pos x="connsiteX0" y="connsiteY0"/>
                </a:cxn>
                <a:cxn ang="0">
                  <a:pos x="connsiteX1" y="connsiteY1"/>
                </a:cxn>
                <a:cxn ang="0">
                  <a:pos x="connsiteX2" y="connsiteY2"/>
                </a:cxn>
              </a:cxnLst>
              <a:rect l="l" t="t" r="r" b="b"/>
              <a:pathLst>
                <a:path w="3325" h="13878">
                  <a:moveTo>
                    <a:pt x="2172" y="13866"/>
                  </a:moveTo>
                  <a:cubicBezTo>
                    <a:pt x="4753" y="10176"/>
                    <a:pt x="1299" y="3412"/>
                    <a:pt x="50" y="-12"/>
                  </a:cubicBezTo>
                  <a:cubicBezTo>
                    <a:pt x="1205" y="4169"/>
                    <a:pt x="-2400" y="13137"/>
                    <a:pt x="2172" y="13866"/>
                  </a:cubicBezTo>
                  <a:close/>
                </a:path>
              </a:pathLst>
            </a:custGeom>
            <a:solidFill>
              <a:schemeClr val="bg1"/>
            </a:solidFill>
            <a:ln w="9318" cap="flat">
              <a:noFill/>
              <a:prstDash val="solid"/>
              <a:round/>
            </a:ln>
          </p:spPr>
          <p:txBody>
            <a:bodyPr rtlCol="0" anchor="ctr"/>
            <a:lstStyle/>
            <a:p>
              <a:endParaRPr lang="en-LT"/>
            </a:p>
          </p:txBody>
        </p:sp>
        <p:sp>
          <p:nvSpPr>
            <p:cNvPr id="273" name="Freeform 272">
              <a:extLst>
                <a:ext uri="{FF2B5EF4-FFF2-40B4-BE49-F238E27FC236}">
                  <a16:creationId xmlns:a16="http://schemas.microsoft.com/office/drawing/2014/main" id="{531E5172-45F3-5D41-B66C-4E5C071BF105}"/>
                </a:ext>
              </a:extLst>
            </p:cNvPr>
            <p:cNvSpPr/>
            <p:nvPr/>
          </p:nvSpPr>
          <p:spPr>
            <a:xfrm>
              <a:off x="6506265" y="3124814"/>
              <a:ext cx="75068" cy="12128"/>
            </a:xfrm>
            <a:custGeom>
              <a:avLst/>
              <a:gdLst>
                <a:gd name="connsiteX0" fmla="*/ 1892 w 27550"/>
                <a:gd name="connsiteY0" fmla="*/ 4440 h 4451"/>
                <a:gd name="connsiteX1" fmla="*/ 23107 w 27550"/>
                <a:gd name="connsiteY1" fmla="*/ 2302 h 4451"/>
                <a:gd name="connsiteX2" fmla="*/ 27331 w 27550"/>
                <a:gd name="connsiteY2" fmla="*/ 2302 h 4451"/>
                <a:gd name="connsiteX3" fmla="*/ 23107 w 27550"/>
                <a:gd name="connsiteY3" fmla="*/ 1233 h 4451"/>
                <a:gd name="connsiteX4" fmla="*/ -220 w 27550"/>
                <a:gd name="connsiteY4" fmla="*/ 2302 h 4451"/>
                <a:gd name="connsiteX5" fmla="*/ 1892 w 27550"/>
                <a:gd name="connsiteY5" fmla="*/ 4440 h 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50" h="4451">
                  <a:moveTo>
                    <a:pt x="1892" y="4440"/>
                  </a:moveTo>
                  <a:cubicBezTo>
                    <a:pt x="7036" y="1791"/>
                    <a:pt x="17700" y="4714"/>
                    <a:pt x="23107" y="2302"/>
                  </a:cubicBezTo>
                  <a:lnTo>
                    <a:pt x="27331" y="2302"/>
                  </a:lnTo>
                  <a:cubicBezTo>
                    <a:pt x="27124" y="722"/>
                    <a:pt x="24777" y="1327"/>
                    <a:pt x="23107" y="1233"/>
                  </a:cubicBezTo>
                  <a:cubicBezTo>
                    <a:pt x="14827" y="3276"/>
                    <a:pt x="4549" y="-3289"/>
                    <a:pt x="-220" y="2302"/>
                  </a:cubicBezTo>
                  <a:cubicBezTo>
                    <a:pt x="15" y="3494"/>
                    <a:pt x="963" y="3957"/>
                    <a:pt x="1892" y="4440"/>
                  </a:cubicBezTo>
                  <a:close/>
                </a:path>
              </a:pathLst>
            </a:custGeom>
            <a:solidFill>
              <a:schemeClr val="bg1"/>
            </a:solidFill>
            <a:ln w="9318" cap="flat">
              <a:noFill/>
              <a:prstDash val="solid"/>
              <a:round/>
            </a:ln>
          </p:spPr>
          <p:txBody>
            <a:bodyPr rtlCol="0" anchor="ctr"/>
            <a:lstStyle/>
            <a:p>
              <a:endParaRPr lang="en-LT"/>
            </a:p>
          </p:txBody>
        </p:sp>
        <p:sp>
          <p:nvSpPr>
            <p:cNvPr id="274" name="Freeform 273">
              <a:extLst>
                <a:ext uri="{FF2B5EF4-FFF2-40B4-BE49-F238E27FC236}">
                  <a16:creationId xmlns:a16="http://schemas.microsoft.com/office/drawing/2014/main" id="{D6E46344-7D04-034E-95D7-C14EF45C1156}"/>
                </a:ext>
              </a:extLst>
            </p:cNvPr>
            <p:cNvSpPr/>
            <p:nvPr/>
          </p:nvSpPr>
          <p:spPr>
            <a:xfrm>
              <a:off x="6939495" y="3564714"/>
              <a:ext cx="60643" cy="433851"/>
            </a:xfrm>
            <a:custGeom>
              <a:avLst/>
              <a:gdLst>
                <a:gd name="connsiteX0" fmla="*/ 22037 w 22256"/>
                <a:gd name="connsiteY0" fmla="*/ 1085 h 159224"/>
                <a:gd name="connsiteX1" fmla="*/ 20976 w 22256"/>
                <a:gd name="connsiteY1" fmla="*/ 25 h 159224"/>
                <a:gd name="connsiteX2" fmla="*/ 15682 w 22256"/>
                <a:gd name="connsiteY2" fmla="*/ 8587 h 159224"/>
                <a:gd name="connsiteX3" fmla="*/ 8266 w 22256"/>
                <a:gd name="connsiteY3" fmla="*/ 84429 h 159224"/>
                <a:gd name="connsiteX4" fmla="*/ -220 w 22256"/>
                <a:gd name="connsiteY4" fmla="*/ 159212 h 159224"/>
                <a:gd name="connsiteX5" fmla="*/ 9317 w 22256"/>
                <a:gd name="connsiteY5" fmla="*/ 126082 h 159224"/>
                <a:gd name="connsiteX6" fmla="*/ 22037 w 22256"/>
                <a:gd name="connsiteY6" fmla="*/ 1085 h 15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56" h="159224">
                  <a:moveTo>
                    <a:pt x="22037" y="1085"/>
                  </a:moveTo>
                  <a:cubicBezTo>
                    <a:pt x="21980" y="451"/>
                    <a:pt x="21886" y="-173"/>
                    <a:pt x="20976" y="25"/>
                  </a:cubicBezTo>
                  <a:cubicBezTo>
                    <a:pt x="19098" y="3005"/>
                    <a:pt x="16414" y="5209"/>
                    <a:pt x="15682" y="8587"/>
                  </a:cubicBezTo>
                  <a:cubicBezTo>
                    <a:pt x="11129" y="29636"/>
                    <a:pt x="10735" y="57761"/>
                    <a:pt x="8266" y="84429"/>
                  </a:cubicBezTo>
                  <a:cubicBezTo>
                    <a:pt x="5788" y="110833"/>
                    <a:pt x="2305" y="137151"/>
                    <a:pt x="-220" y="159212"/>
                  </a:cubicBezTo>
                  <a:cubicBezTo>
                    <a:pt x="9317" y="153877"/>
                    <a:pt x="7543" y="138513"/>
                    <a:pt x="9317" y="126082"/>
                  </a:cubicBezTo>
                  <a:cubicBezTo>
                    <a:pt x="15062" y="85877"/>
                    <a:pt x="15503" y="37904"/>
                    <a:pt x="22037" y="1085"/>
                  </a:cubicBezTo>
                  <a:close/>
                </a:path>
              </a:pathLst>
            </a:custGeom>
            <a:solidFill>
              <a:schemeClr val="bg1"/>
            </a:solidFill>
            <a:ln w="9318" cap="flat">
              <a:noFill/>
              <a:prstDash val="solid"/>
              <a:round/>
            </a:ln>
          </p:spPr>
          <p:txBody>
            <a:bodyPr rtlCol="0" anchor="ctr"/>
            <a:lstStyle/>
            <a:p>
              <a:endParaRPr lang="en-LT"/>
            </a:p>
          </p:txBody>
        </p:sp>
        <p:sp>
          <p:nvSpPr>
            <p:cNvPr id="275" name="Freeform 274">
              <a:extLst>
                <a:ext uri="{FF2B5EF4-FFF2-40B4-BE49-F238E27FC236}">
                  <a16:creationId xmlns:a16="http://schemas.microsoft.com/office/drawing/2014/main" id="{231DDE01-5F13-8D47-AA94-A9BEFB77EC36}"/>
                </a:ext>
              </a:extLst>
            </p:cNvPr>
            <p:cNvSpPr/>
            <p:nvPr/>
          </p:nvSpPr>
          <p:spPr>
            <a:xfrm>
              <a:off x="6425364" y="3803410"/>
              <a:ext cx="106861" cy="116509"/>
            </a:xfrm>
            <a:custGeom>
              <a:avLst/>
              <a:gdLst>
                <a:gd name="connsiteX0" fmla="*/ 36896 w 39218"/>
                <a:gd name="connsiteY0" fmla="*/ 25 h 42759"/>
                <a:gd name="connsiteX1" fmla="*/ 16742 w 39218"/>
                <a:gd name="connsiteY1" fmla="*/ 19258 h 42759"/>
                <a:gd name="connsiteX2" fmla="*/ -220 w 39218"/>
                <a:gd name="connsiteY2" fmla="*/ 42748 h 42759"/>
                <a:gd name="connsiteX3" fmla="*/ 19925 w 39218"/>
                <a:gd name="connsiteY3" fmla="*/ 23534 h 42759"/>
                <a:gd name="connsiteX4" fmla="*/ 38999 w 39218"/>
                <a:gd name="connsiteY4" fmla="*/ 1094 h 42759"/>
                <a:gd name="connsiteX5" fmla="*/ 36896 w 39218"/>
                <a:gd name="connsiteY5" fmla="*/ 25 h 4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218" h="42759">
                  <a:moveTo>
                    <a:pt x="36896" y="25"/>
                  </a:moveTo>
                  <a:cubicBezTo>
                    <a:pt x="31208" y="7452"/>
                    <a:pt x="23623" y="12967"/>
                    <a:pt x="16742" y="19258"/>
                  </a:cubicBezTo>
                  <a:cubicBezTo>
                    <a:pt x="10209" y="25256"/>
                    <a:pt x="-4" y="30970"/>
                    <a:pt x="-220" y="42748"/>
                  </a:cubicBezTo>
                  <a:cubicBezTo>
                    <a:pt x="6942" y="39087"/>
                    <a:pt x="13081" y="30431"/>
                    <a:pt x="19925" y="23534"/>
                  </a:cubicBezTo>
                  <a:cubicBezTo>
                    <a:pt x="26561" y="16827"/>
                    <a:pt x="37121" y="11198"/>
                    <a:pt x="38999" y="1094"/>
                  </a:cubicBezTo>
                  <a:cubicBezTo>
                    <a:pt x="38774" y="271"/>
                    <a:pt x="38126" y="-145"/>
                    <a:pt x="36896" y="25"/>
                  </a:cubicBezTo>
                  <a:close/>
                </a:path>
              </a:pathLst>
            </a:custGeom>
            <a:solidFill>
              <a:schemeClr val="bg1"/>
            </a:solidFill>
            <a:ln w="9318" cap="flat">
              <a:noFill/>
              <a:prstDash val="solid"/>
              <a:round/>
            </a:ln>
          </p:spPr>
          <p:txBody>
            <a:bodyPr rtlCol="0" anchor="ctr"/>
            <a:lstStyle/>
            <a:p>
              <a:endParaRPr lang="en-LT"/>
            </a:p>
          </p:txBody>
        </p:sp>
        <p:sp>
          <p:nvSpPr>
            <p:cNvPr id="276" name="Freeform 275">
              <a:extLst>
                <a:ext uri="{FF2B5EF4-FFF2-40B4-BE49-F238E27FC236}">
                  <a16:creationId xmlns:a16="http://schemas.microsoft.com/office/drawing/2014/main" id="{34613F94-FE92-6045-A098-F2640DCF9AA0}"/>
                </a:ext>
              </a:extLst>
            </p:cNvPr>
            <p:cNvSpPr/>
            <p:nvPr/>
          </p:nvSpPr>
          <p:spPr>
            <a:xfrm>
              <a:off x="6427601" y="3832614"/>
              <a:ext cx="100149" cy="133961"/>
            </a:xfrm>
            <a:custGeom>
              <a:avLst/>
              <a:gdLst>
                <a:gd name="connsiteX0" fmla="*/ 36075 w 36755"/>
                <a:gd name="connsiteY0" fmla="*/ -12 h 49164"/>
                <a:gd name="connsiteX1" fmla="*/ 18052 w 36755"/>
                <a:gd name="connsiteY1" fmla="*/ 18161 h 49164"/>
                <a:gd name="connsiteX2" fmla="*/ 1080 w 36755"/>
                <a:gd name="connsiteY2" fmla="*/ 49152 h 49164"/>
                <a:gd name="connsiteX3" fmla="*/ 36075 w 36755"/>
                <a:gd name="connsiteY3" fmla="*/ -12 h 49164"/>
              </a:gdLst>
              <a:ahLst/>
              <a:cxnLst>
                <a:cxn ang="0">
                  <a:pos x="connsiteX0" y="connsiteY0"/>
                </a:cxn>
                <a:cxn ang="0">
                  <a:pos x="connsiteX1" y="connsiteY1"/>
                </a:cxn>
                <a:cxn ang="0">
                  <a:pos x="connsiteX2" y="connsiteY2"/>
                </a:cxn>
                <a:cxn ang="0">
                  <a:pos x="connsiteX3" y="connsiteY3"/>
                </a:cxn>
              </a:cxnLst>
              <a:rect l="l" t="t" r="r" b="b"/>
              <a:pathLst>
                <a:path w="36755" h="49164">
                  <a:moveTo>
                    <a:pt x="36075" y="-12"/>
                  </a:moveTo>
                  <a:cubicBezTo>
                    <a:pt x="30499" y="4311"/>
                    <a:pt x="24970" y="11170"/>
                    <a:pt x="18052" y="18161"/>
                  </a:cubicBezTo>
                  <a:cubicBezTo>
                    <a:pt x="9519" y="26713"/>
                    <a:pt x="-4571" y="33212"/>
                    <a:pt x="1080" y="49152"/>
                  </a:cubicBezTo>
                  <a:cubicBezTo>
                    <a:pt x="10711" y="35690"/>
                    <a:pt x="40590" y="27706"/>
                    <a:pt x="36075" y="-12"/>
                  </a:cubicBezTo>
                  <a:close/>
                </a:path>
              </a:pathLst>
            </a:custGeom>
            <a:solidFill>
              <a:schemeClr val="bg1"/>
            </a:solidFill>
            <a:ln w="9318" cap="flat">
              <a:noFill/>
              <a:prstDash val="solid"/>
              <a:round/>
            </a:ln>
          </p:spPr>
          <p:txBody>
            <a:bodyPr rtlCol="0" anchor="ctr"/>
            <a:lstStyle/>
            <a:p>
              <a:endParaRPr lang="en-LT"/>
            </a:p>
          </p:txBody>
        </p:sp>
        <p:sp>
          <p:nvSpPr>
            <p:cNvPr id="277" name="Freeform 276">
              <a:extLst>
                <a:ext uri="{FF2B5EF4-FFF2-40B4-BE49-F238E27FC236}">
                  <a16:creationId xmlns:a16="http://schemas.microsoft.com/office/drawing/2014/main" id="{A7FA00DE-68D0-6747-A145-A6B797032F5A}"/>
                </a:ext>
              </a:extLst>
            </p:cNvPr>
            <p:cNvSpPr/>
            <p:nvPr/>
          </p:nvSpPr>
          <p:spPr>
            <a:xfrm>
              <a:off x="6431143" y="3887958"/>
              <a:ext cx="95757" cy="110607"/>
            </a:xfrm>
            <a:custGeom>
              <a:avLst/>
              <a:gdLst>
                <a:gd name="connsiteX0" fmla="*/ 33695 w 35143"/>
                <a:gd name="connsiteY0" fmla="*/ -12 h 40593"/>
                <a:gd name="connsiteX1" fmla="*/ 14621 w 35143"/>
                <a:gd name="connsiteY1" fmla="*/ 18132 h 40593"/>
                <a:gd name="connsiteX2" fmla="*/ -220 w 35143"/>
                <a:gd name="connsiteY2" fmla="*/ 40581 h 40593"/>
                <a:gd name="connsiteX3" fmla="*/ 34775 w 35143"/>
                <a:gd name="connsiteY3" fmla="*/ 10649 h 40593"/>
                <a:gd name="connsiteX4" fmla="*/ 33695 w 35143"/>
                <a:gd name="connsiteY4" fmla="*/ -12 h 40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3" h="40593">
                  <a:moveTo>
                    <a:pt x="33695" y="-12"/>
                  </a:moveTo>
                  <a:cubicBezTo>
                    <a:pt x="28551" y="7253"/>
                    <a:pt x="20957" y="12002"/>
                    <a:pt x="14621" y="18132"/>
                  </a:cubicBezTo>
                  <a:cubicBezTo>
                    <a:pt x="8810" y="23771"/>
                    <a:pt x="-41" y="29863"/>
                    <a:pt x="-220" y="40581"/>
                  </a:cubicBezTo>
                  <a:cubicBezTo>
                    <a:pt x="10875" y="34281"/>
                    <a:pt x="23623" y="20441"/>
                    <a:pt x="34775" y="10649"/>
                  </a:cubicBezTo>
                  <a:cubicBezTo>
                    <a:pt x="34089" y="7395"/>
                    <a:pt x="36117" y="1464"/>
                    <a:pt x="33695" y="-12"/>
                  </a:cubicBezTo>
                  <a:close/>
                </a:path>
              </a:pathLst>
            </a:custGeom>
            <a:solidFill>
              <a:schemeClr val="bg1"/>
            </a:solidFill>
            <a:ln w="9318" cap="flat">
              <a:noFill/>
              <a:prstDash val="solid"/>
              <a:round/>
            </a:ln>
          </p:spPr>
          <p:txBody>
            <a:bodyPr rtlCol="0" anchor="ctr"/>
            <a:lstStyle/>
            <a:p>
              <a:endParaRPr lang="en-LT"/>
            </a:p>
          </p:txBody>
        </p:sp>
        <p:sp>
          <p:nvSpPr>
            <p:cNvPr id="278" name="Freeform 277">
              <a:extLst>
                <a:ext uri="{FF2B5EF4-FFF2-40B4-BE49-F238E27FC236}">
                  <a16:creationId xmlns:a16="http://schemas.microsoft.com/office/drawing/2014/main" id="{36463629-DCC6-6340-AA47-B95097DC46DD}"/>
                </a:ext>
              </a:extLst>
            </p:cNvPr>
            <p:cNvSpPr/>
            <p:nvPr/>
          </p:nvSpPr>
          <p:spPr>
            <a:xfrm>
              <a:off x="6434034" y="3928633"/>
              <a:ext cx="90024" cy="116484"/>
            </a:xfrm>
            <a:custGeom>
              <a:avLst/>
              <a:gdLst>
                <a:gd name="connsiteX0" fmla="*/ 31583 w 33039"/>
                <a:gd name="connsiteY0" fmla="*/ -12 h 42750"/>
                <a:gd name="connsiteX1" fmla="*/ -220 w 33039"/>
                <a:gd name="connsiteY1" fmla="*/ 28851 h 42750"/>
                <a:gd name="connsiteX2" fmla="*/ -220 w 33039"/>
                <a:gd name="connsiteY2" fmla="*/ 42738 h 42750"/>
                <a:gd name="connsiteX3" fmla="*/ 32634 w 33039"/>
                <a:gd name="connsiteY3" fmla="*/ 13913 h 42750"/>
                <a:gd name="connsiteX4" fmla="*/ 31583 w 33039"/>
                <a:gd name="connsiteY4" fmla="*/ -12 h 42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39" h="42750">
                  <a:moveTo>
                    <a:pt x="31583" y="-12"/>
                  </a:moveTo>
                  <a:cubicBezTo>
                    <a:pt x="21483" y="10110"/>
                    <a:pt x="10829" y="19665"/>
                    <a:pt x="-220" y="28851"/>
                  </a:cubicBezTo>
                  <a:lnTo>
                    <a:pt x="-220" y="42738"/>
                  </a:lnTo>
                  <a:cubicBezTo>
                    <a:pt x="11880" y="34262"/>
                    <a:pt x="20807" y="22588"/>
                    <a:pt x="32634" y="13913"/>
                  </a:cubicBezTo>
                  <a:cubicBezTo>
                    <a:pt x="31968" y="9599"/>
                    <a:pt x="34033" y="2523"/>
                    <a:pt x="31583" y="-12"/>
                  </a:cubicBezTo>
                  <a:close/>
                </a:path>
              </a:pathLst>
            </a:custGeom>
            <a:solidFill>
              <a:schemeClr val="bg1"/>
            </a:solidFill>
            <a:ln w="9318" cap="flat">
              <a:noFill/>
              <a:prstDash val="solid"/>
              <a:round/>
            </a:ln>
          </p:spPr>
          <p:txBody>
            <a:bodyPr rtlCol="0" anchor="ctr"/>
            <a:lstStyle/>
            <a:p>
              <a:endParaRPr lang="en-LT"/>
            </a:p>
          </p:txBody>
        </p:sp>
        <p:sp>
          <p:nvSpPr>
            <p:cNvPr id="279" name="Freeform 278">
              <a:extLst>
                <a:ext uri="{FF2B5EF4-FFF2-40B4-BE49-F238E27FC236}">
                  <a16:creationId xmlns:a16="http://schemas.microsoft.com/office/drawing/2014/main" id="{B4668F73-FEB3-264C-BB05-ACA13D02D2DF}"/>
                </a:ext>
              </a:extLst>
            </p:cNvPr>
            <p:cNvSpPr/>
            <p:nvPr/>
          </p:nvSpPr>
          <p:spPr>
            <a:xfrm>
              <a:off x="6436925" y="3975290"/>
              <a:ext cx="89572" cy="98931"/>
            </a:xfrm>
            <a:custGeom>
              <a:avLst/>
              <a:gdLst>
                <a:gd name="connsiteX0" fmla="*/ 32653 w 32873"/>
                <a:gd name="connsiteY0" fmla="*/ 2126 h 36308"/>
                <a:gd name="connsiteX1" fmla="*/ 30522 w 32873"/>
                <a:gd name="connsiteY1" fmla="*/ -12 h 36308"/>
                <a:gd name="connsiteX2" fmla="*/ -220 w 32873"/>
                <a:gd name="connsiteY2" fmla="*/ 36296 h 36308"/>
                <a:gd name="connsiteX3" fmla="*/ 32653 w 32873"/>
                <a:gd name="connsiteY3" fmla="*/ 2126 h 36308"/>
              </a:gdLst>
              <a:ahLst/>
              <a:cxnLst>
                <a:cxn ang="0">
                  <a:pos x="connsiteX0" y="connsiteY0"/>
                </a:cxn>
                <a:cxn ang="0">
                  <a:pos x="connsiteX1" y="connsiteY1"/>
                </a:cxn>
                <a:cxn ang="0">
                  <a:pos x="connsiteX2" y="connsiteY2"/>
                </a:cxn>
                <a:cxn ang="0">
                  <a:pos x="connsiteX3" y="connsiteY3"/>
                </a:cxn>
              </a:cxnLst>
              <a:rect l="l" t="t" r="r" b="b"/>
              <a:pathLst>
                <a:path w="32873" h="36308">
                  <a:moveTo>
                    <a:pt x="32653" y="2126"/>
                  </a:moveTo>
                  <a:cubicBezTo>
                    <a:pt x="31245" y="2088"/>
                    <a:pt x="31667" y="234"/>
                    <a:pt x="30522" y="-12"/>
                  </a:cubicBezTo>
                  <a:cubicBezTo>
                    <a:pt x="21698" y="13516"/>
                    <a:pt x="3037" y="17139"/>
                    <a:pt x="-220" y="36296"/>
                  </a:cubicBezTo>
                  <a:cubicBezTo>
                    <a:pt x="11936" y="26117"/>
                    <a:pt x="24017" y="15824"/>
                    <a:pt x="32653" y="2126"/>
                  </a:cubicBezTo>
                  <a:close/>
                </a:path>
              </a:pathLst>
            </a:custGeom>
            <a:solidFill>
              <a:schemeClr val="bg1"/>
            </a:solidFill>
            <a:ln w="9318" cap="flat">
              <a:noFill/>
              <a:prstDash val="solid"/>
              <a:round/>
            </a:ln>
          </p:spPr>
          <p:txBody>
            <a:bodyPr rtlCol="0" anchor="ctr"/>
            <a:lstStyle/>
            <a:p>
              <a:endParaRPr lang="en-LT"/>
            </a:p>
          </p:txBody>
        </p:sp>
        <p:sp>
          <p:nvSpPr>
            <p:cNvPr id="280" name="Freeform 279">
              <a:extLst>
                <a:ext uri="{FF2B5EF4-FFF2-40B4-BE49-F238E27FC236}">
                  <a16:creationId xmlns:a16="http://schemas.microsoft.com/office/drawing/2014/main" id="{C87353CE-D93D-6E4B-81F6-E257EB687DFB}"/>
                </a:ext>
              </a:extLst>
            </p:cNvPr>
            <p:cNvSpPr/>
            <p:nvPr/>
          </p:nvSpPr>
          <p:spPr>
            <a:xfrm>
              <a:off x="6437985" y="4004393"/>
              <a:ext cx="94348" cy="521055"/>
            </a:xfrm>
            <a:custGeom>
              <a:avLst/>
              <a:gdLst>
                <a:gd name="connsiteX0" fmla="*/ 32264 w 34626"/>
                <a:gd name="connsiteY0" fmla="*/ -12 h 191228"/>
                <a:gd name="connsiteX1" fmla="*/ 30133 w 34626"/>
                <a:gd name="connsiteY1" fmla="*/ -12 h 191228"/>
                <a:gd name="connsiteX2" fmla="*/ 452 w 34626"/>
                <a:gd name="connsiteY2" fmla="*/ 30951 h 191228"/>
                <a:gd name="connsiteX3" fmla="*/ 5746 w 34626"/>
                <a:gd name="connsiteY3" fmla="*/ 86511 h 191228"/>
                <a:gd name="connsiteX4" fmla="*/ 11050 w 34626"/>
                <a:gd name="connsiteY4" fmla="*/ 142042 h 191228"/>
                <a:gd name="connsiteX5" fmla="*/ 24839 w 34626"/>
                <a:gd name="connsiteY5" fmla="*/ 191207 h 191228"/>
                <a:gd name="connsiteX6" fmla="*/ 32264 w 34626"/>
                <a:gd name="connsiteY6" fmla="*/ 163413 h 191228"/>
                <a:gd name="connsiteX7" fmla="*/ 32264 w 34626"/>
                <a:gd name="connsiteY7" fmla="*/ -12 h 19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26" h="191228">
                  <a:moveTo>
                    <a:pt x="32264" y="-12"/>
                  </a:moveTo>
                  <a:lnTo>
                    <a:pt x="30133" y="-12"/>
                  </a:lnTo>
                  <a:cubicBezTo>
                    <a:pt x="23910" y="11009"/>
                    <a:pt x="3624" y="17849"/>
                    <a:pt x="452" y="30951"/>
                  </a:cubicBezTo>
                  <a:cubicBezTo>
                    <a:pt x="-2374" y="42701"/>
                    <a:pt x="4554" y="66540"/>
                    <a:pt x="5746" y="86511"/>
                  </a:cubicBezTo>
                  <a:cubicBezTo>
                    <a:pt x="6994" y="107333"/>
                    <a:pt x="9773" y="128297"/>
                    <a:pt x="11050" y="142042"/>
                  </a:cubicBezTo>
                  <a:cubicBezTo>
                    <a:pt x="12627" y="159023"/>
                    <a:pt x="10308" y="191841"/>
                    <a:pt x="24839" y="191207"/>
                  </a:cubicBezTo>
                  <a:cubicBezTo>
                    <a:pt x="34188" y="190791"/>
                    <a:pt x="32602" y="173743"/>
                    <a:pt x="32264" y="163413"/>
                  </a:cubicBezTo>
                  <a:cubicBezTo>
                    <a:pt x="30527" y="113368"/>
                    <a:pt x="37859" y="51972"/>
                    <a:pt x="32264" y="-12"/>
                  </a:cubicBezTo>
                  <a:close/>
                </a:path>
              </a:pathLst>
            </a:custGeom>
            <a:solidFill>
              <a:schemeClr val="bg1"/>
            </a:solidFill>
            <a:ln w="9318" cap="flat">
              <a:noFill/>
              <a:prstDash val="solid"/>
              <a:round/>
            </a:ln>
          </p:spPr>
          <p:txBody>
            <a:bodyPr rtlCol="0" anchor="ctr"/>
            <a:lstStyle/>
            <a:p>
              <a:endParaRPr lang="en-LT"/>
            </a:p>
          </p:txBody>
        </p:sp>
        <p:sp>
          <p:nvSpPr>
            <p:cNvPr id="281" name="Freeform 280">
              <a:extLst>
                <a:ext uri="{FF2B5EF4-FFF2-40B4-BE49-F238E27FC236}">
                  <a16:creationId xmlns:a16="http://schemas.microsoft.com/office/drawing/2014/main" id="{047B0DB8-CD68-F540-8068-6286A6A0182D}"/>
                </a:ext>
              </a:extLst>
            </p:cNvPr>
            <p:cNvSpPr/>
            <p:nvPr/>
          </p:nvSpPr>
          <p:spPr>
            <a:xfrm>
              <a:off x="6512020" y="2156001"/>
              <a:ext cx="72229" cy="96070"/>
            </a:xfrm>
            <a:custGeom>
              <a:avLst/>
              <a:gdLst>
                <a:gd name="connsiteX0" fmla="*/ -220 w 26508"/>
                <a:gd name="connsiteY0" fmla="*/ 35246 h 35258"/>
                <a:gd name="connsiteX1" fmla="*/ 26289 w 26508"/>
                <a:gd name="connsiteY1" fmla="*/ -12 h 35258"/>
                <a:gd name="connsiteX2" fmla="*/ -220 w 26508"/>
                <a:gd name="connsiteY2" fmla="*/ 35246 h 35258"/>
              </a:gdLst>
              <a:ahLst/>
              <a:cxnLst>
                <a:cxn ang="0">
                  <a:pos x="connsiteX0" y="connsiteY0"/>
                </a:cxn>
                <a:cxn ang="0">
                  <a:pos x="connsiteX1" y="connsiteY1"/>
                </a:cxn>
                <a:cxn ang="0">
                  <a:pos x="connsiteX2" y="connsiteY2"/>
                </a:cxn>
              </a:cxnLst>
              <a:rect l="l" t="t" r="r" b="b"/>
              <a:pathLst>
                <a:path w="26508" h="35258">
                  <a:moveTo>
                    <a:pt x="-220" y="35246"/>
                  </a:moveTo>
                  <a:cubicBezTo>
                    <a:pt x="8256" y="23137"/>
                    <a:pt x="18432" y="12731"/>
                    <a:pt x="26289" y="-12"/>
                  </a:cubicBezTo>
                  <a:cubicBezTo>
                    <a:pt x="15287" y="8814"/>
                    <a:pt x="5281" y="24395"/>
                    <a:pt x="-220" y="35246"/>
                  </a:cubicBezTo>
                  <a:close/>
                </a:path>
              </a:pathLst>
            </a:custGeom>
            <a:solidFill>
              <a:schemeClr val="bg1"/>
            </a:solidFill>
            <a:ln w="9318" cap="flat">
              <a:noFill/>
              <a:prstDash val="solid"/>
              <a:round/>
            </a:ln>
          </p:spPr>
          <p:txBody>
            <a:bodyPr rtlCol="0" anchor="ctr"/>
            <a:lstStyle/>
            <a:p>
              <a:endParaRPr lang="en-LT"/>
            </a:p>
          </p:txBody>
        </p:sp>
        <p:sp>
          <p:nvSpPr>
            <p:cNvPr id="282" name="Freeform 281">
              <a:extLst>
                <a:ext uri="{FF2B5EF4-FFF2-40B4-BE49-F238E27FC236}">
                  <a16:creationId xmlns:a16="http://schemas.microsoft.com/office/drawing/2014/main" id="{E4BA5066-9A21-3B44-90CE-2573A3410485}"/>
                </a:ext>
              </a:extLst>
            </p:cNvPr>
            <p:cNvSpPr/>
            <p:nvPr/>
          </p:nvSpPr>
          <p:spPr>
            <a:xfrm>
              <a:off x="6439813" y="2304477"/>
              <a:ext cx="25986" cy="43640"/>
            </a:xfrm>
            <a:custGeom>
              <a:avLst/>
              <a:gdLst>
                <a:gd name="connsiteX0" fmla="*/ 9317 w 9537"/>
                <a:gd name="connsiteY0" fmla="*/ -12 h 16016"/>
                <a:gd name="connsiteX1" fmla="*/ -220 w 9537"/>
                <a:gd name="connsiteY1" fmla="*/ 16004 h 16016"/>
                <a:gd name="connsiteX2" fmla="*/ 9317 w 9537"/>
                <a:gd name="connsiteY2" fmla="*/ -12 h 16016"/>
              </a:gdLst>
              <a:ahLst/>
              <a:cxnLst>
                <a:cxn ang="0">
                  <a:pos x="connsiteX0" y="connsiteY0"/>
                </a:cxn>
                <a:cxn ang="0">
                  <a:pos x="connsiteX1" y="connsiteY1"/>
                </a:cxn>
                <a:cxn ang="0">
                  <a:pos x="connsiteX2" y="connsiteY2"/>
                </a:cxn>
              </a:cxnLst>
              <a:rect l="l" t="t" r="r" b="b"/>
              <a:pathLst>
                <a:path w="9537" h="16016">
                  <a:moveTo>
                    <a:pt x="9317" y="-12"/>
                  </a:moveTo>
                  <a:cubicBezTo>
                    <a:pt x="6501" y="5664"/>
                    <a:pt x="1038" y="8738"/>
                    <a:pt x="-220" y="16004"/>
                  </a:cubicBezTo>
                  <a:cubicBezTo>
                    <a:pt x="4173" y="12589"/>
                    <a:pt x="9101" y="4046"/>
                    <a:pt x="9317" y="-12"/>
                  </a:cubicBezTo>
                  <a:close/>
                </a:path>
              </a:pathLst>
            </a:custGeom>
            <a:solidFill>
              <a:schemeClr val="bg1"/>
            </a:solidFill>
            <a:ln w="9318" cap="flat">
              <a:noFill/>
              <a:prstDash val="solid"/>
              <a:round/>
            </a:ln>
          </p:spPr>
          <p:txBody>
            <a:bodyPr rtlCol="0" anchor="ctr"/>
            <a:lstStyle/>
            <a:p>
              <a:endParaRPr lang="en-LT"/>
            </a:p>
          </p:txBody>
        </p:sp>
        <p:sp>
          <p:nvSpPr>
            <p:cNvPr id="283" name="Freeform 282">
              <a:extLst>
                <a:ext uri="{FF2B5EF4-FFF2-40B4-BE49-F238E27FC236}">
                  <a16:creationId xmlns:a16="http://schemas.microsoft.com/office/drawing/2014/main" id="{07EB7A01-0389-E645-8C45-90BB483F3DE2}"/>
                </a:ext>
              </a:extLst>
            </p:cNvPr>
            <p:cNvSpPr/>
            <p:nvPr/>
          </p:nvSpPr>
          <p:spPr>
            <a:xfrm>
              <a:off x="6745975" y="2476201"/>
              <a:ext cx="453900" cy="1564093"/>
            </a:xfrm>
            <a:custGeom>
              <a:avLst/>
              <a:gdLst>
                <a:gd name="connsiteX0" fmla="*/ 52769 w 166582"/>
                <a:gd name="connsiteY0" fmla="*/ 498862 h 574025"/>
                <a:gd name="connsiteX1" fmla="*/ 51718 w 166582"/>
                <a:gd name="connsiteY1" fmla="*/ 508493 h 574025"/>
                <a:gd name="connsiteX2" fmla="*/ 52769 w 166582"/>
                <a:gd name="connsiteY2" fmla="*/ 498862 h 574025"/>
                <a:gd name="connsiteX3" fmla="*/ 53830 w 166582"/>
                <a:gd name="connsiteY3" fmla="*/ 552293 h 574025"/>
                <a:gd name="connsiteX4" fmla="*/ 59143 w 166582"/>
                <a:gd name="connsiteY4" fmla="*/ 553362 h 574025"/>
                <a:gd name="connsiteX5" fmla="*/ 58092 w 166582"/>
                <a:gd name="connsiteY5" fmla="*/ 556560 h 574025"/>
                <a:gd name="connsiteX6" fmla="*/ 53830 w 166582"/>
                <a:gd name="connsiteY6" fmla="*/ 552293 h 574025"/>
                <a:gd name="connsiteX7" fmla="*/ 102605 w 166582"/>
                <a:gd name="connsiteY7" fmla="*/ 512750 h 574025"/>
                <a:gd name="connsiteX8" fmla="*/ 108969 w 166582"/>
                <a:gd name="connsiteY8" fmla="*/ 505286 h 574025"/>
                <a:gd name="connsiteX9" fmla="*/ 102605 w 166582"/>
                <a:gd name="connsiteY9" fmla="*/ 512750 h 574025"/>
                <a:gd name="connsiteX10" fmla="*/ 130156 w 166582"/>
                <a:gd name="connsiteY10" fmla="*/ 480708 h 574025"/>
                <a:gd name="connsiteX11" fmla="*/ 122740 w 166582"/>
                <a:gd name="connsiteY11" fmla="*/ 490320 h 574025"/>
                <a:gd name="connsiteX12" fmla="*/ 130156 w 166582"/>
                <a:gd name="connsiteY12" fmla="*/ 480708 h 574025"/>
                <a:gd name="connsiteX13" fmla="*/ 38999 w 166582"/>
                <a:gd name="connsiteY13" fmla="*/ 478579 h 574025"/>
                <a:gd name="connsiteX14" fmla="*/ 38999 w 166582"/>
                <a:gd name="connsiteY14" fmla="*/ 478579 h 574025"/>
                <a:gd name="connsiteX15" fmla="*/ 14611 w 166582"/>
                <a:gd name="connsiteY15" fmla="*/ 116424 h 574025"/>
                <a:gd name="connsiteX16" fmla="*/ 14790 w 166582"/>
                <a:gd name="connsiteY16" fmla="*/ 111609 h 574025"/>
                <a:gd name="connsiteX17" fmla="*/ 15663 w 166582"/>
                <a:gd name="connsiteY17" fmla="*/ 91648 h 574025"/>
                <a:gd name="connsiteX18" fmla="*/ 20985 w 166582"/>
                <a:gd name="connsiteY18" fmla="*/ 39494 h 574025"/>
                <a:gd name="connsiteX19" fmla="*/ 15663 w 166582"/>
                <a:gd name="connsiteY19" fmla="*/ 91648 h 574025"/>
                <a:gd name="connsiteX20" fmla="*/ 14790 w 166582"/>
                <a:gd name="connsiteY20" fmla="*/ 111609 h 574025"/>
                <a:gd name="connsiteX21" fmla="*/ 15682 w 166582"/>
                <a:gd name="connsiteY21" fmla="*/ 119631 h 574025"/>
                <a:gd name="connsiteX22" fmla="*/ 34765 w 166582"/>
                <a:gd name="connsiteY22" fmla="*/ 163432 h 574025"/>
                <a:gd name="connsiteX23" fmla="*/ 37957 w 166582"/>
                <a:gd name="connsiteY23" fmla="*/ 200818 h 574025"/>
                <a:gd name="connsiteX24" fmla="*/ 33695 w 166582"/>
                <a:gd name="connsiteY24" fmla="*/ 318333 h 574025"/>
                <a:gd name="connsiteX25" fmla="*/ 46424 w 166582"/>
                <a:gd name="connsiteY25" fmla="*/ 347177 h 574025"/>
                <a:gd name="connsiteX26" fmla="*/ 48536 w 166582"/>
                <a:gd name="connsiteY26" fmla="*/ 445459 h 574025"/>
                <a:gd name="connsiteX27" fmla="*/ 18864 w 166582"/>
                <a:gd name="connsiteY27" fmla="*/ 477510 h 574025"/>
                <a:gd name="connsiteX28" fmla="*/ 32653 w 166582"/>
                <a:gd name="connsiteY28" fmla="*/ 526637 h 574025"/>
                <a:gd name="connsiteX29" fmla="*/ 51718 w 166582"/>
                <a:gd name="connsiteY29" fmla="*/ 573655 h 574025"/>
                <a:gd name="connsiteX30" fmla="*/ 72914 w 166582"/>
                <a:gd name="connsiteY30" fmla="*/ 523430 h 574025"/>
                <a:gd name="connsiteX31" fmla="*/ 85652 w 166582"/>
                <a:gd name="connsiteY31" fmla="*/ 410192 h 574025"/>
                <a:gd name="connsiteX32" fmla="*/ 75035 w 166582"/>
                <a:gd name="connsiteY32" fmla="*/ 440124 h 574025"/>
                <a:gd name="connsiteX33" fmla="*/ 62325 w 166582"/>
                <a:gd name="connsiteY33" fmla="*/ 561895 h 574025"/>
                <a:gd name="connsiteX34" fmla="*/ 70802 w 166582"/>
                <a:gd name="connsiteY34" fmla="*/ 457190 h 574025"/>
                <a:gd name="connsiteX35" fmla="*/ 64428 w 166582"/>
                <a:gd name="connsiteY35" fmla="*/ 461466 h 574025"/>
                <a:gd name="connsiteX36" fmla="*/ 76115 w 166582"/>
                <a:gd name="connsiteY36" fmla="*/ 419813 h 574025"/>
                <a:gd name="connsiteX37" fmla="*/ 66550 w 166582"/>
                <a:gd name="connsiteY37" fmla="*/ 425167 h 574025"/>
                <a:gd name="connsiteX38" fmla="*/ 61274 w 166582"/>
                <a:gd name="connsiteY38" fmla="*/ 357858 h 574025"/>
                <a:gd name="connsiteX39" fmla="*/ 86703 w 166582"/>
                <a:gd name="connsiteY39" fmla="*/ 352503 h 574025"/>
                <a:gd name="connsiteX40" fmla="*/ 95180 w 166582"/>
                <a:gd name="connsiteY40" fmla="*/ 380288 h 574025"/>
                <a:gd name="connsiteX41" fmla="*/ 98371 w 166582"/>
                <a:gd name="connsiteY41" fmla="*/ 379238 h 574025"/>
                <a:gd name="connsiteX42" fmla="*/ 100483 w 166582"/>
                <a:gd name="connsiteY42" fmla="*/ 392028 h 574025"/>
                <a:gd name="connsiteX43" fmla="*/ 95180 w 166582"/>
                <a:gd name="connsiteY43" fmla="*/ 398461 h 574025"/>
                <a:gd name="connsiteX44" fmla="*/ 79288 w 166582"/>
                <a:gd name="connsiteY44" fmla="*/ 551234 h 574025"/>
                <a:gd name="connsiteX45" fmla="*/ 87764 w 166582"/>
                <a:gd name="connsiteY45" fmla="*/ 517026 h 574025"/>
                <a:gd name="connsiteX46" fmla="*/ 99432 w 166582"/>
                <a:gd name="connsiteY46" fmla="*/ 394176 h 574025"/>
                <a:gd name="connsiteX47" fmla="*/ 86703 w 166582"/>
                <a:gd name="connsiteY47" fmla="*/ 544810 h 574025"/>
                <a:gd name="connsiteX48" fmla="*/ 96250 w 166582"/>
                <a:gd name="connsiteY48" fmla="*/ 511681 h 574025"/>
                <a:gd name="connsiteX49" fmla="*/ 106838 w 166582"/>
                <a:gd name="connsiteY49" fmla="*/ 390959 h 574025"/>
                <a:gd name="connsiteX50" fmla="*/ 95180 w 166582"/>
                <a:gd name="connsiteY50" fmla="*/ 536249 h 574025"/>
                <a:gd name="connsiteX51" fmla="*/ 130156 w 166582"/>
                <a:gd name="connsiteY51" fmla="*/ 502060 h 574025"/>
                <a:gd name="connsiteX52" fmla="*/ 166211 w 166582"/>
                <a:gd name="connsiteY52" fmla="*/ 465761 h 574025"/>
                <a:gd name="connsiteX53" fmla="*/ 159818 w 166582"/>
                <a:gd name="connsiteY53" fmla="*/ 437976 h 574025"/>
                <a:gd name="connsiteX54" fmla="*/ 139712 w 166582"/>
                <a:gd name="connsiteY54" fmla="*/ 353572 h 574025"/>
                <a:gd name="connsiteX55" fmla="*/ 112142 w 166582"/>
                <a:gd name="connsiteY55" fmla="*/ 378169 h 574025"/>
                <a:gd name="connsiteX56" fmla="*/ 76115 w 166582"/>
                <a:gd name="connsiteY56" fmla="*/ 330073 h 574025"/>
                <a:gd name="connsiteX57" fmla="*/ 59143 w 166582"/>
                <a:gd name="connsiteY57" fmla="*/ 324738 h 574025"/>
                <a:gd name="connsiteX58" fmla="*/ 68680 w 166582"/>
                <a:gd name="connsiteY58" fmla="*/ 320462 h 574025"/>
                <a:gd name="connsiteX59" fmla="*/ 72914 w 166582"/>
                <a:gd name="connsiteY59" fmla="*/ 204025 h 574025"/>
                <a:gd name="connsiteX60" fmla="*/ 66550 w 166582"/>
                <a:gd name="connsiteY60" fmla="*/ 174112 h 574025"/>
                <a:gd name="connsiteX61" fmla="*/ 22027 w 166582"/>
                <a:gd name="connsiteY61" fmla="*/ 30970 h 574025"/>
                <a:gd name="connsiteX62" fmla="*/ 20985 w 166582"/>
                <a:gd name="connsiteY62" fmla="*/ 37365 h 574025"/>
                <a:gd name="connsiteX63" fmla="*/ 6144 w 166582"/>
                <a:gd name="connsiteY63" fmla="*/ -12 h 574025"/>
                <a:gd name="connsiteX64" fmla="*/ -220 w 166582"/>
                <a:gd name="connsiteY64" fmla="*/ 96132 h 574025"/>
                <a:gd name="connsiteX65" fmla="*/ 14611 w 166582"/>
                <a:gd name="connsiteY65" fmla="*/ 116424 h 57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66582" h="574025">
                  <a:moveTo>
                    <a:pt x="52769" y="498862"/>
                  </a:moveTo>
                  <a:cubicBezTo>
                    <a:pt x="55858" y="501360"/>
                    <a:pt x="50798" y="504623"/>
                    <a:pt x="51718" y="508493"/>
                  </a:cubicBezTo>
                  <a:cubicBezTo>
                    <a:pt x="48395" y="505740"/>
                    <a:pt x="52309" y="501312"/>
                    <a:pt x="52769" y="498862"/>
                  </a:cubicBezTo>
                  <a:close/>
                  <a:moveTo>
                    <a:pt x="53830" y="552293"/>
                  </a:moveTo>
                  <a:cubicBezTo>
                    <a:pt x="55069" y="553183"/>
                    <a:pt x="56684" y="553675"/>
                    <a:pt x="59143" y="553362"/>
                  </a:cubicBezTo>
                  <a:cubicBezTo>
                    <a:pt x="58589" y="554223"/>
                    <a:pt x="58035" y="555065"/>
                    <a:pt x="58092" y="556560"/>
                  </a:cubicBezTo>
                  <a:cubicBezTo>
                    <a:pt x="54759" y="557061"/>
                    <a:pt x="53351" y="555633"/>
                    <a:pt x="53830" y="552293"/>
                  </a:cubicBezTo>
                  <a:close/>
                  <a:moveTo>
                    <a:pt x="102605" y="512750"/>
                  </a:moveTo>
                  <a:cubicBezTo>
                    <a:pt x="100540" y="510243"/>
                    <a:pt x="105834" y="506090"/>
                    <a:pt x="108969" y="505286"/>
                  </a:cubicBezTo>
                  <a:cubicBezTo>
                    <a:pt x="107514" y="508436"/>
                    <a:pt x="104069" y="509609"/>
                    <a:pt x="102605" y="512750"/>
                  </a:cubicBezTo>
                  <a:close/>
                  <a:moveTo>
                    <a:pt x="130156" y="480708"/>
                  </a:moveTo>
                  <a:cubicBezTo>
                    <a:pt x="132099" y="484123"/>
                    <a:pt x="125162" y="487718"/>
                    <a:pt x="122740" y="490320"/>
                  </a:cubicBezTo>
                  <a:cubicBezTo>
                    <a:pt x="121538" y="491512"/>
                    <a:pt x="126964" y="482080"/>
                    <a:pt x="130156" y="480708"/>
                  </a:cubicBezTo>
                  <a:close/>
                  <a:moveTo>
                    <a:pt x="38999" y="478579"/>
                  </a:moveTo>
                  <a:cubicBezTo>
                    <a:pt x="40444" y="483735"/>
                    <a:pt x="32090" y="492713"/>
                    <a:pt x="38999" y="478579"/>
                  </a:cubicBezTo>
                  <a:close/>
                  <a:moveTo>
                    <a:pt x="14611" y="116424"/>
                  </a:moveTo>
                  <a:cubicBezTo>
                    <a:pt x="14658" y="114797"/>
                    <a:pt x="14733" y="113217"/>
                    <a:pt x="14790" y="111609"/>
                  </a:cubicBezTo>
                  <a:cubicBezTo>
                    <a:pt x="14396" y="105128"/>
                    <a:pt x="14818" y="98450"/>
                    <a:pt x="15663" y="91648"/>
                  </a:cubicBezTo>
                  <a:cubicBezTo>
                    <a:pt x="16677" y="73494"/>
                    <a:pt x="18291" y="55954"/>
                    <a:pt x="20985" y="39494"/>
                  </a:cubicBezTo>
                  <a:cubicBezTo>
                    <a:pt x="22224" y="56494"/>
                    <a:pt x="17794" y="74430"/>
                    <a:pt x="15663" y="91648"/>
                  </a:cubicBezTo>
                  <a:cubicBezTo>
                    <a:pt x="15297" y="98223"/>
                    <a:pt x="15006" y="104873"/>
                    <a:pt x="14790" y="111609"/>
                  </a:cubicBezTo>
                  <a:cubicBezTo>
                    <a:pt x="14959" y="114314"/>
                    <a:pt x="15175" y="117001"/>
                    <a:pt x="15682" y="119631"/>
                  </a:cubicBezTo>
                  <a:cubicBezTo>
                    <a:pt x="18282" y="133197"/>
                    <a:pt x="30250" y="147434"/>
                    <a:pt x="34765" y="163432"/>
                  </a:cubicBezTo>
                  <a:cubicBezTo>
                    <a:pt x="38445" y="176468"/>
                    <a:pt x="38802" y="187990"/>
                    <a:pt x="37957" y="200818"/>
                  </a:cubicBezTo>
                  <a:cubicBezTo>
                    <a:pt x="35441" y="237865"/>
                    <a:pt x="36934" y="274570"/>
                    <a:pt x="33695" y="318333"/>
                  </a:cubicBezTo>
                  <a:cubicBezTo>
                    <a:pt x="43429" y="322410"/>
                    <a:pt x="40210" y="339543"/>
                    <a:pt x="46424" y="347177"/>
                  </a:cubicBezTo>
                  <a:cubicBezTo>
                    <a:pt x="32897" y="371755"/>
                    <a:pt x="39365" y="421165"/>
                    <a:pt x="48536" y="445459"/>
                  </a:cubicBezTo>
                  <a:cubicBezTo>
                    <a:pt x="40576" y="455345"/>
                    <a:pt x="21558" y="463472"/>
                    <a:pt x="18864" y="477510"/>
                  </a:cubicBezTo>
                  <a:cubicBezTo>
                    <a:pt x="16207" y="491322"/>
                    <a:pt x="27528" y="512598"/>
                    <a:pt x="32653" y="526637"/>
                  </a:cubicBezTo>
                  <a:cubicBezTo>
                    <a:pt x="37206" y="539163"/>
                    <a:pt x="42613" y="571592"/>
                    <a:pt x="51718" y="573655"/>
                  </a:cubicBezTo>
                  <a:cubicBezTo>
                    <a:pt x="71412" y="578101"/>
                    <a:pt x="70886" y="540090"/>
                    <a:pt x="72914" y="523430"/>
                  </a:cubicBezTo>
                  <a:cubicBezTo>
                    <a:pt x="77495" y="486148"/>
                    <a:pt x="80132" y="444088"/>
                    <a:pt x="85652" y="410192"/>
                  </a:cubicBezTo>
                  <a:cubicBezTo>
                    <a:pt x="76246" y="409350"/>
                    <a:pt x="76500" y="428147"/>
                    <a:pt x="75035" y="440124"/>
                  </a:cubicBezTo>
                  <a:cubicBezTo>
                    <a:pt x="70145" y="480263"/>
                    <a:pt x="67188" y="525180"/>
                    <a:pt x="62325" y="561895"/>
                  </a:cubicBezTo>
                  <a:cubicBezTo>
                    <a:pt x="63330" y="525180"/>
                    <a:pt x="67385" y="491512"/>
                    <a:pt x="70802" y="457190"/>
                  </a:cubicBezTo>
                  <a:cubicBezTo>
                    <a:pt x="68774" y="453860"/>
                    <a:pt x="66099" y="464437"/>
                    <a:pt x="64428" y="461466"/>
                  </a:cubicBezTo>
                  <a:cubicBezTo>
                    <a:pt x="75354" y="454683"/>
                    <a:pt x="71712" y="433189"/>
                    <a:pt x="76115" y="419813"/>
                  </a:cubicBezTo>
                  <a:cubicBezTo>
                    <a:pt x="74228" y="414922"/>
                    <a:pt x="71046" y="425744"/>
                    <a:pt x="66550" y="425167"/>
                  </a:cubicBezTo>
                  <a:cubicBezTo>
                    <a:pt x="60185" y="408252"/>
                    <a:pt x="54196" y="378216"/>
                    <a:pt x="61274" y="357858"/>
                  </a:cubicBezTo>
                  <a:cubicBezTo>
                    <a:pt x="69863" y="364035"/>
                    <a:pt x="83418" y="360753"/>
                    <a:pt x="86703" y="352503"/>
                  </a:cubicBezTo>
                  <a:cubicBezTo>
                    <a:pt x="91153" y="360138"/>
                    <a:pt x="93734" y="369626"/>
                    <a:pt x="95180" y="380288"/>
                  </a:cubicBezTo>
                  <a:cubicBezTo>
                    <a:pt x="98024" y="382208"/>
                    <a:pt x="97235" y="375577"/>
                    <a:pt x="98371" y="379238"/>
                  </a:cubicBezTo>
                  <a:cubicBezTo>
                    <a:pt x="97470" y="385094"/>
                    <a:pt x="101028" y="386513"/>
                    <a:pt x="100483" y="392028"/>
                  </a:cubicBezTo>
                  <a:cubicBezTo>
                    <a:pt x="98897" y="394346"/>
                    <a:pt x="95170" y="394535"/>
                    <a:pt x="95180" y="398461"/>
                  </a:cubicBezTo>
                  <a:cubicBezTo>
                    <a:pt x="87642" y="447115"/>
                    <a:pt x="88290" y="504037"/>
                    <a:pt x="79288" y="551234"/>
                  </a:cubicBezTo>
                  <a:cubicBezTo>
                    <a:pt x="88599" y="544782"/>
                    <a:pt x="86722" y="529400"/>
                    <a:pt x="87764" y="517026"/>
                  </a:cubicBezTo>
                  <a:cubicBezTo>
                    <a:pt x="91106" y="476536"/>
                    <a:pt x="91537" y="429292"/>
                    <a:pt x="99432" y="394176"/>
                  </a:cubicBezTo>
                  <a:cubicBezTo>
                    <a:pt x="93415" y="442612"/>
                    <a:pt x="93068" y="496743"/>
                    <a:pt x="86703" y="544810"/>
                  </a:cubicBezTo>
                  <a:cubicBezTo>
                    <a:pt x="96954" y="539503"/>
                    <a:pt x="95170" y="523856"/>
                    <a:pt x="96250" y="511681"/>
                  </a:cubicBezTo>
                  <a:cubicBezTo>
                    <a:pt x="99676" y="472345"/>
                    <a:pt x="100052" y="425091"/>
                    <a:pt x="106838" y="390959"/>
                  </a:cubicBezTo>
                  <a:cubicBezTo>
                    <a:pt x="101788" y="438222"/>
                    <a:pt x="101112" y="489856"/>
                    <a:pt x="95180" y="536249"/>
                  </a:cubicBezTo>
                  <a:cubicBezTo>
                    <a:pt x="106716" y="527271"/>
                    <a:pt x="116263" y="517215"/>
                    <a:pt x="130156" y="502060"/>
                  </a:cubicBezTo>
                  <a:cubicBezTo>
                    <a:pt x="136501" y="495173"/>
                    <a:pt x="164840" y="473660"/>
                    <a:pt x="166211" y="465761"/>
                  </a:cubicBezTo>
                  <a:cubicBezTo>
                    <a:pt x="167375" y="458874"/>
                    <a:pt x="161498" y="447380"/>
                    <a:pt x="159818" y="437976"/>
                  </a:cubicBezTo>
                  <a:cubicBezTo>
                    <a:pt x="155998" y="416208"/>
                    <a:pt x="159274" y="355956"/>
                    <a:pt x="139712" y="353572"/>
                  </a:cubicBezTo>
                  <a:cubicBezTo>
                    <a:pt x="123247" y="351576"/>
                    <a:pt x="122993" y="375634"/>
                    <a:pt x="112142" y="378169"/>
                  </a:cubicBezTo>
                  <a:cubicBezTo>
                    <a:pt x="105993" y="356760"/>
                    <a:pt x="98418" y="333630"/>
                    <a:pt x="76115" y="330073"/>
                  </a:cubicBezTo>
                  <a:cubicBezTo>
                    <a:pt x="69356" y="329004"/>
                    <a:pt x="59894" y="334529"/>
                    <a:pt x="59143" y="324738"/>
                  </a:cubicBezTo>
                  <a:cubicBezTo>
                    <a:pt x="60645" y="321635"/>
                    <a:pt x="69957" y="326374"/>
                    <a:pt x="68680" y="320462"/>
                  </a:cubicBezTo>
                  <a:cubicBezTo>
                    <a:pt x="61340" y="285024"/>
                    <a:pt x="70942" y="240031"/>
                    <a:pt x="72914" y="204025"/>
                  </a:cubicBezTo>
                  <a:cubicBezTo>
                    <a:pt x="73740" y="189305"/>
                    <a:pt x="68652" y="183572"/>
                    <a:pt x="66550" y="174112"/>
                  </a:cubicBezTo>
                  <a:cubicBezTo>
                    <a:pt x="55426" y="123718"/>
                    <a:pt x="42585" y="72481"/>
                    <a:pt x="22027" y="30970"/>
                  </a:cubicBezTo>
                  <a:cubicBezTo>
                    <a:pt x="21445" y="32834"/>
                    <a:pt x="23322" y="37251"/>
                    <a:pt x="20985" y="37365"/>
                  </a:cubicBezTo>
                  <a:cubicBezTo>
                    <a:pt x="23238" y="20838"/>
                    <a:pt x="12997" y="10574"/>
                    <a:pt x="6144" y="-12"/>
                  </a:cubicBezTo>
                  <a:cubicBezTo>
                    <a:pt x="-558" y="26798"/>
                    <a:pt x="1967" y="68262"/>
                    <a:pt x="-220" y="96132"/>
                  </a:cubicBezTo>
                  <a:cubicBezTo>
                    <a:pt x="5102" y="102499"/>
                    <a:pt x="8209" y="111136"/>
                    <a:pt x="14611" y="116424"/>
                  </a:cubicBezTo>
                  <a:close/>
                </a:path>
              </a:pathLst>
            </a:custGeom>
            <a:solidFill>
              <a:schemeClr val="bg1"/>
            </a:solidFill>
            <a:ln w="9318" cap="flat">
              <a:noFill/>
              <a:prstDash val="solid"/>
              <a:round/>
            </a:ln>
          </p:spPr>
          <p:txBody>
            <a:bodyPr rtlCol="0" anchor="ctr"/>
            <a:lstStyle/>
            <a:p>
              <a:endParaRPr lang="en-LT"/>
            </a:p>
          </p:txBody>
        </p:sp>
        <p:sp>
          <p:nvSpPr>
            <p:cNvPr id="284" name="Freeform 283">
              <a:extLst>
                <a:ext uri="{FF2B5EF4-FFF2-40B4-BE49-F238E27FC236}">
                  <a16:creationId xmlns:a16="http://schemas.microsoft.com/office/drawing/2014/main" id="{D54AD8F5-8125-0E46-A9B7-3792163E058D}"/>
                </a:ext>
              </a:extLst>
            </p:cNvPr>
            <p:cNvSpPr/>
            <p:nvPr/>
          </p:nvSpPr>
          <p:spPr>
            <a:xfrm>
              <a:off x="6616017" y="3812249"/>
              <a:ext cx="127544" cy="707345"/>
            </a:xfrm>
            <a:custGeom>
              <a:avLst/>
              <a:gdLst>
                <a:gd name="connsiteX0" fmla="*/ 841 w 46809"/>
                <a:gd name="connsiteY0" fmla="*/ 39503 h 259597"/>
                <a:gd name="connsiteX1" fmla="*/ 5084 w 46809"/>
                <a:gd name="connsiteY1" fmla="*/ 63031 h 259597"/>
                <a:gd name="connsiteX2" fmla="*/ 15672 w 46809"/>
                <a:gd name="connsiteY2" fmla="*/ 136744 h 259597"/>
                <a:gd name="connsiteX3" fmla="*/ 31564 w 46809"/>
                <a:gd name="connsiteY3" fmla="*/ 246738 h 259597"/>
                <a:gd name="connsiteX4" fmla="*/ 38989 w 46809"/>
                <a:gd name="connsiteY4" fmla="*/ 259585 h 259597"/>
                <a:gd name="connsiteX5" fmla="*/ 43232 w 46809"/>
                <a:gd name="connsiteY5" fmla="*/ 194423 h 259597"/>
                <a:gd name="connsiteX6" fmla="*/ 36877 w 46809"/>
                <a:gd name="connsiteY6" fmla="*/ -12 h 259597"/>
                <a:gd name="connsiteX7" fmla="*/ 16723 w 46809"/>
                <a:gd name="connsiteY7" fmla="*/ 14954 h 259597"/>
                <a:gd name="connsiteX8" fmla="*/ -220 w 46809"/>
                <a:gd name="connsiteY8" fmla="*/ 33098 h 259597"/>
                <a:gd name="connsiteX9" fmla="*/ 12499 w 46809"/>
                <a:gd name="connsiteY9" fmla="*/ 21349 h 259597"/>
                <a:gd name="connsiteX10" fmla="*/ 22046 w 46809"/>
                <a:gd name="connsiteY10" fmla="*/ 17082 h 259597"/>
                <a:gd name="connsiteX11" fmla="*/ 841 w 46809"/>
                <a:gd name="connsiteY11" fmla="*/ 39503 h 259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809" h="259597">
                  <a:moveTo>
                    <a:pt x="841" y="39503"/>
                  </a:moveTo>
                  <a:cubicBezTo>
                    <a:pt x="-51" y="43798"/>
                    <a:pt x="3816" y="54355"/>
                    <a:pt x="5084" y="63031"/>
                  </a:cubicBezTo>
                  <a:cubicBezTo>
                    <a:pt x="8876" y="89339"/>
                    <a:pt x="12574" y="112242"/>
                    <a:pt x="15672" y="136744"/>
                  </a:cubicBezTo>
                  <a:cubicBezTo>
                    <a:pt x="20056" y="171104"/>
                    <a:pt x="22243" y="220666"/>
                    <a:pt x="31564" y="246738"/>
                  </a:cubicBezTo>
                  <a:cubicBezTo>
                    <a:pt x="33179" y="251913"/>
                    <a:pt x="32212" y="259632"/>
                    <a:pt x="38989" y="259585"/>
                  </a:cubicBezTo>
                  <a:cubicBezTo>
                    <a:pt x="52347" y="246294"/>
                    <a:pt x="44246" y="217563"/>
                    <a:pt x="43232" y="194423"/>
                  </a:cubicBezTo>
                  <a:cubicBezTo>
                    <a:pt x="40369" y="128836"/>
                    <a:pt x="38107" y="63570"/>
                    <a:pt x="36877" y="-12"/>
                  </a:cubicBezTo>
                  <a:cubicBezTo>
                    <a:pt x="31085" y="5910"/>
                    <a:pt x="23426" y="9722"/>
                    <a:pt x="16723" y="14954"/>
                  </a:cubicBezTo>
                  <a:cubicBezTo>
                    <a:pt x="10594" y="19741"/>
                    <a:pt x="2746" y="25209"/>
                    <a:pt x="-220" y="33098"/>
                  </a:cubicBezTo>
                  <a:cubicBezTo>
                    <a:pt x="2943" y="33411"/>
                    <a:pt x="16620" y="21689"/>
                    <a:pt x="12499" y="21349"/>
                  </a:cubicBezTo>
                  <a:cubicBezTo>
                    <a:pt x="15484" y="19741"/>
                    <a:pt x="17399" y="17044"/>
                    <a:pt x="22046" y="17082"/>
                  </a:cubicBezTo>
                  <a:cubicBezTo>
                    <a:pt x="20610" y="25502"/>
                    <a:pt x="2953" y="29154"/>
                    <a:pt x="841" y="39503"/>
                  </a:cubicBezTo>
                  <a:close/>
                </a:path>
              </a:pathLst>
            </a:custGeom>
            <a:solidFill>
              <a:schemeClr val="bg1"/>
            </a:solidFill>
            <a:ln w="9318" cap="flat">
              <a:noFill/>
              <a:prstDash val="solid"/>
              <a:round/>
            </a:ln>
          </p:spPr>
          <p:txBody>
            <a:bodyPr rtlCol="0" anchor="ctr"/>
            <a:lstStyle/>
            <a:p>
              <a:endParaRPr lang="en-LT"/>
            </a:p>
          </p:txBody>
        </p:sp>
        <p:sp>
          <p:nvSpPr>
            <p:cNvPr id="285" name="Freeform 284">
              <a:extLst>
                <a:ext uri="{FF2B5EF4-FFF2-40B4-BE49-F238E27FC236}">
                  <a16:creationId xmlns:a16="http://schemas.microsoft.com/office/drawing/2014/main" id="{E919A688-0B4A-BF4C-9BE1-A4102066682E}"/>
                </a:ext>
              </a:extLst>
            </p:cNvPr>
            <p:cNvSpPr/>
            <p:nvPr/>
          </p:nvSpPr>
          <p:spPr>
            <a:xfrm>
              <a:off x="6136180" y="2432509"/>
              <a:ext cx="664765" cy="1461271"/>
            </a:xfrm>
            <a:custGeom>
              <a:avLst/>
              <a:gdLst>
                <a:gd name="connsiteX0" fmla="*/ 55033 w 243970"/>
                <a:gd name="connsiteY0" fmla="*/ 116443 h 536289"/>
                <a:gd name="connsiteX1" fmla="*/ 57155 w 243970"/>
                <a:gd name="connsiteY1" fmla="*/ 119631 h 536289"/>
                <a:gd name="connsiteX2" fmla="*/ 77308 w 243970"/>
                <a:gd name="connsiteY2" fmla="*/ 92925 h 536289"/>
                <a:gd name="connsiteX3" fmla="*/ 78360 w 243970"/>
                <a:gd name="connsiteY3" fmla="*/ 101467 h 536289"/>
                <a:gd name="connsiteX4" fmla="*/ 78360 w 243970"/>
                <a:gd name="connsiteY4" fmla="*/ 88658 h 536289"/>
                <a:gd name="connsiteX5" fmla="*/ 95331 w 243970"/>
                <a:gd name="connsiteY5" fmla="*/ 176269 h 536289"/>
                <a:gd name="connsiteX6" fmla="*/ 101677 w 243970"/>
                <a:gd name="connsiteY6" fmla="*/ 227543 h 536289"/>
                <a:gd name="connsiteX7" fmla="*/ 81533 w 243970"/>
                <a:gd name="connsiteY7" fmla="*/ 276680 h 536289"/>
                <a:gd name="connsiteX8" fmla="*/ 30655 w 243970"/>
                <a:gd name="connsiteY8" fmla="*/ 189078 h 536289"/>
                <a:gd name="connsiteX9" fmla="*/ 55033 w 243970"/>
                <a:gd name="connsiteY9" fmla="*/ 116443 h 536289"/>
                <a:gd name="connsiteX10" fmla="*/ 99565 w 243970"/>
                <a:gd name="connsiteY10" fmla="*/ 312998 h 536289"/>
                <a:gd name="connsiteX11" fmla="*/ 101677 w 243970"/>
                <a:gd name="connsiteY11" fmla="*/ 286301 h 536289"/>
                <a:gd name="connsiteX12" fmla="*/ 99565 w 243970"/>
                <a:gd name="connsiteY12" fmla="*/ 312998 h 536289"/>
                <a:gd name="connsiteX13" fmla="*/ 118639 w 243970"/>
                <a:gd name="connsiteY13" fmla="*/ 255309 h 536289"/>
                <a:gd name="connsiteX14" fmla="*/ 134522 w 243970"/>
                <a:gd name="connsiteY14" fmla="*/ 258516 h 536289"/>
                <a:gd name="connsiteX15" fmla="*/ 134522 w 243970"/>
                <a:gd name="connsiteY15" fmla="*/ 254250 h 536289"/>
                <a:gd name="connsiteX16" fmla="*/ 112284 w 243970"/>
                <a:gd name="connsiteY16" fmla="*/ 251043 h 536289"/>
                <a:gd name="connsiteX17" fmla="*/ 112284 w 243970"/>
                <a:gd name="connsiteY17" fmla="*/ 249974 h 536289"/>
                <a:gd name="connsiteX18" fmla="*/ 184357 w 243970"/>
                <a:gd name="connsiteY18" fmla="*/ 251043 h 536289"/>
                <a:gd name="connsiteX19" fmla="*/ 121812 w 243970"/>
                <a:gd name="connsiteY19" fmla="*/ 260654 h 536289"/>
                <a:gd name="connsiteX20" fmla="*/ 120751 w 243970"/>
                <a:gd name="connsiteY20" fmla="*/ 265990 h 536289"/>
                <a:gd name="connsiteX21" fmla="*/ 115457 w 243970"/>
                <a:gd name="connsiteY21" fmla="*/ 260654 h 536289"/>
                <a:gd name="connsiteX22" fmla="*/ 103799 w 243970"/>
                <a:gd name="connsiteY22" fmla="*/ 256378 h 536289"/>
                <a:gd name="connsiteX23" fmla="*/ 118639 w 243970"/>
                <a:gd name="connsiteY23" fmla="*/ 255309 h 536289"/>
                <a:gd name="connsiteX24" fmla="*/ 152564 w 243970"/>
                <a:gd name="connsiteY24" fmla="*/ 205094 h 536289"/>
                <a:gd name="connsiteX25" fmla="*/ 151494 w 243970"/>
                <a:gd name="connsiteY25" fmla="*/ 190147 h 536289"/>
                <a:gd name="connsiteX26" fmla="*/ 152564 w 243970"/>
                <a:gd name="connsiteY26" fmla="*/ 205094 h 536289"/>
                <a:gd name="connsiteX27" fmla="*/ 152564 w 243970"/>
                <a:gd name="connsiteY27" fmla="*/ 173034 h 536289"/>
                <a:gd name="connsiteX28" fmla="*/ 144078 w 243970"/>
                <a:gd name="connsiteY28" fmla="*/ 171974 h 536289"/>
                <a:gd name="connsiteX29" fmla="*/ 152564 w 243970"/>
                <a:gd name="connsiteY29" fmla="*/ 173034 h 536289"/>
                <a:gd name="connsiteX30" fmla="*/ 150442 w 243970"/>
                <a:gd name="connsiteY30" fmla="*/ 127114 h 536289"/>
                <a:gd name="connsiteX31" fmla="*/ 150442 w 243970"/>
                <a:gd name="connsiteY31" fmla="*/ 142089 h 536289"/>
                <a:gd name="connsiteX32" fmla="*/ 143027 w 243970"/>
                <a:gd name="connsiteY32" fmla="*/ 141011 h 536289"/>
                <a:gd name="connsiteX33" fmla="*/ 150442 w 243970"/>
                <a:gd name="connsiteY33" fmla="*/ 127114 h 536289"/>
                <a:gd name="connsiteX34" fmla="*/ 181184 w 243970"/>
                <a:gd name="connsiteY34" fmla="*/ 75849 h 536289"/>
                <a:gd name="connsiteX35" fmla="*/ 175881 w 243970"/>
                <a:gd name="connsiteY35" fmla="*/ 148485 h 536289"/>
                <a:gd name="connsiteX36" fmla="*/ 174811 w 243970"/>
                <a:gd name="connsiteY36" fmla="*/ 147416 h 536289"/>
                <a:gd name="connsiteX37" fmla="*/ 181184 w 243970"/>
                <a:gd name="connsiteY37" fmla="*/ 75849 h 536289"/>
                <a:gd name="connsiteX38" fmla="*/ 192824 w 243970"/>
                <a:gd name="connsiteY38" fmla="*/ 56607 h 536289"/>
                <a:gd name="connsiteX39" fmla="*/ 192824 w 243970"/>
                <a:gd name="connsiteY39" fmla="*/ 66219 h 536289"/>
                <a:gd name="connsiteX40" fmla="*/ 192824 w 243970"/>
                <a:gd name="connsiteY40" fmla="*/ 56607 h 536289"/>
                <a:gd name="connsiteX41" fmla="*/ 199208 w 243970"/>
                <a:gd name="connsiteY41" fmla="*/ 123907 h 536289"/>
                <a:gd name="connsiteX42" fmla="*/ 201320 w 243970"/>
                <a:gd name="connsiteY42" fmla="*/ 118571 h 536289"/>
                <a:gd name="connsiteX43" fmla="*/ 199208 w 243970"/>
                <a:gd name="connsiteY43" fmla="*/ 123907 h 536289"/>
                <a:gd name="connsiteX44" fmla="*/ 209787 w 243970"/>
                <a:gd name="connsiteY44" fmla="*/ 258516 h 536289"/>
                <a:gd name="connsiteX45" fmla="*/ 90028 w 243970"/>
                <a:gd name="connsiteY45" fmla="*/ 363212 h 536289"/>
                <a:gd name="connsiteX46" fmla="*/ 209787 w 243970"/>
                <a:gd name="connsiteY46" fmla="*/ 258516 h 536289"/>
                <a:gd name="connsiteX47" fmla="*/ 211917 w 243970"/>
                <a:gd name="connsiteY47" fmla="*/ 14954 h 536289"/>
                <a:gd name="connsiteX48" fmla="*/ 209787 w 243970"/>
                <a:gd name="connsiteY48" fmla="*/ 36305 h 536289"/>
                <a:gd name="connsiteX49" fmla="*/ 211917 w 243970"/>
                <a:gd name="connsiteY49" fmla="*/ 14954 h 536289"/>
                <a:gd name="connsiteX50" fmla="*/ 222515 w 243970"/>
                <a:gd name="connsiteY50" fmla="*/ 413418 h 536289"/>
                <a:gd name="connsiteX51" fmla="*/ 221455 w 243970"/>
                <a:gd name="connsiteY51" fmla="*/ 387780 h 536289"/>
                <a:gd name="connsiteX52" fmla="*/ 222515 w 243970"/>
                <a:gd name="connsiteY52" fmla="*/ 413418 h 536289"/>
                <a:gd name="connsiteX53" fmla="*/ 198147 w 243970"/>
                <a:gd name="connsiteY53" fmla="*/ 333299 h 536289"/>
                <a:gd name="connsiteX54" fmla="*/ 204502 w 243970"/>
                <a:gd name="connsiteY54" fmla="*/ 364281 h 536289"/>
                <a:gd name="connsiteX55" fmla="*/ 198147 w 243970"/>
                <a:gd name="connsiteY55" fmla="*/ 333299 h 536289"/>
                <a:gd name="connsiteX56" fmla="*/ 157849 w 243970"/>
                <a:gd name="connsiteY56" fmla="*/ 443321 h 536289"/>
                <a:gd name="connsiteX57" fmla="*/ 137714 w 243970"/>
                <a:gd name="connsiteY57" fmla="*/ 443321 h 536289"/>
                <a:gd name="connsiteX58" fmla="*/ 153624 w 243970"/>
                <a:gd name="connsiteY58" fmla="*/ 442262 h 536289"/>
                <a:gd name="connsiteX59" fmla="*/ 157849 w 243970"/>
                <a:gd name="connsiteY59" fmla="*/ 443321 h 536289"/>
                <a:gd name="connsiteX60" fmla="*/ 136662 w 243970"/>
                <a:gd name="connsiteY60" fmla="*/ 408063 h 536289"/>
                <a:gd name="connsiteX61" fmla="*/ 137714 w 243970"/>
                <a:gd name="connsiteY61" fmla="*/ 418763 h 536289"/>
                <a:gd name="connsiteX62" fmla="*/ 136662 w 243970"/>
                <a:gd name="connsiteY62" fmla="*/ 408063 h 536289"/>
                <a:gd name="connsiteX63" fmla="*/ 152564 w 243970"/>
                <a:gd name="connsiteY63" fmla="*/ 409132 h 536289"/>
                <a:gd name="connsiteX64" fmla="*/ 154685 w 243970"/>
                <a:gd name="connsiteY64" fmla="*/ 419813 h 536289"/>
                <a:gd name="connsiteX65" fmla="*/ 152564 w 243970"/>
                <a:gd name="connsiteY65" fmla="*/ 409132 h 536289"/>
                <a:gd name="connsiteX66" fmla="*/ 50800 w 243970"/>
                <a:gd name="connsiteY66" fmla="*/ 283094 h 536289"/>
                <a:gd name="connsiteX67" fmla="*/ 65641 w 243970"/>
                <a:gd name="connsiteY67" fmla="*/ 312998 h 536289"/>
                <a:gd name="connsiteX68" fmla="*/ 40183 w 243970"/>
                <a:gd name="connsiteY68" fmla="*/ 338616 h 536289"/>
                <a:gd name="connsiteX69" fmla="*/ 69874 w 243970"/>
                <a:gd name="connsiteY69" fmla="*/ 358927 h 536289"/>
                <a:gd name="connsiteX70" fmla="*/ 69874 w 243970"/>
                <a:gd name="connsiteY70" fmla="*/ 373893 h 536289"/>
                <a:gd name="connsiteX71" fmla="*/ 90206 w 243970"/>
                <a:gd name="connsiteY71" fmla="*/ 354821 h 536289"/>
                <a:gd name="connsiteX72" fmla="*/ 99790 w 243970"/>
                <a:gd name="connsiteY72" fmla="*/ 344916 h 536289"/>
                <a:gd name="connsiteX73" fmla="*/ 118639 w 243970"/>
                <a:gd name="connsiteY73" fmla="*/ 327954 h 536289"/>
                <a:gd name="connsiteX74" fmla="*/ 99790 w 243970"/>
                <a:gd name="connsiteY74" fmla="*/ 344916 h 536289"/>
                <a:gd name="connsiteX75" fmla="*/ 90206 w 243970"/>
                <a:gd name="connsiteY75" fmla="*/ 354821 h 536289"/>
                <a:gd name="connsiteX76" fmla="*/ 87906 w 243970"/>
                <a:gd name="connsiteY76" fmla="*/ 360005 h 536289"/>
                <a:gd name="connsiteX77" fmla="*/ 85776 w 243970"/>
                <a:gd name="connsiteY77" fmla="*/ 379219 h 536289"/>
                <a:gd name="connsiteX78" fmla="*/ 86836 w 243970"/>
                <a:gd name="connsiteY78" fmla="*/ 361065 h 536289"/>
                <a:gd name="connsiteX79" fmla="*/ 71995 w 243970"/>
                <a:gd name="connsiteY79" fmla="*/ 397383 h 536289"/>
                <a:gd name="connsiteX80" fmla="*/ 214030 w 243970"/>
                <a:gd name="connsiteY80" fmla="*/ 269197 h 536289"/>
                <a:gd name="connsiteX81" fmla="*/ 87906 w 243970"/>
                <a:gd name="connsiteY81" fmla="*/ 384564 h 536289"/>
                <a:gd name="connsiteX82" fmla="*/ 73056 w 243970"/>
                <a:gd name="connsiteY82" fmla="*/ 404866 h 536289"/>
                <a:gd name="connsiteX83" fmla="*/ 218282 w 243970"/>
                <a:gd name="connsiteY83" fmla="*/ 280965 h 536289"/>
                <a:gd name="connsiteX84" fmla="*/ 91079 w 243970"/>
                <a:gd name="connsiteY84" fmla="*/ 392047 h 536289"/>
                <a:gd name="connsiteX85" fmla="*/ 75178 w 243970"/>
                <a:gd name="connsiteY85" fmla="*/ 420910 h 536289"/>
                <a:gd name="connsiteX86" fmla="*/ 225688 w 243970"/>
                <a:gd name="connsiteY86" fmla="*/ 289498 h 536289"/>
                <a:gd name="connsiteX87" fmla="*/ 147260 w 243970"/>
                <a:gd name="connsiteY87" fmla="*/ 356808 h 536289"/>
                <a:gd name="connsiteX88" fmla="*/ 144078 w 243970"/>
                <a:gd name="connsiteY88" fmla="*/ 355748 h 536289"/>
                <a:gd name="connsiteX89" fmla="*/ 76248 w 243970"/>
                <a:gd name="connsiteY89" fmla="*/ 426227 h 536289"/>
                <a:gd name="connsiteX90" fmla="*/ 79411 w 243970"/>
                <a:gd name="connsiteY90" fmla="*/ 454011 h 536289"/>
                <a:gd name="connsiteX91" fmla="*/ 92149 w 243970"/>
                <a:gd name="connsiteY91" fmla="*/ 459366 h 536289"/>
                <a:gd name="connsiteX92" fmla="*/ 104850 w 243970"/>
                <a:gd name="connsiteY92" fmla="*/ 536277 h 536289"/>
                <a:gd name="connsiteX93" fmla="*/ 145129 w 243970"/>
                <a:gd name="connsiteY93" fmla="*/ 499950 h 536289"/>
                <a:gd name="connsiteX94" fmla="*/ 144078 w 243970"/>
                <a:gd name="connsiteY94" fmla="*/ 460425 h 536289"/>
                <a:gd name="connsiteX95" fmla="*/ 166334 w 243970"/>
                <a:gd name="connsiteY95" fmla="*/ 461494 h 536289"/>
                <a:gd name="connsiteX96" fmla="*/ 169526 w 243970"/>
                <a:gd name="connsiteY96" fmla="*/ 486072 h 536289"/>
                <a:gd name="connsiteX97" fmla="*/ 209787 w 243970"/>
                <a:gd name="connsiteY97" fmla="*/ 457218 h 536289"/>
                <a:gd name="connsiteX98" fmla="*/ 188600 w 243970"/>
                <a:gd name="connsiteY98" fmla="*/ 473225 h 536289"/>
                <a:gd name="connsiteX99" fmla="*/ 171629 w 243970"/>
                <a:gd name="connsiteY99" fmla="*/ 505286 h 536289"/>
                <a:gd name="connsiteX100" fmla="*/ 214030 w 243970"/>
                <a:gd name="connsiteY100" fmla="*/ 472156 h 536289"/>
                <a:gd name="connsiteX101" fmla="*/ 212978 w 243970"/>
                <a:gd name="connsiteY101" fmla="*/ 456159 h 536289"/>
                <a:gd name="connsiteX102" fmla="*/ 236286 w 243970"/>
                <a:gd name="connsiteY102" fmla="*/ 451873 h 536289"/>
                <a:gd name="connsiteX103" fmla="*/ 242660 w 243970"/>
                <a:gd name="connsiteY103" fmla="*/ 390987 h 536289"/>
                <a:gd name="connsiteX104" fmla="*/ 242660 w 243970"/>
                <a:gd name="connsiteY104" fmla="*/ 340773 h 536289"/>
                <a:gd name="connsiteX105" fmla="*/ 237356 w 243970"/>
                <a:gd name="connsiteY105" fmla="*/ 319412 h 536289"/>
                <a:gd name="connsiteX106" fmla="*/ 226758 w 243970"/>
                <a:gd name="connsiteY106" fmla="*/ 265990 h 536289"/>
                <a:gd name="connsiteX107" fmla="*/ 208726 w 243970"/>
                <a:gd name="connsiteY107" fmla="*/ 218991 h 536289"/>
                <a:gd name="connsiteX108" fmla="*/ 211917 w 243970"/>
                <a:gd name="connsiteY108" fmla="*/ 95063 h 536289"/>
                <a:gd name="connsiteX109" fmla="*/ 222515 w 243970"/>
                <a:gd name="connsiteY109" fmla="*/ 110029 h 536289"/>
                <a:gd name="connsiteX110" fmla="*/ 228880 w 243970"/>
                <a:gd name="connsiteY110" fmla="*/ 13875 h 536289"/>
                <a:gd name="connsiteX111" fmla="*/ 206614 w 243970"/>
                <a:gd name="connsiteY111" fmla="*/ -12 h 536289"/>
                <a:gd name="connsiteX112" fmla="*/ 167386 w 243970"/>
                <a:gd name="connsiteY112" fmla="*/ 3214 h 536289"/>
                <a:gd name="connsiteX113" fmla="*/ 159979 w 243970"/>
                <a:gd name="connsiteY113" fmla="*/ 105762 h 536289"/>
                <a:gd name="connsiteX114" fmla="*/ 147260 w 243970"/>
                <a:gd name="connsiteY114" fmla="*/ 47005 h 536289"/>
                <a:gd name="connsiteX115" fmla="*/ 140896 w 243970"/>
                <a:gd name="connsiteY115" fmla="*/ 28832 h 536289"/>
                <a:gd name="connsiteX116" fmla="*/ 141947 w 243970"/>
                <a:gd name="connsiteY116" fmla="*/ 102536 h 536289"/>
                <a:gd name="connsiteX117" fmla="*/ 114406 w 243970"/>
                <a:gd name="connsiteY117" fmla="*/ 7471 h 536289"/>
                <a:gd name="connsiteX118" fmla="*/ 64570 w 243970"/>
                <a:gd name="connsiteY118" fmla="*/ 9609 h 536289"/>
                <a:gd name="connsiteX119" fmla="*/ 75178 w 243970"/>
                <a:gd name="connsiteY119" fmla="*/ 72642 h 536289"/>
                <a:gd name="connsiteX120" fmla="*/ 63519 w 243970"/>
                <a:gd name="connsiteY120" fmla="*/ 21358 h 536289"/>
                <a:gd name="connsiteX121" fmla="*/ 67752 w 243970"/>
                <a:gd name="connsiteY121" fmla="*/ 82254 h 536289"/>
                <a:gd name="connsiteX122" fmla="*/ 60337 w 243970"/>
                <a:gd name="connsiteY122" fmla="*/ 16023 h 536289"/>
                <a:gd name="connsiteX123" fmla="*/ 55033 w 243970"/>
                <a:gd name="connsiteY123" fmla="*/ 102536 h 536289"/>
                <a:gd name="connsiteX124" fmla="*/ 50800 w 243970"/>
                <a:gd name="connsiteY124" fmla="*/ 33098 h 536289"/>
                <a:gd name="connsiteX125" fmla="*/ 48669 w 243970"/>
                <a:gd name="connsiteY125" fmla="*/ 111098 h 536289"/>
                <a:gd name="connsiteX126" fmla="*/ 42314 w 243970"/>
                <a:gd name="connsiteY126" fmla="*/ 55529 h 536289"/>
                <a:gd name="connsiteX127" fmla="*/ -96 w 243970"/>
                <a:gd name="connsiteY127" fmla="*/ 185890 h 536289"/>
                <a:gd name="connsiteX128" fmla="*/ 14763 w 243970"/>
                <a:gd name="connsiteY128" fmla="*/ 229672 h 536289"/>
                <a:gd name="connsiteX129" fmla="*/ 50800 w 243970"/>
                <a:gd name="connsiteY129" fmla="*/ 283094 h 53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43970" h="536289">
                  <a:moveTo>
                    <a:pt x="55033" y="116443"/>
                  </a:moveTo>
                  <a:cubicBezTo>
                    <a:pt x="57295" y="115941"/>
                    <a:pt x="57051" y="117975"/>
                    <a:pt x="57155" y="119631"/>
                  </a:cubicBezTo>
                  <a:cubicBezTo>
                    <a:pt x="63266" y="110114"/>
                    <a:pt x="67818" y="99027"/>
                    <a:pt x="77308" y="92925"/>
                  </a:cubicBezTo>
                  <a:cubicBezTo>
                    <a:pt x="76492" y="96945"/>
                    <a:pt x="78585" y="98043"/>
                    <a:pt x="78360" y="101467"/>
                  </a:cubicBezTo>
                  <a:cubicBezTo>
                    <a:pt x="81044" y="98696"/>
                    <a:pt x="76877" y="93757"/>
                    <a:pt x="78360" y="88658"/>
                  </a:cubicBezTo>
                  <a:cubicBezTo>
                    <a:pt x="82011" y="119849"/>
                    <a:pt x="89530" y="147463"/>
                    <a:pt x="95331" y="176269"/>
                  </a:cubicBezTo>
                  <a:cubicBezTo>
                    <a:pt x="98636" y="192796"/>
                    <a:pt x="103423" y="212369"/>
                    <a:pt x="101677" y="227543"/>
                  </a:cubicBezTo>
                  <a:cubicBezTo>
                    <a:pt x="99565" y="245906"/>
                    <a:pt x="81420" y="256142"/>
                    <a:pt x="81533" y="276680"/>
                  </a:cubicBezTo>
                  <a:cubicBezTo>
                    <a:pt x="65781" y="246265"/>
                    <a:pt x="47073" y="218812"/>
                    <a:pt x="30655" y="189078"/>
                  </a:cubicBezTo>
                  <a:cubicBezTo>
                    <a:pt x="33500" y="159544"/>
                    <a:pt x="53963" y="147737"/>
                    <a:pt x="55033" y="116443"/>
                  </a:cubicBezTo>
                  <a:close/>
                  <a:moveTo>
                    <a:pt x="99565" y="312998"/>
                  </a:moveTo>
                  <a:cubicBezTo>
                    <a:pt x="96589" y="304635"/>
                    <a:pt x="101179" y="294692"/>
                    <a:pt x="101677" y="286301"/>
                  </a:cubicBezTo>
                  <a:cubicBezTo>
                    <a:pt x="103855" y="293841"/>
                    <a:pt x="99640" y="304152"/>
                    <a:pt x="99565" y="312998"/>
                  </a:cubicBezTo>
                  <a:close/>
                  <a:moveTo>
                    <a:pt x="118639" y="255309"/>
                  </a:moveTo>
                  <a:cubicBezTo>
                    <a:pt x="119296" y="261052"/>
                    <a:pt x="129115" y="257570"/>
                    <a:pt x="134522" y="258516"/>
                  </a:cubicBezTo>
                  <a:lnTo>
                    <a:pt x="134522" y="254250"/>
                  </a:lnTo>
                  <a:cubicBezTo>
                    <a:pt x="128449" y="251837"/>
                    <a:pt x="119963" y="251837"/>
                    <a:pt x="112284" y="251043"/>
                  </a:cubicBezTo>
                  <a:cubicBezTo>
                    <a:pt x="110191" y="250059"/>
                    <a:pt x="110191" y="247457"/>
                    <a:pt x="112284" y="249974"/>
                  </a:cubicBezTo>
                  <a:cubicBezTo>
                    <a:pt x="134672" y="252490"/>
                    <a:pt x="167442" y="256482"/>
                    <a:pt x="184357" y="251043"/>
                  </a:cubicBezTo>
                  <a:cubicBezTo>
                    <a:pt x="167010" y="257769"/>
                    <a:pt x="146509" y="261326"/>
                    <a:pt x="121812" y="260654"/>
                  </a:cubicBezTo>
                  <a:cubicBezTo>
                    <a:pt x="117963" y="261326"/>
                    <a:pt x="124281" y="265649"/>
                    <a:pt x="120751" y="265990"/>
                  </a:cubicBezTo>
                  <a:cubicBezTo>
                    <a:pt x="115429" y="267797"/>
                    <a:pt x="117043" y="262603"/>
                    <a:pt x="115457" y="260654"/>
                  </a:cubicBezTo>
                  <a:cubicBezTo>
                    <a:pt x="110623" y="260172"/>
                    <a:pt x="107581" y="257911"/>
                    <a:pt x="103799" y="256378"/>
                  </a:cubicBezTo>
                  <a:cubicBezTo>
                    <a:pt x="108576" y="253871"/>
                    <a:pt x="114809" y="261988"/>
                    <a:pt x="118639" y="255309"/>
                  </a:cubicBezTo>
                  <a:close/>
                  <a:moveTo>
                    <a:pt x="152564" y="205094"/>
                  </a:moveTo>
                  <a:cubicBezTo>
                    <a:pt x="142276" y="208273"/>
                    <a:pt x="140079" y="187565"/>
                    <a:pt x="151494" y="190147"/>
                  </a:cubicBezTo>
                  <a:cubicBezTo>
                    <a:pt x="154779" y="192465"/>
                    <a:pt x="156403" y="201963"/>
                    <a:pt x="152564" y="205094"/>
                  </a:cubicBezTo>
                  <a:close/>
                  <a:moveTo>
                    <a:pt x="152564" y="173034"/>
                  </a:moveTo>
                  <a:cubicBezTo>
                    <a:pt x="148912" y="173526"/>
                    <a:pt x="146622" y="172636"/>
                    <a:pt x="144078" y="171974"/>
                  </a:cubicBezTo>
                  <a:cubicBezTo>
                    <a:pt x="132166" y="147936"/>
                    <a:pt x="162899" y="151701"/>
                    <a:pt x="152564" y="173034"/>
                  </a:cubicBezTo>
                  <a:close/>
                  <a:moveTo>
                    <a:pt x="150442" y="127114"/>
                  </a:moveTo>
                  <a:cubicBezTo>
                    <a:pt x="153071" y="129867"/>
                    <a:pt x="153840" y="139526"/>
                    <a:pt x="150442" y="142089"/>
                  </a:cubicBezTo>
                  <a:cubicBezTo>
                    <a:pt x="146997" y="142695"/>
                    <a:pt x="145514" y="141352"/>
                    <a:pt x="143027" y="141011"/>
                  </a:cubicBezTo>
                  <a:cubicBezTo>
                    <a:pt x="140248" y="134796"/>
                    <a:pt x="141534" y="121561"/>
                    <a:pt x="150442" y="127114"/>
                  </a:cubicBezTo>
                  <a:close/>
                  <a:moveTo>
                    <a:pt x="181184" y="75849"/>
                  </a:moveTo>
                  <a:cubicBezTo>
                    <a:pt x="180706" y="97078"/>
                    <a:pt x="174876" y="122176"/>
                    <a:pt x="175881" y="148485"/>
                  </a:cubicBezTo>
                  <a:cubicBezTo>
                    <a:pt x="176388" y="153508"/>
                    <a:pt x="173966" y="151067"/>
                    <a:pt x="174811" y="147416"/>
                  </a:cubicBezTo>
                  <a:cubicBezTo>
                    <a:pt x="174830" y="121419"/>
                    <a:pt x="173356" y="93965"/>
                    <a:pt x="181184" y="75849"/>
                  </a:cubicBezTo>
                  <a:close/>
                  <a:moveTo>
                    <a:pt x="192824" y="56607"/>
                  </a:moveTo>
                  <a:cubicBezTo>
                    <a:pt x="195462" y="58300"/>
                    <a:pt x="193266" y="64081"/>
                    <a:pt x="192824" y="66219"/>
                  </a:cubicBezTo>
                  <a:cubicBezTo>
                    <a:pt x="191125" y="63286"/>
                    <a:pt x="190018" y="58537"/>
                    <a:pt x="192824" y="56607"/>
                  </a:cubicBezTo>
                  <a:close/>
                  <a:moveTo>
                    <a:pt x="199208" y="123907"/>
                  </a:moveTo>
                  <a:cubicBezTo>
                    <a:pt x="200756" y="123008"/>
                    <a:pt x="200728" y="120473"/>
                    <a:pt x="201320" y="118571"/>
                  </a:cubicBezTo>
                  <a:cubicBezTo>
                    <a:pt x="203385" y="118552"/>
                    <a:pt x="197959" y="144540"/>
                    <a:pt x="199208" y="123907"/>
                  </a:cubicBezTo>
                  <a:close/>
                  <a:moveTo>
                    <a:pt x="209787" y="258516"/>
                  </a:moveTo>
                  <a:cubicBezTo>
                    <a:pt x="171713" y="290993"/>
                    <a:pt x="126158" y="325192"/>
                    <a:pt x="90028" y="363212"/>
                  </a:cubicBezTo>
                  <a:cubicBezTo>
                    <a:pt x="122798" y="325381"/>
                    <a:pt x="167789" y="290605"/>
                    <a:pt x="209787" y="258516"/>
                  </a:cubicBezTo>
                  <a:close/>
                  <a:moveTo>
                    <a:pt x="211917" y="14954"/>
                  </a:moveTo>
                  <a:cubicBezTo>
                    <a:pt x="216480" y="19135"/>
                    <a:pt x="212293" y="30128"/>
                    <a:pt x="209787" y="36305"/>
                  </a:cubicBezTo>
                  <a:cubicBezTo>
                    <a:pt x="207139" y="30062"/>
                    <a:pt x="212077" y="22248"/>
                    <a:pt x="211917" y="14954"/>
                  </a:cubicBezTo>
                  <a:close/>
                  <a:moveTo>
                    <a:pt x="222515" y="413418"/>
                  </a:moveTo>
                  <a:cubicBezTo>
                    <a:pt x="223332" y="403664"/>
                    <a:pt x="221060" y="397089"/>
                    <a:pt x="221455" y="387780"/>
                  </a:cubicBezTo>
                  <a:cubicBezTo>
                    <a:pt x="222600" y="394261"/>
                    <a:pt x="227631" y="407675"/>
                    <a:pt x="222515" y="413418"/>
                  </a:cubicBezTo>
                  <a:close/>
                  <a:moveTo>
                    <a:pt x="198147" y="333299"/>
                  </a:moveTo>
                  <a:cubicBezTo>
                    <a:pt x="201930" y="341927"/>
                    <a:pt x="202624" y="353705"/>
                    <a:pt x="204502" y="364281"/>
                  </a:cubicBezTo>
                  <a:cubicBezTo>
                    <a:pt x="201733" y="358870"/>
                    <a:pt x="199151" y="344027"/>
                    <a:pt x="198147" y="333299"/>
                  </a:cubicBezTo>
                  <a:close/>
                  <a:moveTo>
                    <a:pt x="157849" y="443321"/>
                  </a:moveTo>
                  <a:lnTo>
                    <a:pt x="137714" y="443321"/>
                  </a:lnTo>
                  <a:cubicBezTo>
                    <a:pt x="139460" y="436179"/>
                    <a:pt x="149494" y="439906"/>
                    <a:pt x="153624" y="442262"/>
                  </a:cubicBezTo>
                  <a:cubicBezTo>
                    <a:pt x="160909" y="441439"/>
                    <a:pt x="170418" y="443586"/>
                    <a:pt x="157849" y="443321"/>
                  </a:cubicBezTo>
                  <a:close/>
                  <a:moveTo>
                    <a:pt x="136662" y="408063"/>
                  </a:moveTo>
                  <a:cubicBezTo>
                    <a:pt x="137695" y="410305"/>
                    <a:pt x="139384" y="417334"/>
                    <a:pt x="137714" y="418763"/>
                  </a:cubicBezTo>
                  <a:cubicBezTo>
                    <a:pt x="132541" y="417921"/>
                    <a:pt x="137638" y="411544"/>
                    <a:pt x="136662" y="408063"/>
                  </a:cubicBezTo>
                  <a:close/>
                  <a:moveTo>
                    <a:pt x="152564" y="409132"/>
                  </a:moveTo>
                  <a:cubicBezTo>
                    <a:pt x="154159" y="411790"/>
                    <a:pt x="154601" y="415631"/>
                    <a:pt x="154685" y="419813"/>
                  </a:cubicBezTo>
                  <a:cubicBezTo>
                    <a:pt x="150987" y="419283"/>
                    <a:pt x="153118" y="412831"/>
                    <a:pt x="152564" y="409132"/>
                  </a:cubicBezTo>
                  <a:close/>
                  <a:moveTo>
                    <a:pt x="50800" y="283094"/>
                  </a:moveTo>
                  <a:cubicBezTo>
                    <a:pt x="56188" y="291211"/>
                    <a:pt x="66786" y="304029"/>
                    <a:pt x="65641" y="312998"/>
                  </a:cubicBezTo>
                  <a:cubicBezTo>
                    <a:pt x="64148" y="324709"/>
                    <a:pt x="41685" y="328039"/>
                    <a:pt x="40183" y="338616"/>
                  </a:cubicBezTo>
                  <a:cubicBezTo>
                    <a:pt x="38005" y="354405"/>
                    <a:pt x="54667" y="358643"/>
                    <a:pt x="69874" y="358927"/>
                  </a:cubicBezTo>
                  <a:lnTo>
                    <a:pt x="69874" y="373893"/>
                  </a:lnTo>
                  <a:cubicBezTo>
                    <a:pt x="76877" y="368368"/>
                    <a:pt x="83607" y="361632"/>
                    <a:pt x="90206" y="354821"/>
                  </a:cubicBezTo>
                  <a:cubicBezTo>
                    <a:pt x="92525" y="351046"/>
                    <a:pt x="96017" y="347887"/>
                    <a:pt x="99790" y="344916"/>
                  </a:cubicBezTo>
                  <a:cubicBezTo>
                    <a:pt x="106108" y="338474"/>
                    <a:pt x="112359" y="332457"/>
                    <a:pt x="118639" y="327954"/>
                  </a:cubicBezTo>
                  <a:cubicBezTo>
                    <a:pt x="114988" y="334520"/>
                    <a:pt x="106877" y="339363"/>
                    <a:pt x="99790" y="344916"/>
                  </a:cubicBezTo>
                  <a:cubicBezTo>
                    <a:pt x="96617" y="348161"/>
                    <a:pt x="93426" y="351491"/>
                    <a:pt x="90206" y="354821"/>
                  </a:cubicBezTo>
                  <a:cubicBezTo>
                    <a:pt x="89202" y="356429"/>
                    <a:pt x="88404" y="358142"/>
                    <a:pt x="87906" y="360005"/>
                  </a:cubicBezTo>
                  <a:cubicBezTo>
                    <a:pt x="86404" y="365473"/>
                    <a:pt x="90535" y="373524"/>
                    <a:pt x="85776" y="379219"/>
                  </a:cubicBezTo>
                  <a:cubicBezTo>
                    <a:pt x="85757" y="372777"/>
                    <a:pt x="85438" y="366088"/>
                    <a:pt x="86836" y="361065"/>
                  </a:cubicBezTo>
                  <a:cubicBezTo>
                    <a:pt x="77618" y="365038"/>
                    <a:pt x="66288" y="377876"/>
                    <a:pt x="71995" y="397383"/>
                  </a:cubicBezTo>
                  <a:cubicBezTo>
                    <a:pt x="117700" y="353005"/>
                    <a:pt x="162091" y="307293"/>
                    <a:pt x="214030" y="269197"/>
                  </a:cubicBezTo>
                  <a:cubicBezTo>
                    <a:pt x="169742" y="305240"/>
                    <a:pt x="127078" y="345058"/>
                    <a:pt x="87906" y="384564"/>
                  </a:cubicBezTo>
                  <a:cubicBezTo>
                    <a:pt x="82349" y="390155"/>
                    <a:pt x="74164" y="396200"/>
                    <a:pt x="73056" y="404866"/>
                  </a:cubicBezTo>
                  <a:cubicBezTo>
                    <a:pt x="118855" y="365208"/>
                    <a:pt x="164926" y="316536"/>
                    <a:pt x="218282" y="280965"/>
                  </a:cubicBezTo>
                  <a:cubicBezTo>
                    <a:pt x="176791" y="314445"/>
                    <a:pt x="130504" y="353090"/>
                    <a:pt x="91079" y="392047"/>
                  </a:cubicBezTo>
                  <a:cubicBezTo>
                    <a:pt x="81908" y="401100"/>
                    <a:pt x="70109" y="406966"/>
                    <a:pt x="75178" y="420910"/>
                  </a:cubicBezTo>
                  <a:cubicBezTo>
                    <a:pt x="122338" y="374792"/>
                    <a:pt x="170155" y="323602"/>
                    <a:pt x="225688" y="289498"/>
                  </a:cubicBezTo>
                  <a:cubicBezTo>
                    <a:pt x="200531" y="312903"/>
                    <a:pt x="167649" y="328550"/>
                    <a:pt x="147260" y="356808"/>
                  </a:cubicBezTo>
                  <a:cubicBezTo>
                    <a:pt x="147983" y="353241"/>
                    <a:pt x="145064" y="355076"/>
                    <a:pt x="144078" y="355748"/>
                  </a:cubicBezTo>
                  <a:cubicBezTo>
                    <a:pt x="121981" y="379749"/>
                    <a:pt x="95960" y="399833"/>
                    <a:pt x="76248" y="426227"/>
                  </a:cubicBezTo>
                  <a:cubicBezTo>
                    <a:pt x="78031" y="435327"/>
                    <a:pt x="81279" y="444182"/>
                    <a:pt x="79411" y="454011"/>
                  </a:cubicBezTo>
                  <a:cubicBezTo>
                    <a:pt x="81805" y="457663"/>
                    <a:pt x="88366" y="457105"/>
                    <a:pt x="92149" y="459366"/>
                  </a:cubicBezTo>
                  <a:cubicBezTo>
                    <a:pt x="97481" y="483887"/>
                    <a:pt x="102118" y="509108"/>
                    <a:pt x="104850" y="536277"/>
                  </a:cubicBezTo>
                  <a:cubicBezTo>
                    <a:pt x="117372" y="527498"/>
                    <a:pt x="132203" y="511832"/>
                    <a:pt x="145129" y="499950"/>
                  </a:cubicBezTo>
                  <a:cubicBezTo>
                    <a:pt x="145946" y="485590"/>
                    <a:pt x="143749" y="474285"/>
                    <a:pt x="144078" y="460425"/>
                  </a:cubicBezTo>
                  <a:cubicBezTo>
                    <a:pt x="151165" y="461116"/>
                    <a:pt x="161040" y="459016"/>
                    <a:pt x="166334" y="461494"/>
                  </a:cubicBezTo>
                  <a:cubicBezTo>
                    <a:pt x="168493" y="468580"/>
                    <a:pt x="167527" y="478807"/>
                    <a:pt x="169526" y="486072"/>
                  </a:cubicBezTo>
                  <a:cubicBezTo>
                    <a:pt x="181260" y="479724"/>
                    <a:pt x="197677" y="463150"/>
                    <a:pt x="209787" y="457218"/>
                  </a:cubicBezTo>
                  <a:cubicBezTo>
                    <a:pt x="204455" y="461580"/>
                    <a:pt x="196851" y="466603"/>
                    <a:pt x="188600" y="473225"/>
                  </a:cubicBezTo>
                  <a:cubicBezTo>
                    <a:pt x="177880" y="481862"/>
                    <a:pt x="164626" y="488380"/>
                    <a:pt x="171629" y="505286"/>
                  </a:cubicBezTo>
                  <a:cubicBezTo>
                    <a:pt x="186329" y="494813"/>
                    <a:pt x="200334" y="483650"/>
                    <a:pt x="214030" y="472156"/>
                  </a:cubicBezTo>
                  <a:cubicBezTo>
                    <a:pt x="212856" y="467653"/>
                    <a:pt x="212809" y="462015"/>
                    <a:pt x="212978" y="456159"/>
                  </a:cubicBezTo>
                  <a:cubicBezTo>
                    <a:pt x="222628" y="456613"/>
                    <a:pt x="230447" y="455232"/>
                    <a:pt x="236286" y="451873"/>
                  </a:cubicBezTo>
                  <a:cubicBezTo>
                    <a:pt x="242416" y="433208"/>
                    <a:pt x="241055" y="412226"/>
                    <a:pt x="242660" y="390987"/>
                  </a:cubicBezTo>
                  <a:cubicBezTo>
                    <a:pt x="243946" y="374044"/>
                    <a:pt x="244274" y="355341"/>
                    <a:pt x="242660" y="340773"/>
                  </a:cubicBezTo>
                  <a:cubicBezTo>
                    <a:pt x="241815" y="333138"/>
                    <a:pt x="238342" y="326459"/>
                    <a:pt x="237356" y="319412"/>
                  </a:cubicBezTo>
                  <a:cubicBezTo>
                    <a:pt x="234596" y="299668"/>
                    <a:pt x="232634" y="283661"/>
                    <a:pt x="226758" y="265990"/>
                  </a:cubicBezTo>
                  <a:cubicBezTo>
                    <a:pt x="221558" y="250390"/>
                    <a:pt x="214086" y="235263"/>
                    <a:pt x="208726" y="218991"/>
                  </a:cubicBezTo>
                  <a:cubicBezTo>
                    <a:pt x="196758" y="182428"/>
                    <a:pt x="208604" y="138551"/>
                    <a:pt x="211917" y="95063"/>
                  </a:cubicBezTo>
                  <a:cubicBezTo>
                    <a:pt x="217146" y="98336"/>
                    <a:pt x="217634" y="106396"/>
                    <a:pt x="222515" y="110029"/>
                  </a:cubicBezTo>
                  <a:cubicBezTo>
                    <a:pt x="222074" y="75376"/>
                    <a:pt x="222938" y="42086"/>
                    <a:pt x="228880" y="13875"/>
                  </a:cubicBezTo>
                  <a:cubicBezTo>
                    <a:pt x="224731" y="3989"/>
                    <a:pt x="212359" y="6411"/>
                    <a:pt x="206614" y="-12"/>
                  </a:cubicBezTo>
                  <a:cubicBezTo>
                    <a:pt x="194354" y="1899"/>
                    <a:pt x="180837" y="2495"/>
                    <a:pt x="167386" y="3214"/>
                  </a:cubicBezTo>
                  <a:cubicBezTo>
                    <a:pt x="167376" y="39863"/>
                    <a:pt x="162195" y="71308"/>
                    <a:pt x="159979" y="105762"/>
                  </a:cubicBezTo>
                  <a:cubicBezTo>
                    <a:pt x="155098" y="88138"/>
                    <a:pt x="150611" y="64658"/>
                    <a:pt x="147260" y="47005"/>
                  </a:cubicBezTo>
                  <a:cubicBezTo>
                    <a:pt x="146077" y="40771"/>
                    <a:pt x="147833" y="31339"/>
                    <a:pt x="140896" y="28832"/>
                  </a:cubicBezTo>
                  <a:cubicBezTo>
                    <a:pt x="140323" y="49370"/>
                    <a:pt x="141074" y="83484"/>
                    <a:pt x="141947" y="102536"/>
                  </a:cubicBezTo>
                  <a:cubicBezTo>
                    <a:pt x="128195" y="73531"/>
                    <a:pt x="127200" y="37829"/>
                    <a:pt x="114406" y="7471"/>
                  </a:cubicBezTo>
                  <a:cubicBezTo>
                    <a:pt x="96326" y="8133"/>
                    <a:pt x="75713" y="7745"/>
                    <a:pt x="64570" y="9609"/>
                  </a:cubicBezTo>
                  <a:cubicBezTo>
                    <a:pt x="65237" y="28633"/>
                    <a:pt x="75422" y="52728"/>
                    <a:pt x="75178" y="72642"/>
                  </a:cubicBezTo>
                  <a:cubicBezTo>
                    <a:pt x="69799" y="57042"/>
                    <a:pt x="69273" y="36580"/>
                    <a:pt x="63519" y="21358"/>
                  </a:cubicBezTo>
                  <a:cubicBezTo>
                    <a:pt x="63735" y="41518"/>
                    <a:pt x="72286" y="64412"/>
                    <a:pt x="67752" y="82254"/>
                  </a:cubicBezTo>
                  <a:cubicBezTo>
                    <a:pt x="66823" y="58622"/>
                    <a:pt x="64148" y="36760"/>
                    <a:pt x="60337" y="16023"/>
                  </a:cubicBezTo>
                  <a:cubicBezTo>
                    <a:pt x="46069" y="35539"/>
                    <a:pt x="59361" y="76559"/>
                    <a:pt x="55033" y="102536"/>
                  </a:cubicBezTo>
                  <a:cubicBezTo>
                    <a:pt x="52593" y="80456"/>
                    <a:pt x="53775" y="54668"/>
                    <a:pt x="50800" y="33098"/>
                  </a:cubicBezTo>
                  <a:cubicBezTo>
                    <a:pt x="37949" y="53353"/>
                    <a:pt x="53240" y="84108"/>
                    <a:pt x="48669" y="111098"/>
                  </a:cubicBezTo>
                  <a:cubicBezTo>
                    <a:pt x="47120" y="92007"/>
                    <a:pt x="46773" y="71696"/>
                    <a:pt x="42314" y="55529"/>
                  </a:cubicBezTo>
                  <a:cubicBezTo>
                    <a:pt x="29623" y="102026"/>
                    <a:pt x="2804" y="138107"/>
                    <a:pt x="-96" y="185890"/>
                  </a:cubicBezTo>
                  <a:cubicBezTo>
                    <a:pt x="-1298" y="206305"/>
                    <a:pt x="6456" y="215160"/>
                    <a:pt x="14763" y="229672"/>
                  </a:cubicBezTo>
                  <a:cubicBezTo>
                    <a:pt x="26929" y="251005"/>
                    <a:pt x="37311" y="262802"/>
                    <a:pt x="50800" y="283094"/>
                  </a:cubicBezTo>
                  <a:close/>
                </a:path>
              </a:pathLst>
            </a:custGeom>
            <a:solidFill>
              <a:schemeClr val="bg1"/>
            </a:solidFill>
            <a:ln w="9318" cap="flat">
              <a:noFill/>
              <a:prstDash val="solid"/>
              <a:round/>
            </a:ln>
          </p:spPr>
          <p:txBody>
            <a:bodyPr rtlCol="0" anchor="ctr"/>
            <a:lstStyle/>
            <a:p>
              <a:endParaRPr lang="en-LT"/>
            </a:p>
          </p:txBody>
        </p:sp>
        <p:sp>
          <p:nvSpPr>
            <p:cNvPr id="286" name="Freeform 285">
              <a:extLst>
                <a:ext uri="{FF2B5EF4-FFF2-40B4-BE49-F238E27FC236}">
                  <a16:creationId xmlns:a16="http://schemas.microsoft.com/office/drawing/2014/main" id="{3BF4A917-035A-274A-963B-B059E3132FF1}"/>
                </a:ext>
              </a:extLst>
            </p:cNvPr>
            <p:cNvSpPr/>
            <p:nvPr/>
          </p:nvSpPr>
          <p:spPr>
            <a:xfrm>
              <a:off x="6606499" y="3730743"/>
              <a:ext cx="113463" cy="154274"/>
            </a:xfrm>
            <a:custGeom>
              <a:avLst/>
              <a:gdLst>
                <a:gd name="connsiteX0" fmla="*/ 1142 w 41641"/>
                <a:gd name="connsiteY0" fmla="*/ 43770 h 56619"/>
                <a:gd name="connsiteX1" fmla="*/ 7516 w 41641"/>
                <a:gd name="connsiteY1" fmla="*/ 41641 h 56619"/>
                <a:gd name="connsiteX2" fmla="*/ 2203 w 41641"/>
                <a:gd name="connsiteY2" fmla="*/ 56607 h 56619"/>
                <a:gd name="connsiteX3" fmla="*/ 41422 w 41641"/>
                <a:gd name="connsiteY3" fmla="*/ 27763 h 56619"/>
                <a:gd name="connsiteX4" fmla="*/ 41422 w 41641"/>
                <a:gd name="connsiteY4" fmla="*/ -12 h 56619"/>
                <a:gd name="connsiteX5" fmla="*/ 81 w 41641"/>
                <a:gd name="connsiteY5" fmla="*/ 33108 h 56619"/>
                <a:gd name="connsiteX6" fmla="*/ 1142 w 41641"/>
                <a:gd name="connsiteY6" fmla="*/ 43770 h 56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41" h="56619">
                  <a:moveTo>
                    <a:pt x="1142" y="43770"/>
                  </a:moveTo>
                  <a:cubicBezTo>
                    <a:pt x="2043" y="46664"/>
                    <a:pt x="6615" y="38784"/>
                    <a:pt x="7516" y="41641"/>
                  </a:cubicBezTo>
                  <a:cubicBezTo>
                    <a:pt x="1011" y="43770"/>
                    <a:pt x="832" y="48490"/>
                    <a:pt x="2203" y="56607"/>
                  </a:cubicBezTo>
                  <a:cubicBezTo>
                    <a:pt x="16133" y="47856"/>
                    <a:pt x="27670" y="36693"/>
                    <a:pt x="41422" y="27763"/>
                  </a:cubicBezTo>
                  <a:lnTo>
                    <a:pt x="41422" y="-12"/>
                  </a:lnTo>
                  <a:cubicBezTo>
                    <a:pt x="26365" y="9713"/>
                    <a:pt x="12575" y="20753"/>
                    <a:pt x="81" y="33108"/>
                  </a:cubicBezTo>
                  <a:cubicBezTo>
                    <a:pt x="-548" y="33486"/>
                    <a:pt x="-191" y="41868"/>
                    <a:pt x="1142" y="43770"/>
                  </a:cubicBezTo>
                  <a:close/>
                </a:path>
              </a:pathLst>
            </a:custGeom>
            <a:solidFill>
              <a:schemeClr val="bg1"/>
            </a:solidFill>
            <a:ln w="9318" cap="flat">
              <a:noFill/>
              <a:prstDash val="solid"/>
              <a:round/>
            </a:ln>
          </p:spPr>
          <p:txBody>
            <a:bodyPr rtlCol="0" anchor="ctr"/>
            <a:lstStyle/>
            <a:p>
              <a:endParaRPr lang="en-LT"/>
            </a:p>
          </p:txBody>
        </p:sp>
      </p:grpSp>
      <p:grpSp>
        <p:nvGrpSpPr>
          <p:cNvPr id="287" name="Graphic 177">
            <a:extLst>
              <a:ext uri="{FF2B5EF4-FFF2-40B4-BE49-F238E27FC236}">
                <a16:creationId xmlns:a16="http://schemas.microsoft.com/office/drawing/2014/main" id="{43F16B97-B272-8642-967A-583EE6A3339E}"/>
              </a:ext>
            </a:extLst>
          </p:cNvPr>
          <p:cNvGrpSpPr/>
          <p:nvPr/>
        </p:nvGrpSpPr>
        <p:grpSpPr>
          <a:xfrm>
            <a:off x="9107892" y="3848865"/>
            <a:ext cx="840379" cy="1286928"/>
            <a:chOff x="4990387" y="1748539"/>
            <a:chExt cx="1648380" cy="2630334"/>
          </a:xfrm>
          <a:solidFill>
            <a:schemeClr val="bg1"/>
          </a:solidFill>
        </p:grpSpPr>
        <p:sp>
          <p:nvSpPr>
            <p:cNvPr id="288" name="Freeform 287">
              <a:extLst>
                <a:ext uri="{FF2B5EF4-FFF2-40B4-BE49-F238E27FC236}">
                  <a16:creationId xmlns:a16="http://schemas.microsoft.com/office/drawing/2014/main" id="{F91612E6-8D67-4A4B-AEE2-E2D39500507E}"/>
                </a:ext>
              </a:extLst>
            </p:cNvPr>
            <p:cNvSpPr/>
            <p:nvPr/>
          </p:nvSpPr>
          <p:spPr>
            <a:xfrm rot="-1917689">
              <a:off x="5846942" y="3093935"/>
              <a:ext cx="12114" cy="34638"/>
            </a:xfrm>
            <a:custGeom>
              <a:avLst/>
              <a:gdLst>
                <a:gd name="connsiteX0" fmla="*/ 7272 w 12114"/>
                <a:gd name="connsiteY0" fmla="*/ 34535 h 34638"/>
                <a:gd name="connsiteX1" fmla="*/ 1768 w 12114"/>
                <a:gd name="connsiteY1" fmla="*/ -103 h 34638"/>
                <a:gd name="connsiteX2" fmla="*/ 7272 w 12114"/>
                <a:gd name="connsiteY2" fmla="*/ 34535 h 34638"/>
              </a:gdLst>
              <a:ahLst/>
              <a:cxnLst>
                <a:cxn ang="0">
                  <a:pos x="connsiteX0" y="connsiteY0"/>
                </a:cxn>
                <a:cxn ang="0">
                  <a:pos x="connsiteX1" y="connsiteY1"/>
                </a:cxn>
                <a:cxn ang="0">
                  <a:pos x="connsiteX2" y="connsiteY2"/>
                </a:cxn>
              </a:cxnLst>
              <a:rect l="l" t="t" r="r" b="b"/>
              <a:pathLst>
                <a:path w="12114" h="34638">
                  <a:moveTo>
                    <a:pt x="7272" y="34535"/>
                  </a:moveTo>
                  <a:cubicBezTo>
                    <a:pt x="19236" y="19985"/>
                    <a:pt x="5644" y="11023"/>
                    <a:pt x="1768" y="-103"/>
                  </a:cubicBezTo>
                  <a:cubicBezTo>
                    <a:pt x="-1798" y="12645"/>
                    <a:pt x="-67" y="24234"/>
                    <a:pt x="7272" y="34535"/>
                  </a:cubicBezTo>
                  <a:close/>
                </a:path>
              </a:pathLst>
            </a:custGeom>
            <a:grpFill/>
            <a:ln w="25598" cap="flat">
              <a:noFill/>
              <a:prstDash val="solid"/>
              <a:round/>
            </a:ln>
          </p:spPr>
          <p:txBody>
            <a:bodyPr rtlCol="0" anchor="ctr"/>
            <a:lstStyle/>
            <a:p>
              <a:endParaRPr lang="en-LT"/>
            </a:p>
          </p:txBody>
        </p:sp>
        <p:sp>
          <p:nvSpPr>
            <p:cNvPr id="289" name="Freeform 288">
              <a:extLst>
                <a:ext uri="{FF2B5EF4-FFF2-40B4-BE49-F238E27FC236}">
                  <a16:creationId xmlns:a16="http://schemas.microsoft.com/office/drawing/2014/main" id="{1EA5205F-B0B8-1F48-B13A-D915B8E2AD84}"/>
                </a:ext>
              </a:extLst>
            </p:cNvPr>
            <p:cNvSpPr/>
            <p:nvPr/>
          </p:nvSpPr>
          <p:spPr>
            <a:xfrm rot="-1917689">
              <a:off x="5750093" y="1800622"/>
              <a:ext cx="30621" cy="81741"/>
            </a:xfrm>
            <a:custGeom>
              <a:avLst/>
              <a:gdLst>
                <a:gd name="connsiteX0" fmla="*/ -47 w 30621"/>
                <a:gd name="connsiteY0" fmla="*/ -109 h 81741"/>
                <a:gd name="connsiteX1" fmla="*/ 30574 w 30621"/>
                <a:gd name="connsiteY1" fmla="*/ 81633 h 81741"/>
                <a:gd name="connsiteX2" fmla="*/ -47 w 30621"/>
                <a:gd name="connsiteY2" fmla="*/ -109 h 81741"/>
              </a:gdLst>
              <a:ahLst/>
              <a:cxnLst>
                <a:cxn ang="0">
                  <a:pos x="connsiteX0" y="connsiteY0"/>
                </a:cxn>
                <a:cxn ang="0">
                  <a:pos x="connsiteX1" y="connsiteY1"/>
                </a:cxn>
                <a:cxn ang="0">
                  <a:pos x="connsiteX2" y="connsiteY2"/>
                </a:cxn>
              </a:cxnLst>
              <a:rect l="l" t="t" r="r" b="b"/>
              <a:pathLst>
                <a:path w="30621" h="81741">
                  <a:moveTo>
                    <a:pt x="-47" y="-109"/>
                  </a:moveTo>
                  <a:cubicBezTo>
                    <a:pt x="26594" y="20880"/>
                    <a:pt x="26336" y="69735"/>
                    <a:pt x="30574" y="81633"/>
                  </a:cubicBezTo>
                  <a:cubicBezTo>
                    <a:pt x="29463" y="53793"/>
                    <a:pt x="31426" y="14081"/>
                    <a:pt x="-47" y="-109"/>
                  </a:cubicBezTo>
                  <a:close/>
                </a:path>
              </a:pathLst>
            </a:custGeom>
            <a:grpFill/>
            <a:ln w="25598" cap="flat">
              <a:noFill/>
              <a:prstDash val="solid"/>
              <a:round/>
            </a:ln>
          </p:spPr>
          <p:txBody>
            <a:bodyPr rtlCol="0" anchor="ctr"/>
            <a:lstStyle/>
            <a:p>
              <a:endParaRPr lang="en-LT"/>
            </a:p>
          </p:txBody>
        </p:sp>
        <p:sp>
          <p:nvSpPr>
            <p:cNvPr id="290" name="Freeform 289">
              <a:extLst>
                <a:ext uri="{FF2B5EF4-FFF2-40B4-BE49-F238E27FC236}">
                  <a16:creationId xmlns:a16="http://schemas.microsoft.com/office/drawing/2014/main" id="{C634EB0C-5C5C-EA43-9D93-D7CC057C4E1C}"/>
                </a:ext>
              </a:extLst>
            </p:cNvPr>
            <p:cNvSpPr/>
            <p:nvPr/>
          </p:nvSpPr>
          <p:spPr>
            <a:xfrm rot="-1917689">
              <a:off x="5446056" y="3054622"/>
              <a:ext cx="18631" cy="21864"/>
            </a:xfrm>
            <a:custGeom>
              <a:avLst/>
              <a:gdLst>
                <a:gd name="connsiteX0" fmla="*/ 9460 w 18631"/>
                <a:gd name="connsiteY0" fmla="*/ -95 h 21864"/>
                <a:gd name="connsiteX1" fmla="*/ -24 w 18631"/>
                <a:gd name="connsiteY1" fmla="*/ 14584 h 21864"/>
                <a:gd name="connsiteX2" fmla="*/ 5790 w 18631"/>
                <a:gd name="connsiteY2" fmla="*/ 21769 h 21864"/>
                <a:gd name="connsiteX3" fmla="*/ 18607 w 18631"/>
                <a:gd name="connsiteY3" fmla="*/ 12679 h 21864"/>
                <a:gd name="connsiteX4" fmla="*/ 9460 w 18631"/>
                <a:gd name="connsiteY4" fmla="*/ -95 h 21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31" h="21864">
                  <a:moveTo>
                    <a:pt x="9460" y="-95"/>
                  </a:moveTo>
                  <a:cubicBezTo>
                    <a:pt x="6281" y="4798"/>
                    <a:pt x="3154" y="9717"/>
                    <a:pt x="-24" y="14584"/>
                  </a:cubicBezTo>
                  <a:cubicBezTo>
                    <a:pt x="3439" y="16645"/>
                    <a:pt x="4679" y="19194"/>
                    <a:pt x="5790" y="21769"/>
                  </a:cubicBezTo>
                  <a:cubicBezTo>
                    <a:pt x="10390" y="20147"/>
                    <a:pt x="14007" y="14275"/>
                    <a:pt x="18607" y="12679"/>
                  </a:cubicBezTo>
                  <a:cubicBezTo>
                    <a:pt x="14602" y="8609"/>
                    <a:pt x="15868" y="3433"/>
                    <a:pt x="9460" y="-95"/>
                  </a:cubicBezTo>
                  <a:close/>
                </a:path>
              </a:pathLst>
            </a:custGeom>
            <a:grpFill/>
            <a:ln w="25598" cap="flat">
              <a:noFill/>
              <a:prstDash val="solid"/>
              <a:round/>
            </a:ln>
          </p:spPr>
          <p:txBody>
            <a:bodyPr rtlCol="0" anchor="ctr"/>
            <a:lstStyle/>
            <a:p>
              <a:endParaRPr lang="en-LT"/>
            </a:p>
          </p:txBody>
        </p:sp>
        <p:sp>
          <p:nvSpPr>
            <p:cNvPr id="291" name="Freeform 290">
              <a:extLst>
                <a:ext uri="{FF2B5EF4-FFF2-40B4-BE49-F238E27FC236}">
                  <a16:creationId xmlns:a16="http://schemas.microsoft.com/office/drawing/2014/main" id="{1EE0B564-9953-1A41-AF56-095323532FFA}"/>
                </a:ext>
              </a:extLst>
            </p:cNvPr>
            <p:cNvSpPr/>
            <p:nvPr/>
          </p:nvSpPr>
          <p:spPr>
            <a:xfrm rot="-1917689">
              <a:off x="5500118" y="2744212"/>
              <a:ext cx="21617" cy="19191"/>
            </a:xfrm>
            <a:custGeom>
              <a:avLst/>
              <a:gdLst>
                <a:gd name="connsiteX0" fmla="*/ 21573 w 21617"/>
                <a:gd name="connsiteY0" fmla="*/ -98 h 19191"/>
                <a:gd name="connsiteX1" fmla="*/ -30 w 21617"/>
                <a:gd name="connsiteY1" fmla="*/ 17234 h 19191"/>
                <a:gd name="connsiteX2" fmla="*/ 21573 w 21617"/>
                <a:gd name="connsiteY2" fmla="*/ -98 h 19191"/>
              </a:gdLst>
              <a:ahLst/>
              <a:cxnLst>
                <a:cxn ang="0">
                  <a:pos x="connsiteX0" y="connsiteY0"/>
                </a:cxn>
                <a:cxn ang="0">
                  <a:pos x="connsiteX1" y="connsiteY1"/>
                </a:cxn>
                <a:cxn ang="0">
                  <a:pos x="connsiteX2" y="connsiteY2"/>
                </a:cxn>
              </a:cxnLst>
              <a:rect l="l" t="t" r="r" b="b"/>
              <a:pathLst>
                <a:path w="21617" h="19191">
                  <a:moveTo>
                    <a:pt x="21573" y="-98"/>
                  </a:moveTo>
                  <a:cubicBezTo>
                    <a:pt x="14131" y="4666"/>
                    <a:pt x="6378" y="7757"/>
                    <a:pt x="-30" y="17234"/>
                  </a:cubicBezTo>
                  <a:cubicBezTo>
                    <a:pt x="8988" y="25655"/>
                    <a:pt x="22089" y="2915"/>
                    <a:pt x="21573" y="-98"/>
                  </a:cubicBezTo>
                  <a:close/>
                </a:path>
              </a:pathLst>
            </a:custGeom>
            <a:grpFill/>
            <a:ln w="25598" cap="flat">
              <a:noFill/>
              <a:prstDash val="solid"/>
              <a:round/>
            </a:ln>
          </p:spPr>
          <p:txBody>
            <a:bodyPr rtlCol="0" anchor="ctr"/>
            <a:lstStyle/>
            <a:p>
              <a:endParaRPr lang="en-LT"/>
            </a:p>
          </p:txBody>
        </p:sp>
        <p:sp>
          <p:nvSpPr>
            <p:cNvPr id="292" name="Freeform 291">
              <a:extLst>
                <a:ext uri="{FF2B5EF4-FFF2-40B4-BE49-F238E27FC236}">
                  <a16:creationId xmlns:a16="http://schemas.microsoft.com/office/drawing/2014/main" id="{4F71999C-3575-5B4E-A55F-6CF1D53BBFA4}"/>
                </a:ext>
              </a:extLst>
            </p:cNvPr>
            <p:cNvSpPr/>
            <p:nvPr/>
          </p:nvSpPr>
          <p:spPr>
            <a:xfrm rot="-1917689">
              <a:off x="5804793" y="3071917"/>
              <a:ext cx="15788" cy="24103"/>
            </a:xfrm>
            <a:custGeom>
              <a:avLst/>
              <a:gdLst>
                <a:gd name="connsiteX0" fmla="*/ -21 w 15788"/>
                <a:gd name="connsiteY0" fmla="*/ -21 h 24103"/>
                <a:gd name="connsiteX1" fmla="*/ 15767 w 15788"/>
                <a:gd name="connsiteY1" fmla="*/ 23878 h 24103"/>
                <a:gd name="connsiteX2" fmla="*/ -21 w 15788"/>
                <a:gd name="connsiteY2" fmla="*/ -21 h 24103"/>
              </a:gdLst>
              <a:ahLst/>
              <a:cxnLst>
                <a:cxn ang="0">
                  <a:pos x="connsiteX0" y="connsiteY0"/>
                </a:cxn>
                <a:cxn ang="0">
                  <a:pos x="connsiteX1" y="connsiteY1"/>
                </a:cxn>
                <a:cxn ang="0">
                  <a:pos x="connsiteX2" y="connsiteY2"/>
                </a:cxn>
              </a:cxnLst>
              <a:rect l="l" t="t" r="r" b="b"/>
              <a:pathLst>
                <a:path w="15788" h="24103">
                  <a:moveTo>
                    <a:pt x="-21" y="-21"/>
                  </a:moveTo>
                  <a:cubicBezTo>
                    <a:pt x="5121" y="6675"/>
                    <a:pt x="3364" y="25706"/>
                    <a:pt x="15767" y="23878"/>
                  </a:cubicBezTo>
                  <a:cubicBezTo>
                    <a:pt x="10289" y="17337"/>
                    <a:pt x="10392" y="-1489"/>
                    <a:pt x="-21" y="-21"/>
                  </a:cubicBezTo>
                  <a:close/>
                </a:path>
              </a:pathLst>
            </a:custGeom>
            <a:grpFill/>
            <a:ln w="25598" cap="flat">
              <a:noFill/>
              <a:prstDash val="solid"/>
              <a:round/>
            </a:ln>
          </p:spPr>
          <p:txBody>
            <a:bodyPr rtlCol="0" anchor="ctr"/>
            <a:lstStyle/>
            <a:p>
              <a:endParaRPr lang="en-LT"/>
            </a:p>
          </p:txBody>
        </p:sp>
        <p:sp>
          <p:nvSpPr>
            <p:cNvPr id="293" name="Freeform 292">
              <a:extLst>
                <a:ext uri="{FF2B5EF4-FFF2-40B4-BE49-F238E27FC236}">
                  <a16:creationId xmlns:a16="http://schemas.microsoft.com/office/drawing/2014/main" id="{EDF153FE-5600-2446-AD53-D83F96997190}"/>
                </a:ext>
              </a:extLst>
            </p:cNvPr>
            <p:cNvSpPr/>
            <p:nvPr/>
          </p:nvSpPr>
          <p:spPr>
            <a:xfrm rot="-1917689">
              <a:off x="5673228" y="1831202"/>
              <a:ext cx="138556" cy="290473"/>
            </a:xfrm>
            <a:custGeom>
              <a:avLst/>
              <a:gdLst>
                <a:gd name="connsiteX0" fmla="*/ 59983 w 138556"/>
                <a:gd name="connsiteY0" fmla="*/ 134017 h 290473"/>
                <a:gd name="connsiteX1" fmla="*/ 72412 w 138556"/>
                <a:gd name="connsiteY1" fmla="*/ 103962 h 290473"/>
                <a:gd name="connsiteX2" fmla="*/ 28483 w 138556"/>
                <a:gd name="connsiteY2" fmla="*/ -108 h 290473"/>
                <a:gd name="connsiteX3" fmla="*/ -45 w 138556"/>
                <a:gd name="connsiteY3" fmla="*/ 33501 h 290473"/>
                <a:gd name="connsiteX4" fmla="*/ 15046 w 138556"/>
                <a:gd name="connsiteY4" fmla="*/ 63838 h 290473"/>
                <a:gd name="connsiteX5" fmla="*/ 28509 w 138556"/>
                <a:gd name="connsiteY5" fmla="*/ 48309 h 290473"/>
                <a:gd name="connsiteX6" fmla="*/ 15925 w 138556"/>
                <a:gd name="connsiteY6" fmla="*/ 67856 h 290473"/>
                <a:gd name="connsiteX7" fmla="*/ 115411 w 138556"/>
                <a:gd name="connsiteY7" fmla="*/ 290366 h 290473"/>
                <a:gd name="connsiteX8" fmla="*/ 138512 w 138556"/>
                <a:gd name="connsiteY8" fmla="*/ 270613 h 290473"/>
                <a:gd name="connsiteX9" fmla="*/ 74143 w 138556"/>
                <a:gd name="connsiteY9" fmla="*/ 111997 h 290473"/>
                <a:gd name="connsiteX10" fmla="*/ 59983 w 138556"/>
                <a:gd name="connsiteY10" fmla="*/ 134017 h 290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556" h="290473">
                  <a:moveTo>
                    <a:pt x="59983" y="134017"/>
                  </a:moveTo>
                  <a:cubicBezTo>
                    <a:pt x="58820" y="125132"/>
                    <a:pt x="64376" y="114856"/>
                    <a:pt x="72412" y="103962"/>
                  </a:cubicBezTo>
                  <a:cubicBezTo>
                    <a:pt x="58872" y="68989"/>
                    <a:pt x="43781" y="34428"/>
                    <a:pt x="28483" y="-108"/>
                  </a:cubicBezTo>
                  <a:cubicBezTo>
                    <a:pt x="18121" y="7335"/>
                    <a:pt x="8612" y="18435"/>
                    <a:pt x="-45" y="33501"/>
                  </a:cubicBezTo>
                  <a:cubicBezTo>
                    <a:pt x="6700" y="43184"/>
                    <a:pt x="8224" y="54104"/>
                    <a:pt x="15046" y="63838"/>
                  </a:cubicBezTo>
                  <a:cubicBezTo>
                    <a:pt x="19749" y="59718"/>
                    <a:pt x="22385" y="45811"/>
                    <a:pt x="28509" y="48309"/>
                  </a:cubicBezTo>
                  <a:cubicBezTo>
                    <a:pt x="24323" y="54799"/>
                    <a:pt x="20111" y="61366"/>
                    <a:pt x="15925" y="67856"/>
                  </a:cubicBezTo>
                  <a:cubicBezTo>
                    <a:pt x="49828" y="141897"/>
                    <a:pt x="77425" y="217303"/>
                    <a:pt x="115411" y="290366"/>
                  </a:cubicBezTo>
                  <a:cubicBezTo>
                    <a:pt x="122698" y="281893"/>
                    <a:pt x="131819" y="281687"/>
                    <a:pt x="138512" y="270613"/>
                  </a:cubicBezTo>
                  <a:cubicBezTo>
                    <a:pt x="120475" y="216994"/>
                    <a:pt x="99054" y="164122"/>
                    <a:pt x="74143" y="111997"/>
                  </a:cubicBezTo>
                  <a:cubicBezTo>
                    <a:pt x="66546" y="118745"/>
                    <a:pt x="70991" y="133579"/>
                    <a:pt x="59983" y="134017"/>
                  </a:cubicBezTo>
                  <a:close/>
                </a:path>
              </a:pathLst>
            </a:custGeom>
            <a:grpFill/>
            <a:ln w="25598" cap="flat">
              <a:noFill/>
              <a:prstDash val="solid"/>
              <a:round/>
            </a:ln>
          </p:spPr>
          <p:txBody>
            <a:bodyPr rtlCol="0" anchor="ctr"/>
            <a:lstStyle/>
            <a:p>
              <a:endParaRPr lang="en-LT"/>
            </a:p>
          </p:txBody>
        </p:sp>
        <p:sp>
          <p:nvSpPr>
            <p:cNvPr id="294" name="Freeform 293">
              <a:extLst>
                <a:ext uri="{FF2B5EF4-FFF2-40B4-BE49-F238E27FC236}">
                  <a16:creationId xmlns:a16="http://schemas.microsoft.com/office/drawing/2014/main" id="{F7DCF273-ACA2-0F40-9C46-D4639AE7EDAD}"/>
                </a:ext>
              </a:extLst>
            </p:cNvPr>
            <p:cNvSpPr/>
            <p:nvPr/>
          </p:nvSpPr>
          <p:spPr>
            <a:xfrm rot="-1917689">
              <a:off x="5637861" y="1895610"/>
              <a:ext cx="163883" cy="281205"/>
            </a:xfrm>
            <a:custGeom>
              <a:avLst/>
              <a:gdLst>
                <a:gd name="connsiteX0" fmla="*/ 33578 w 163883"/>
                <a:gd name="connsiteY0" fmla="*/ 171283 h 281205"/>
                <a:gd name="connsiteX1" fmla="*/ 59005 w 163883"/>
                <a:gd name="connsiteY1" fmla="*/ 228971 h 281205"/>
                <a:gd name="connsiteX2" fmla="*/ 59884 w 163883"/>
                <a:gd name="connsiteY2" fmla="*/ 233014 h 281205"/>
                <a:gd name="connsiteX3" fmla="*/ 32958 w 163883"/>
                <a:gd name="connsiteY3" fmla="*/ 177747 h 281205"/>
                <a:gd name="connsiteX4" fmla="*/ 33578 w 163883"/>
                <a:gd name="connsiteY4" fmla="*/ 171283 h 281205"/>
                <a:gd name="connsiteX5" fmla="*/ 114536 w 163883"/>
                <a:gd name="connsiteY5" fmla="*/ 212617 h 281205"/>
                <a:gd name="connsiteX6" fmla="*/ 99316 w 163883"/>
                <a:gd name="connsiteY6" fmla="*/ 220189 h 281205"/>
                <a:gd name="connsiteX7" fmla="*/ 114536 w 163883"/>
                <a:gd name="connsiteY7" fmla="*/ 212617 h 281205"/>
                <a:gd name="connsiteX8" fmla="*/ 163840 w 163883"/>
                <a:gd name="connsiteY8" fmla="*/ 254518 h 281205"/>
                <a:gd name="connsiteX9" fmla="*/ 57325 w 163883"/>
                <a:gd name="connsiteY9" fmla="*/ -107 h 281205"/>
                <a:gd name="connsiteX10" fmla="*/ 14792 w 163883"/>
                <a:gd name="connsiteY10" fmla="*/ 249058 h 281205"/>
                <a:gd name="connsiteX11" fmla="*/ 163840 w 163883"/>
                <a:gd name="connsiteY11" fmla="*/ 254518 h 28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883" h="281205">
                  <a:moveTo>
                    <a:pt x="33578" y="171283"/>
                  </a:moveTo>
                  <a:cubicBezTo>
                    <a:pt x="39030" y="191216"/>
                    <a:pt x="42932" y="211433"/>
                    <a:pt x="59005" y="228971"/>
                  </a:cubicBezTo>
                  <a:cubicBezTo>
                    <a:pt x="63760" y="231057"/>
                    <a:pt x="62494" y="234508"/>
                    <a:pt x="59884" y="233014"/>
                  </a:cubicBezTo>
                  <a:cubicBezTo>
                    <a:pt x="40994" y="216712"/>
                    <a:pt x="34508" y="197809"/>
                    <a:pt x="32958" y="177747"/>
                  </a:cubicBezTo>
                  <a:cubicBezTo>
                    <a:pt x="30581" y="176202"/>
                    <a:pt x="32984" y="173601"/>
                    <a:pt x="33578" y="171283"/>
                  </a:cubicBezTo>
                  <a:close/>
                  <a:moveTo>
                    <a:pt x="114536" y="212617"/>
                  </a:moveTo>
                  <a:cubicBezTo>
                    <a:pt x="110738" y="221090"/>
                    <a:pt x="103735" y="214883"/>
                    <a:pt x="99316" y="220189"/>
                  </a:cubicBezTo>
                  <a:cubicBezTo>
                    <a:pt x="95569" y="214729"/>
                    <a:pt x="108877" y="207029"/>
                    <a:pt x="114536" y="212617"/>
                  </a:cubicBezTo>
                  <a:close/>
                  <a:moveTo>
                    <a:pt x="163840" y="254518"/>
                  </a:moveTo>
                  <a:cubicBezTo>
                    <a:pt x="133684" y="168450"/>
                    <a:pt x="91719" y="84983"/>
                    <a:pt x="57325" y="-107"/>
                  </a:cubicBezTo>
                  <a:cubicBezTo>
                    <a:pt x="2259" y="52070"/>
                    <a:pt x="-15855" y="210660"/>
                    <a:pt x="14792" y="249058"/>
                  </a:cubicBezTo>
                  <a:cubicBezTo>
                    <a:pt x="56990" y="302059"/>
                    <a:pt x="120531" y="278675"/>
                    <a:pt x="163840" y="254518"/>
                  </a:cubicBezTo>
                  <a:close/>
                </a:path>
              </a:pathLst>
            </a:custGeom>
            <a:grpFill/>
            <a:ln w="25598" cap="flat">
              <a:noFill/>
              <a:prstDash val="solid"/>
              <a:round/>
            </a:ln>
          </p:spPr>
          <p:txBody>
            <a:bodyPr rtlCol="0" anchor="ctr"/>
            <a:lstStyle/>
            <a:p>
              <a:endParaRPr lang="en-LT"/>
            </a:p>
          </p:txBody>
        </p:sp>
        <p:sp>
          <p:nvSpPr>
            <p:cNvPr id="295" name="Freeform 294">
              <a:extLst>
                <a:ext uri="{FF2B5EF4-FFF2-40B4-BE49-F238E27FC236}">
                  <a16:creationId xmlns:a16="http://schemas.microsoft.com/office/drawing/2014/main" id="{5A830E7F-29DB-7E45-8860-FE3915B5CC86}"/>
                </a:ext>
              </a:extLst>
            </p:cNvPr>
            <p:cNvSpPr/>
            <p:nvPr/>
          </p:nvSpPr>
          <p:spPr>
            <a:xfrm rot="-1917689">
              <a:off x="5622252" y="2299690"/>
              <a:ext cx="34186" cy="45750"/>
            </a:xfrm>
            <a:custGeom>
              <a:avLst/>
              <a:gdLst>
                <a:gd name="connsiteX0" fmla="*/ 34149 w 34186"/>
                <a:gd name="connsiteY0" fmla="*/ 13146 h 45750"/>
                <a:gd name="connsiteX1" fmla="*/ -38 w 34186"/>
                <a:gd name="connsiteY1" fmla="*/ 1660 h 45750"/>
                <a:gd name="connsiteX2" fmla="*/ 20169 w 34186"/>
                <a:gd name="connsiteY2" fmla="*/ 45647 h 45750"/>
                <a:gd name="connsiteX3" fmla="*/ 34149 w 34186"/>
                <a:gd name="connsiteY3" fmla="*/ 13146 h 45750"/>
              </a:gdLst>
              <a:ahLst/>
              <a:cxnLst>
                <a:cxn ang="0">
                  <a:pos x="connsiteX0" y="connsiteY0"/>
                </a:cxn>
                <a:cxn ang="0">
                  <a:pos x="connsiteX1" y="connsiteY1"/>
                </a:cxn>
                <a:cxn ang="0">
                  <a:pos x="connsiteX2" y="connsiteY2"/>
                </a:cxn>
                <a:cxn ang="0">
                  <a:pos x="connsiteX3" y="connsiteY3"/>
                </a:cxn>
              </a:cxnLst>
              <a:rect l="l" t="t" r="r" b="b"/>
              <a:pathLst>
                <a:path w="34186" h="45750">
                  <a:moveTo>
                    <a:pt x="34149" y="13146"/>
                  </a:moveTo>
                  <a:cubicBezTo>
                    <a:pt x="22443" y="7789"/>
                    <a:pt x="9109" y="-4701"/>
                    <a:pt x="-38" y="1660"/>
                  </a:cubicBezTo>
                  <a:cubicBezTo>
                    <a:pt x="10169" y="15567"/>
                    <a:pt x="11125" y="31534"/>
                    <a:pt x="20169" y="45647"/>
                  </a:cubicBezTo>
                  <a:cubicBezTo>
                    <a:pt x="26836" y="34367"/>
                    <a:pt x="31668" y="23473"/>
                    <a:pt x="34149" y="13146"/>
                  </a:cubicBezTo>
                  <a:close/>
                </a:path>
              </a:pathLst>
            </a:custGeom>
            <a:grpFill/>
            <a:ln w="25598" cap="flat">
              <a:noFill/>
              <a:prstDash val="solid"/>
              <a:round/>
            </a:ln>
          </p:spPr>
          <p:txBody>
            <a:bodyPr rtlCol="0" anchor="ctr"/>
            <a:lstStyle/>
            <a:p>
              <a:endParaRPr lang="en-LT"/>
            </a:p>
          </p:txBody>
        </p:sp>
        <p:sp>
          <p:nvSpPr>
            <p:cNvPr id="296" name="Freeform 295">
              <a:extLst>
                <a:ext uri="{FF2B5EF4-FFF2-40B4-BE49-F238E27FC236}">
                  <a16:creationId xmlns:a16="http://schemas.microsoft.com/office/drawing/2014/main" id="{E3F35464-A96E-184C-B6BB-DBFE50D12105}"/>
                </a:ext>
              </a:extLst>
            </p:cNvPr>
            <p:cNvSpPr/>
            <p:nvPr/>
          </p:nvSpPr>
          <p:spPr>
            <a:xfrm rot="-1917689">
              <a:off x="5598406" y="2289163"/>
              <a:ext cx="41249" cy="96910"/>
            </a:xfrm>
            <a:custGeom>
              <a:avLst/>
              <a:gdLst>
                <a:gd name="connsiteX0" fmla="*/ -38 w 41249"/>
                <a:gd name="connsiteY0" fmla="*/ -103 h 96910"/>
                <a:gd name="connsiteX1" fmla="*/ 38103 w 41249"/>
                <a:gd name="connsiteY1" fmla="*/ 96807 h 96910"/>
                <a:gd name="connsiteX2" fmla="*/ -38 w 41249"/>
                <a:gd name="connsiteY2" fmla="*/ -103 h 96910"/>
              </a:gdLst>
              <a:ahLst/>
              <a:cxnLst>
                <a:cxn ang="0">
                  <a:pos x="connsiteX0" y="connsiteY0"/>
                </a:cxn>
                <a:cxn ang="0">
                  <a:pos x="connsiteX1" y="connsiteY1"/>
                </a:cxn>
                <a:cxn ang="0">
                  <a:pos x="connsiteX2" y="connsiteY2"/>
                </a:cxn>
              </a:cxnLst>
              <a:rect l="l" t="t" r="r" b="b"/>
              <a:pathLst>
                <a:path w="41249" h="96910">
                  <a:moveTo>
                    <a:pt x="-38" y="-103"/>
                  </a:moveTo>
                  <a:cubicBezTo>
                    <a:pt x="7404" y="33325"/>
                    <a:pt x="22934" y="65028"/>
                    <a:pt x="38103" y="96807"/>
                  </a:cubicBezTo>
                  <a:cubicBezTo>
                    <a:pt x="48103" y="59542"/>
                    <a:pt x="33606" y="27634"/>
                    <a:pt x="-38" y="-103"/>
                  </a:cubicBezTo>
                  <a:close/>
                </a:path>
              </a:pathLst>
            </a:custGeom>
            <a:grpFill/>
            <a:ln w="25598" cap="flat">
              <a:noFill/>
              <a:prstDash val="solid"/>
              <a:round/>
            </a:ln>
          </p:spPr>
          <p:txBody>
            <a:bodyPr rtlCol="0" anchor="ctr"/>
            <a:lstStyle/>
            <a:p>
              <a:endParaRPr lang="en-LT"/>
            </a:p>
          </p:txBody>
        </p:sp>
        <p:sp>
          <p:nvSpPr>
            <p:cNvPr id="297" name="Freeform 296">
              <a:extLst>
                <a:ext uri="{FF2B5EF4-FFF2-40B4-BE49-F238E27FC236}">
                  <a16:creationId xmlns:a16="http://schemas.microsoft.com/office/drawing/2014/main" id="{532663D3-E44A-1344-B2F9-EF80BD168405}"/>
                </a:ext>
              </a:extLst>
            </p:cNvPr>
            <p:cNvSpPr/>
            <p:nvPr/>
          </p:nvSpPr>
          <p:spPr>
            <a:xfrm rot="-1917689">
              <a:off x="5583680" y="2288598"/>
              <a:ext cx="58657" cy="140407"/>
            </a:xfrm>
            <a:custGeom>
              <a:avLst/>
              <a:gdLst>
                <a:gd name="connsiteX0" fmla="*/ 50067 w 58657"/>
                <a:gd name="connsiteY0" fmla="*/ 140305 h 140407"/>
                <a:gd name="connsiteX1" fmla="*/ 58620 w 58657"/>
                <a:gd name="connsiteY1" fmla="*/ 121608 h 140407"/>
                <a:gd name="connsiteX2" fmla="*/ 8696 w 58657"/>
                <a:gd name="connsiteY2" fmla="*/ -103 h 140407"/>
                <a:gd name="connsiteX3" fmla="*/ -38 w 58657"/>
                <a:gd name="connsiteY3" fmla="*/ 8087 h 140407"/>
                <a:gd name="connsiteX4" fmla="*/ 50067 w 58657"/>
                <a:gd name="connsiteY4" fmla="*/ 140305 h 140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57" h="140407">
                  <a:moveTo>
                    <a:pt x="50067" y="140305"/>
                  </a:moveTo>
                  <a:cubicBezTo>
                    <a:pt x="52987" y="134099"/>
                    <a:pt x="52134" y="128639"/>
                    <a:pt x="58620" y="121608"/>
                  </a:cubicBezTo>
                  <a:cubicBezTo>
                    <a:pt x="42082" y="81021"/>
                    <a:pt x="28749" y="39712"/>
                    <a:pt x="8696" y="-103"/>
                  </a:cubicBezTo>
                  <a:cubicBezTo>
                    <a:pt x="5802" y="2653"/>
                    <a:pt x="2236" y="2318"/>
                    <a:pt x="-38" y="8087"/>
                  </a:cubicBezTo>
                  <a:cubicBezTo>
                    <a:pt x="13193" y="52949"/>
                    <a:pt x="34692" y="95906"/>
                    <a:pt x="50067" y="140305"/>
                  </a:cubicBezTo>
                  <a:close/>
                </a:path>
              </a:pathLst>
            </a:custGeom>
            <a:grpFill/>
            <a:ln w="25598" cap="flat">
              <a:noFill/>
              <a:prstDash val="solid"/>
              <a:round/>
            </a:ln>
          </p:spPr>
          <p:txBody>
            <a:bodyPr rtlCol="0" anchor="ctr"/>
            <a:lstStyle/>
            <a:p>
              <a:endParaRPr lang="en-LT"/>
            </a:p>
          </p:txBody>
        </p:sp>
        <p:sp>
          <p:nvSpPr>
            <p:cNvPr id="298" name="Freeform 297">
              <a:extLst>
                <a:ext uri="{FF2B5EF4-FFF2-40B4-BE49-F238E27FC236}">
                  <a16:creationId xmlns:a16="http://schemas.microsoft.com/office/drawing/2014/main" id="{6004ABB6-0089-2440-9562-0A4EA1BCC4FD}"/>
                </a:ext>
              </a:extLst>
            </p:cNvPr>
            <p:cNvSpPr/>
            <p:nvPr/>
          </p:nvSpPr>
          <p:spPr>
            <a:xfrm rot="-1917689">
              <a:off x="5715833" y="2310043"/>
              <a:ext cx="70828" cy="68150"/>
            </a:xfrm>
            <a:custGeom>
              <a:avLst/>
              <a:gdLst>
                <a:gd name="connsiteX0" fmla="*/ 35494 w 70828"/>
                <a:gd name="connsiteY0" fmla="*/ -106 h 68150"/>
                <a:gd name="connsiteX1" fmla="*/ -37 w 70828"/>
                <a:gd name="connsiteY1" fmla="*/ 49702 h 68150"/>
                <a:gd name="connsiteX2" fmla="*/ 58569 w 70828"/>
                <a:gd name="connsiteY2" fmla="*/ 66441 h 68150"/>
                <a:gd name="connsiteX3" fmla="*/ 70792 w 70828"/>
                <a:gd name="connsiteY3" fmla="*/ 25931 h 68150"/>
                <a:gd name="connsiteX4" fmla="*/ 35494 w 70828"/>
                <a:gd name="connsiteY4" fmla="*/ -106 h 6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28" h="68150">
                  <a:moveTo>
                    <a:pt x="35494" y="-106"/>
                  </a:moveTo>
                  <a:cubicBezTo>
                    <a:pt x="23245" y="13389"/>
                    <a:pt x="4666" y="32292"/>
                    <a:pt x="-37" y="49702"/>
                  </a:cubicBezTo>
                  <a:cubicBezTo>
                    <a:pt x="12651" y="57428"/>
                    <a:pt x="42316" y="73086"/>
                    <a:pt x="58569" y="66441"/>
                  </a:cubicBezTo>
                  <a:cubicBezTo>
                    <a:pt x="63014" y="52818"/>
                    <a:pt x="68854" y="38937"/>
                    <a:pt x="70792" y="25931"/>
                  </a:cubicBezTo>
                  <a:cubicBezTo>
                    <a:pt x="65055" y="16634"/>
                    <a:pt x="49602" y="616"/>
                    <a:pt x="35494" y="-106"/>
                  </a:cubicBezTo>
                  <a:close/>
                </a:path>
              </a:pathLst>
            </a:custGeom>
            <a:grpFill/>
            <a:ln w="25598" cap="flat">
              <a:noFill/>
              <a:prstDash val="solid"/>
              <a:round/>
            </a:ln>
          </p:spPr>
          <p:txBody>
            <a:bodyPr rtlCol="0" anchor="ctr"/>
            <a:lstStyle/>
            <a:p>
              <a:endParaRPr lang="en-LT"/>
            </a:p>
          </p:txBody>
        </p:sp>
        <p:sp>
          <p:nvSpPr>
            <p:cNvPr id="299" name="Freeform 298">
              <a:extLst>
                <a:ext uri="{FF2B5EF4-FFF2-40B4-BE49-F238E27FC236}">
                  <a16:creationId xmlns:a16="http://schemas.microsoft.com/office/drawing/2014/main" id="{A1E5F318-8562-8C43-9376-081D04BF2E7D}"/>
                </a:ext>
              </a:extLst>
            </p:cNvPr>
            <p:cNvSpPr/>
            <p:nvPr/>
          </p:nvSpPr>
          <p:spPr>
            <a:xfrm rot="-1917689">
              <a:off x="5556386" y="2306445"/>
              <a:ext cx="89847" cy="172863"/>
            </a:xfrm>
            <a:custGeom>
              <a:avLst/>
              <a:gdLst>
                <a:gd name="connsiteX0" fmla="*/ 34718 w 89847"/>
                <a:gd name="connsiteY0" fmla="*/ 47754 h 172863"/>
                <a:gd name="connsiteX1" fmla="*/ 47897 w 89847"/>
                <a:gd name="connsiteY1" fmla="*/ 59601 h 172863"/>
                <a:gd name="connsiteX2" fmla="*/ 34718 w 89847"/>
                <a:gd name="connsiteY2" fmla="*/ 47754 h 172863"/>
                <a:gd name="connsiteX3" fmla="*/ -37 w 89847"/>
                <a:gd name="connsiteY3" fmla="*/ 4771 h 172863"/>
                <a:gd name="connsiteX4" fmla="*/ 78983 w 89847"/>
                <a:gd name="connsiteY4" fmla="*/ 172761 h 172863"/>
                <a:gd name="connsiteX5" fmla="*/ 89810 w 89847"/>
                <a:gd name="connsiteY5" fmla="*/ 145153 h 172863"/>
                <a:gd name="connsiteX6" fmla="*/ 30584 w 89847"/>
                <a:gd name="connsiteY6" fmla="*/ 187 h 172863"/>
                <a:gd name="connsiteX7" fmla="*/ -37 w 89847"/>
                <a:gd name="connsiteY7" fmla="*/ 4771 h 17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847" h="172863">
                  <a:moveTo>
                    <a:pt x="34718" y="47754"/>
                  </a:moveTo>
                  <a:cubicBezTo>
                    <a:pt x="43272" y="45642"/>
                    <a:pt x="45882" y="54167"/>
                    <a:pt x="47897" y="59601"/>
                  </a:cubicBezTo>
                  <a:cubicBezTo>
                    <a:pt x="45339" y="63283"/>
                    <a:pt x="26140" y="53265"/>
                    <a:pt x="34718" y="47754"/>
                  </a:cubicBezTo>
                  <a:close/>
                  <a:moveTo>
                    <a:pt x="-37" y="4771"/>
                  </a:moveTo>
                  <a:cubicBezTo>
                    <a:pt x="28439" y="60296"/>
                    <a:pt x="52419" y="116799"/>
                    <a:pt x="78983" y="172761"/>
                  </a:cubicBezTo>
                  <a:cubicBezTo>
                    <a:pt x="86167" y="162820"/>
                    <a:pt x="85392" y="154554"/>
                    <a:pt x="89810" y="145153"/>
                  </a:cubicBezTo>
                  <a:cubicBezTo>
                    <a:pt x="68983" y="97072"/>
                    <a:pt x="55830" y="47342"/>
                    <a:pt x="30584" y="187"/>
                  </a:cubicBezTo>
                  <a:cubicBezTo>
                    <a:pt x="20868" y="4076"/>
                    <a:pt x="8284" y="-5350"/>
                    <a:pt x="-37" y="4771"/>
                  </a:cubicBezTo>
                  <a:close/>
                </a:path>
              </a:pathLst>
            </a:custGeom>
            <a:grpFill/>
            <a:ln w="25598" cap="flat">
              <a:noFill/>
              <a:prstDash val="solid"/>
              <a:round/>
            </a:ln>
          </p:spPr>
          <p:txBody>
            <a:bodyPr rtlCol="0" anchor="ctr"/>
            <a:lstStyle/>
            <a:p>
              <a:endParaRPr lang="en-LT"/>
            </a:p>
          </p:txBody>
        </p:sp>
        <p:sp>
          <p:nvSpPr>
            <p:cNvPr id="300" name="Freeform 299">
              <a:extLst>
                <a:ext uri="{FF2B5EF4-FFF2-40B4-BE49-F238E27FC236}">
                  <a16:creationId xmlns:a16="http://schemas.microsoft.com/office/drawing/2014/main" id="{CC78BFCF-F0A5-3D41-9DEB-7EEEE1FA49EF}"/>
                </a:ext>
              </a:extLst>
            </p:cNvPr>
            <p:cNvSpPr/>
            <p:nvPr/>
          </p:nvSpPr>
          <p:spPr>
            <a:xfrm rot="-1917689">
              <a:off x="5751954" y="2396151"/>
              <a:ext cx="22043" cy="49781"/>
            </a:xfrm>
            <a:custGeom>
              <a:avLst/>
              <a:gdLst>
                <a:gd name="connsiteX0" fmla="*/ 22008 w 22043"/>
                <a:gd name="connsiteY0" fmla="*/ 20472 h 49781"/>
                <a:gd name="connsiteX1" fmla="*/ 587 w 22043"/>
                <a:gd name="connsiteY1" fmla="*/ -105 h 49781"/>
                <a:gd name="connsiteX2" fmla="*/ 13610 w 22043"/>
                <a:gd name="connsiteY2" fmla="*/ 49676 h 49781"/>
                <a:gd name="connsiteX3" fmla="*/ 22008 w 22043"/>
                <a:gd name="connsiteY3" fmla="*/ 20472 h 49781"/>
              </a:gdLst>
              <a:ahLst/>
              <a:cxnLst>
                <a:cxn ang="0">
                  <a:pos x="connsiteX0" y="connsiteY0"/>
                </a:cxn>
                <a:cxn ang="0">
                  <a:pos x="connsiteX1" y="connsiteY1"/>
                </a:cxn>
                <a:cxn ang="0">
                  <a:pos x="connsiteX2" y="connsiteY2"/>
                </a:cxn>
                <a:cxn ang="0">
                  <a:pos x="connsiteX3" y="connsiteY3"/>
                </a:cxn>
              </a:cxnLst>
              <a:rect l="l" t="t" r="r" b="b"/>
              <a:pathLst>
                <a:path w="22043" h="49781">
                  <a:moveTo>
                    <a:pt x="22008" y="20472"/>
                  </a:moveTo>
                  <a:cubicBezTo>
                    <a:pt x="13843" y="13801"/>
                    <a:pt x="13042" y="5586"/>
                    <a:pt x="587" y="-105"/>
                  </a:cubicBezTo>
                  <a:cubicBezTo>
                    <a:pt x="-2979" y="18231"/>
                    <a:pt x="9786" y="32936"/>
                    <a:pt x="13610" y="49676"/>
                  </a:cubicBezTo>
                  <a:cubicBezTo>
                    <a:pt x="20561" y="39040"/>
                    <a:pt x="16117" y="30876"/>
                    <a:pt x="22008" y="20472"/>
                  </a:cubicBezTo>
                  <a:close/>
                </a:path>
              </a:pathLst>
            </a:custGeom>
            <a:grpFill/>
            <a:ln w="25598" cap="flat">
              <a:noFill/>
              <a:prstDash val="solid"/>
              <a:round/>
            </a:ln>
          </p:spPr>
          <p:txBody>
            <a:bodyPr rtlCol="0" anchor="ctr"/>
            <a:lstStyle/>
            <a:p>
              <a:endParaRPr lang="en-LT"/>
            </a:p>
          </p:txBody>
        </p:sp>
        <p:sp>
          <p:nvSpPr>
            <p:cNvPr id="301" name="Freeform 300">
              <a:extLst>
                <a:ext uri="{FF2B5EF4-FFF2-40B4-BE49-F238E27FC236}">
                  <a16:creationId xmlns:a16="http://schemas.microsoft.com/office/drawing/2014/main" id="{6D863F39-3A4E-B741-984B-7D5497227C7E}"/>
                </a:ext>
              </a:extLst>
            </p:cNvPr>
            <p:cNvSpPr/>
            <p:nvPr/>
          </p:nvSpPr>
          <p:spPr>
            <a:xfrm rot="-1917689">
              <a:off x="5751957" y="2410671"/>
              <a:ext cx="19656" cy="63353"/>
            </a:xfrm>
            <a:custGeom>
              <a:avLst/>
              <a:gdLst>
                <a:gd name="connsiteX0" fmla="*/ 19523 w 19656"/>
                <a:gd name="connsiteY0" fmla="*/ 63248 h 63353"/>
                <a:gd name="connsiteX1" fmla="*/ 1357 w 19656"/>
                <a:gd name="connsiteY1" fmla="*/ -105 h 63353"/>
                <a:gd name="connsiteX2" fmla="*/ 19523 w 19656"/>
                <a:gd name="connsiteY2" fmla="*/ 63248 h 63353"/>
              </a:gdLst>
              <a:ahLst/>
              <a:cxnLst>
                <a:cxn ang="0">
                  <a:pos x="connsiteX0" y="connsiteY0"/>
                </a:cxn>
                <a:cxn ang="0">
                  <a:pos x="connsiteX1" y="connsiteY1"/>
                </a:cxn>
                <a:cxn ang="0">
                  <a:pos x="connsiteX2" y="connsiteY2"/>
                </a:cxn>
              </a:cxnLst>
              <a:rect l="l" t="t" r="r" b="b"/>
              <a:pathLst>
                <a:path w="19656" h="63353">
                  <a:moveTo>
                    <a:pt x="19523" y="63248"/>
                  </a:moveTo>
                  <a:cubicBezTo>
                    <a:pt x="20738" y="40533"/>
                    <a:pt x="10402" y="20343"/>
                    <a:pt x="1357" y="-105"/>
                  </a:cubicBezTo>
                  <a:cubicBezTo>
                    <a:pt x="-4922" y="23665"/>
                    <a:pt x="11616" y="42568"/>
                    <a:pt x="19523" y="63248"/>
                  </a:cubicBezTo>
                  <a:close/>
                </a:path>
              </a:pathLst>
            </a:custGeom>
            <a:grpFill/>
            <a:ln w="25598" cap="flat">
              <a:noFill/>
              <a:prstDash val="solid"/>
              <a:round/>
            </a:ln>
          </p:spPr>
          <p:txBody>
            <a:bodyPr rtlCol="0" anchor="ctr"/>
            <a:lstStyle/>
            <a:p>
              <a:endParaRPr lang="en-LT"/>
            </a:p>
          </p:txBody>
        </p:sp>
        <p:sp>
          <p:nvSpPr>
            <p:cNvPr id="302" name="Freeform 301">
              <a:extLst>
                <a:ext uri="{FF2B5EF4-FFF2-40B4-BE49-F238E27FC236}">
                  <a16:creationId xmlns:a16="http://schemas.microsoft.com/office/drawing/2014/main" id="{6EA22B7D-8501-3E41-8BCD-1D2188CA30DC}"/>
                </a:ext>
              </a:extLst>
            </p:cNvPr>
            <p:cNvSpPr/>
            <p:nvPr/>
          </p:nvSpPr>
          <p:spPr>
            <a:xfrm rot="-1917689">
              <a:off x="5746692" y="2429871"/>
              <a:ext cx="35126" cy="90909"/>
            </a:xfrm>
            <a:custGeom>
              <a:avLst/>
              <a:gdLst>
                <a:gd name="connsiteX0" fmla="*/ 10974 w 35126"/>
                <a:gd name="connsiteY0" fmla="*/ -105 h 90909"/>
                <a:gd name="connsiteX1" fmla="*/ -34 w 35126"/>
                <a:gd name="connsiteY1" fmla="*/ 17047 h 90909"/>
                <a:gd name="connsiteX2" fmla="*/ 28830 w 35126"/>
                <a:gd name="connsiteY2" fmla="*/ 90805 h 90909"/>
                <a:gd name="connsiteX3" fmla="*/ 10974 w 35126"/>
                <a:gd name="connsiteY3" fmla="*/ -105 h 90909"/>
              </a:gdLst>
              <a:ahLst/>
              <a:cxnLst>
                <a:cxn ang="0">
                  <a:pos x="connsiteX0" y="connsiteY0"/>
                </a:cxn>
                <a:cxn ang="0">
                  <a:pos x="connsiteX1" y="connsiteY1"/>
                </a:cxn>
                <a:cxn ang="0">
                  <a:pos x="connsiteX2" y="connsiteY2"/>
                </a:cxn>
                <a:cxn ang="0">
                  <a:pos x="connsiteX3" y="connsiteY3"/>
                </a:cxn>
              </a:cxnLst>
              <a:rect l="l" t="t" r="r" b="b"/>
              <a:pathLst>
                <a:path w="35126" h="90909">
                  <a:moveTo>
                    <a:pt x="10974" y="-105"/>
                  </a:moveTo>
                  <a:cubicBezTo>
                    <a:pt x="7330" y="5612"/>
                    <a:pt x="3661" y="11355"/>
                    <a:pt x="-34" y="17047"/>
                  </a:cubicBezTo>
                  <a:cubicBezTo>
                    <a:pt x="12421" y="41023"/>
                    <a:pt x="15987" y="66931"/>
                    <a:pt x="28830" y="90805"/>
                  </a:cubicBezTo>
                  <a:cubicBezTo>
                    <a:pt x="46970" y="55265"/>
                    <a:pt x="20922" y="29383"/>
                    <a:pt x="10974" y="-105"/>
                  </a:cubicBezTo>
                  <a:close/>
                </a:path>
              </a:pathLst>
            </a:custGeom>
            <a:grpFill/>
            <a:ln w="25598" cap="flat">
              <a:noFill/>
              <a:prstDash val="solid"/>
              <a:round/>
            </a:ln>
          </p:spPr>
          <p:txBody>
            <a:bodyPr rtlCol="0" anchor="ctr"/>
            <a:lstStyle/>
            <a:p>
              <a:endParaRPr lang="en-LT"/>
            </a:p>
          </p:txBody>
        </p:sp>
        <p:sp>
          <p:nvSpPr>
            <p:cNvPr id="303" name="Freeform 302">
              <a:extLst>
                <a:ext uri="{FF2B5EF4-FFF2-40B4-BE49-F238E27FC236}">
                  <a16:creationId xmlns:a16="http://schemas.microsoft.com/office/drawing/2014/main" id="{DE1C6541-2CE1-B049-AC00-C9D0B555167C}"/>
                </a:ext>
              </a:extLst>
            </p:cNvPr>
            <p:cNvSpPr/>
            <p:nvPr/>
          </p:nvSpPr>
          <p:spPr>
            <a:xfrm rot="-1917689">
              <a:off x="5743303" y="2458407"/>
              <a:ext cx="37823" cy="94051"/>
            </a:xfrm>
            <a:custGeom>
              <a:avLst/>
              <a:gdLst>
                <a:gd name="connsiteX0" fmla="*/ 11905 w 37823"/>
                <a:gd name="connsiteY0" fmla="*/ -105 h 94051"/>
                <a:gd name="connsiteX1" fmla="*/ -34 w 37823"/>
                <a:gd name="connsiteY1" fmla="*/ 13081 h 94051"/>
                <a:gd name="connsiteX2" fmla="*/ 34644 w 37823"/>
                <a:gd name="connsiteY2" fmla="*/ 93947 h 94051"/>
                <a:gd name="connsiteX3" fmla="*/ 11905 w 37823"/>
                <a:gd name="connsiteY3" fmla="*/ -105 h 94051"/>
              </a:gdLst>
              <a:ahLst/>
              <a:cxnLst>
                <a:cxn ang="0">
                  <a:pos x="connsiteX0" y="connsiteY0"/>
                </a:cxn>
                <a:cxn ang="0">
                  <a:pos x="connsiteX1" y="connsiteY1"/>
                </a:cxn>
                <a:cxn ang="0">
                  <a:pos x="connsiteX2" y="connsiteY2"/>
                </a:cxn>
                <a:cxn ang="0">
                  <a:pos x="connsiteX3" y="connsiteY3"/>
                </a:cxn>
              </a:cxnLst>
              <a:rect l="l" t="t" r="r" b="b"/>
              <a:pathLst>
                <a:path w="37823" h="94051">
                  <a:moveTo>
                    <a:pt x="11905" y="-105"/>
                  </a:moveTo>
                  <a:cubicBezTo>
                    <a:pt x="8804" y="8548"/>
                    <a:pt x="3610" y="7286"/>
                    <a:pt x="-34" y="13081"/>
                  </a:cubicBezTo>
                  <a:cubicBezTo>
                    <a:pt x="12473" y="39839"/>
                    <a:pt x="20923" y="67472"/>
                    <a:pt x="34644" y="93947"/>
                  </a:cubicBezTo>
                  <a:cubicBezTo>
                    <a:pt x="46944" y="58278"/>
                    <a:pt x="19734" y="31237"/>
                    <a:pt x="11905" y="-105"/>
                  </a:cubicBezTo>
                  <a:close/>
                </a:path>
              </a:pathLst>
            </a:custGeom>
            <a:grpFill/>
            <a:ln w="25598" cap="flat">
              <a:noFill/>
              <a:prstDash val="solid"/>
              <a:round/>
            </a:ln>
          </p:spPr>
          <p:txBody>
            <a:bodyPr rtlCol="0" anchor="ctr"/>
            <a:lstStyle/>
            <a:p>
              <a:endParaRPr lang="en-LT"/>
            </a:p>
          </p:txBody>
        </p:sp>
        <p:sp>
          <p:nvSpPr>
            <p:cNvPr id="304" name="Freeform 303">
              <a:extLst>
                <a:ext uri="{FF2B5EF4-FFF2-40B4-BE49-F238E27FC236}">
                  <a16:creationId xmlns:a16="http://schemas.microsoft.com/office/drawing/2014/main" id="{637AF06D-A6AB-F741-BA68-E5781301D203}"/>
                </a:ext>
              </a:extLst>
            </p:cNvPr>
            <p:cNvSpPr/>
            <p:nvPr/>
          </p:nvSpPr>
          <p:spPr>
            <a:xfrm rot="-1917689">
              <a:off x="5747722" y="2484533"/>
              <a:ext cx="35820" cy="95313"/>
            </a:xfrm>
            <a:custGeom>
              <a:avLst/>
              <a:gdLst>
                <a:gd name="connsiteX0" fmla="*/ 35653 w 35820"/>
                <a:gd name="connsiteY0" fmla="*/ 95209 h 95313"/>
                <a:gd name="connsiteX1" fmla="*/ -33 w 35820"/>
                <a:gd name="connsiteY1" fmla="*/ -105 h 95313"/>
                <a:gd name="connsiteX2" fmla="*/ 35653 w 35820"/>
                <a:gd name="connsiteY2" fmla="*/ 95209 h 95313"/>
              </a:gdLst>
              <a:ahLst/>
              <a:cxnLst>
                <a:cxn ang="0">
                  <a:pos x="connsiteX0" y="connsiteY0"/>
                </a:cxn>
                <a:cxn ang="0">
                  <a:pos x="connsiteX1" y="connsiteY1"/>
                </a:cxn>
                <a:cxn ang="0">
                  <a:pos x="connsiteX2" y="connsiteY2"/>
                </a:cxn>
              </a:cxnLst>
              <a:rect l="l" t="t" r="r" b="b"/>
              <a:pathLst>
                <a:path w="35820" h="95313">
                  <a:moveTo>
                    <a:pt x="35653" y="95209"/>
                  </a:moveTo>
                  <a:cubicBezTo>
                    <a:pt x="37720" y="61703"/>
                    <a:pt x="15471" y="22584"/>
                    <a:pt x="-33" y="-105"/>
                  </a:cubicBezTo>
                  <a:cubicBezTo>
                    <a:pt x="2938" y="33581"/>
                    <a:pt x="24386" y="63326"/>
                    <a:pt x="35653" y="95209"/>
                  </a:cubicBezTo>
                  <a:close/>
                </a:path>
              </a:pathLst>
            </a:custGeom>
            <a:grpFill/>
            <a:ln w="25598" cap="flat">
              <a:noFill/>
              <a:prstDash val="solid"/>
              <a:round/>
            </a:ln>
          </p:spPr>
          <p:txBody>
            <a:bodyPr rtlCol="0" anchor="ctr"/>
            <a:lstStyle/>
            <a:p>
              <a:endParaRPr lang="en-LT"/>
            </a:p>
          </p:txBody>
        </p:sp>
        <p:sp>
          <p:nvSpPr>
            <p:cNvPr id="305" name="Freeform 304">
              <a:extLst>
                <a:ext uri="{FF2B5EF4-FFF2-40B4-BE49-F238E27FC236}">
                  <a16:creationId xmlns:a16="http://schemas.microsoft.com/office/drawing/2014/main" id="{979F2134-0F41-F841-B800-211B7CDEC9CC}"/>
                </a:ext>
              </a:extLst>
            </p:cNvPr>
            <p:cNvSpPr/>
            <p:nvPr/>
          </p:nvSpPr>
          <p:spPr>
            <a:xfrm rot="-1917689">
              <a:off x="5862367" y="2500713"/>
              <a:ext cx="61319" cy="150941"/>
            </a:xfrm>
            <a:custGeom>
              <a:avLst/>
              <a:gdLst>
                <a:gd name="connsiteX0" fmla="*/ 51856 w 61319"/>
                <a:gd name="connsiteY0" fmla="*/ 150834 h 150941"/>
                <a:gd name="connsiteX1" fmla="*/ 61288 w 61319"/>
                <a:gd name="connsiteY1" fmla="*/ 136181 h 150941"/>
                <a:gd name="connsiteX2" fmla="*/ 10279 w 61319"/>
                <a:gd name="connsiteY2" fmla="*/ -107 h 150941"/>
                <a:gd name="connsiteX3" fmla="*/ -31 w 61319"/>
                <a:gd name="connsiteY3" fmla="*/ 10581 h 150941"/>
                <a:gd name="connsiteX4" fmla="*/ 39169 w 61319"/>
                <a:gd name="connsiteY4" fmla="*/ 122042 h 150941"/>
                <a:gd name="connsiteX5" fmla="*/ 51856 w 61319"/>
                <a:gd name="connsiteY5" fmla="*/ 150834 h 15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319" h="150941">
                  <a:moveTo>
                    <a:pt x="51856" y="150834"/>
                  </a:moveTo>
                  <a:cubicBezTo>
                    <a:pt x="55009" y="145941"/>
                    <a:pt x="58135" y="141074"/>
                    <a:pt x="61288" y="136181"/>
                  </a:cubicBezTo>
                  <a:cubicBezTo>
                    <a:pt x="45241" y="91885"/>
                    <a:pt x="33380" y="35690"/>
                    <a:pt x="10279" y="-107"/>
                  </a:cubicBezTo>
                  <a:cubicBezTo>
                    <a:pt x="7462" y="6099"/>
                    <a:pt x="3870" y="9036"/>
                    <a:pt x="-31" y="10581"/>
                  </a:cubicBezTo>
                  <a:cubicBezTo>
                    <a:pt x="10021" y="45348"/>
                    <a:pt x="27850" y="87893"/>
                    <a:pt x="39169" y="122042"/>
                  </a:cubicBezTo>
                  <a:cubicBezTo>
                    <a:pt x="42786" y="132781"/>
                    <a:pt x="40538" y="150139"/>
                    <a:pt x="51856" y="150834"/>
                  </a:cubicBezTo>
                  <a:close/>
                </a:path>
              </a:pathLst>
            </a:custGeom>
            <a:grpFill/>
            <a:ln w="25598" cap="flat">
              <a:noFill/>
              <a:prstDash val="solid"/>
              <a:round/>
            </a:ln>
          </p:spPr>
          <p:txBody>
            <a:bodyPr rtlCol="0" anchor="ctr"/>
            <a:lstStyle/>
            <a:p>
              <a:endParaRPr lang="en-LT"/>
            </a:p>
          </p:txBody>
        </p:sp>
        <p:sp>
          <p:nvSpPr>
            <p:cNvPr id="306" name="Freeform 305">
              <a:extLst>
                <a:ext uri="{FF2B5EF4-FFF2-40B4-BE49-F238E27FC236}">
                  <a16:creationId xmlns:a16="http://schemas.microsoft.com/office/drawing/2014/main" id="{15CA6917-EFFA-ED49-A27F-71FF872621F2}"/>
                </a:ext>
              </a:extLst>
            </p:cNvPr>
            <p:cNvSpPr/>
            <p:nvPr/>
          </p:nvSpPr>
          <p:spPr>
            <a:xfrm rot="-1917689">
              <a:off x="5861367" y="2525953"/>
              <a:ext cx="55246" cy="155628"/>
            </a:xfrm>
            <a:custGeom>
              <a:avLst/>
              <a:gdLst>
                <a:gd name="connsiteX0" fmla="*/ 6274 w 55246"/>
                <a:gd name="connsiteY0" fmla="*/ -107 h 155628"/>
                <a:gd name="connsiteX1" fmla="*/ -31 w 55246"/>
                <a:gd name="connsiteY1" fmla="*/ 9705 h 155628"/>
                <a:gd name="connsiteX2" fmla="*/ 55216 w 55246"/>
                <a:gd name="connsiteY2" fmla="*/ 155521 h 155628"/>
                <a:gd name="connsiteX3" fmla="*/ 6274 w 55246"/>
                <a:gd name="connsiteY3" fmla="*/ -107 h 155628"/>
              </a:gdLst>
              <a:ahLst/>
              <a:cxnLst>
                <a:cxn ang="0">
                  <a:pos x="connsiteX0" y="connsiteY0"/>
                </a:cxn>
                <a:cxn ang="0">
                  <a:pos x="connsiteX1" y="connsiteY1"/>
                </a:cxn>
                <a:cxn ang="0">
                  <a:pos x="connsiteX2" y="connsiteY2"/>
                </a:cxn>
                <a:cxn ang="0">
                  <a:pos x="connsiteX3" y="connsiteY3"/>
                </a:cxn>
              </a:cxnLst>
              <a:rect l="l" t="t" r="r" b="b"/>
              <a:pathLst>
                <a:path w="55246" h="155628">
                  <a:moveTo>
                    <a:pt x="6274" y="-107"/>
                  </a:moveTo>
                  <a:cubicBezTo>
                    <a:pt x="4155" y="3138"/>
                    <a:pt x="2062" y="6409"/>
                    <a:pt x="-31" y="9705"/>
                  </a:cubicBezTo>
                  <a:cubicBezTo>
                    <a:pt x="21003" y="57710"/>
                    <a:pt x="36714" y="106899"/>
                    <a:pt x="55216" y="155521"/>
                  </a:cubicBezTo>
                  <a:cubicBezTo>
                    <a:pt x="47929" y="101645"/>
                    <a:pt x="25189" y="51168"/>
                    <a:pt x="6274" y="-107"/>
                  </a:cubicBezTo>
                  <a:close/>
                </a:path>
              </a:pathLst>
            </a:custGeom>
            <a:grpFill/>
            <a:ln w="25598" cap="flat">
              <a:noFill/>
              <a:prstDash val="solid"/>
              <a:round/>
            </a:ln>
          </p:spPr>
          <p:txBody>
            <a:bodyPr rtlCol="0" anchor="ctr"/>
            <a:lstStyle/>
            <a:p>
              <a:endParaRPr lang="en-LT"/>
            </a:p>
          </p:txBody>
        </p:sp>
        <p:sp>
          <p:nvSpPr>
            <p:cNvPr id="307" name="Freeform 306">
              <a:extLst>
                <a:ext uri="{FF2B5EF4-FFF2-40B4-BE49-F238E27FC236}">
                  <a16:creationId xmlns:a16="http://schemas.microsoft.com/office/drawing/2014/main" id="{C218F4C1-FB46-7648-9C68-891383B1AF05}"/>
                </a:ext>
              </a:extLst>
            </p:cNvPr>
            <p:cNvSpPr/>
            <p:nvPr/>
          </p:nvSpPr>
          <p:spPr>
            <a:xfrm rot="-1917689">
              <a:off x="6008260" y="2610868"/>
              <a:ext cx="57402" cy="175200"/>
            </a:xfrm>
            <a:custGeom>
              <a:avLst/>
              <a:gdLst>
                <a:gd name="connsiteX0" fmla="*/ 35348 w 57402"/>
                <a:gd name="connsiteY0" fmla="*/ 62420 h 175200"/>
                <a:gd name="connsiteX1" fmla="*/ 22427 w 57402"/>
                <a:gd name="connsiteY1" fmla="*/ 61055 h 175200"/>
                <a:gd name="connsiteX2" fmla="*/ 13280 w 57402"/>
                <a:gd name="connsiteY2" fmla="*/ -109 h 175200"/>
                <a:gd name="connsiteX3" fmla="*/ -28 w 57402"/>
                <a:gd name="connsiteY3" fmla="*/ 25927 h 175200"/>
                <a:gd name="connsiteX4" fmla="*/ 49586 w 57402"/>
                <a:gd name="connsiteY4" fmla="*/ 175092 h 175200"/>
                <a:gd name="connsiteX5" fmla="*/ 35348 w 57402"/>
                <a:gd name="connsiteY5" fmla="*/ 62420 h 17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02" h="175200">
                  <a:moveTo>
                    <a:pt x="35348" y="62420"/>
                  </a:moveTo>
                  <a:cubicBezTo>
                    <a:pt x="29456" y="54308"/>
                    <a:pt x="28422" y="69142"/>
                    <a:pt x="22427" y="61055"/>
                  </a:cubicBezTo>
                  <a:cubicBezTo>
                    <a:pt x="29921" y="38392"/>
                    <a:pt x="19404" y="19644"/>
                    <a:pt x="13280" y="-109"/>
                  </a:cubicBezTo>
                  <a:cubicBezTo>
                    <a:pt x="4313" y="9548"/>
                    <a:pt x="7052" y="16630"/>
                    <a:pt x="-28" y="25927"/>
                  </a:cubicBezTo>
                  <a:cubicBezTo>
                    <a:pt x="19869" y="74910"/>
                    <a:pt x="31110" y="125799"/>
                    <a:pt x="49586" y="175092"/>
                  </a:cubicBezTo>
                  <a:cubicBezTo>
                    <a:pt x="73411" y="131311"/>
                    <a:pt x="34934" y="101128"/>
                    <a:pt x="35348" y="62420"/>
                  </a:cubicBezTo>
                  <a:close/>
                </a:path>
              </a:pathLst>
            </a:custGeom>
            <a:grpFill/>
            <a:ln w="25598" cap="flat">
              <a:noFill/>
              <a:prstDash val="solid"/>
              <a:round/>
            </a:ln>
          </p:spPr>
          <p:txBody>
            <a:bodyPr rtlCol="0" anchor="ctr"/>
            <a:lstStyle/>
            <a:p>
              <a:endParaRPr lang="en-LT"/>
            </a:p>
          </p:txBody>
        </p:sp>
        <p:sp>
          <p:nvSpPr>
            <p:cNvPr id="308" name="Freeform 307">
              <a:extLst>
                <a:ext uri="{FF2B5EF4-FFF2-40B4-BE49-F238E27FC236}">
                  <a16:creationId xmlns:a16="http://schemas.microsoft.com/office/drawing/2014/main" id="{C7B1986F-FBE5-0B47-BB16-9BE79027A006}"/>
                </a:ext>
              </a:extLst>
            </p:cNvPr>
            <p:cNvSpPr/>
            <p:nvPr/>
          </p:nvSpPr>
          <p:spPr>
            <a:xfrm rot="-1917689">
              <a:off x="5424791" y="2640998"/>
              <a:ext cx="138453" cy="219110"/>
            </a:xfrm>
            <a:custGeom>
              <a:avLst/>
              <a:gdLst>
                <a:gd name="connsiteX0" fmla="*/ 71005 w 138453"/>
                <a:gd name="connsiteY0" fmla="*/ 128875 h 219110"/>
                <a:gd name="connsiteX1" fmla="*/ 92608 w 138453"/>
                <a:gd name="connsiteY1" fmla="*/ 111543 h 219110"/>
                <a:gd name="connsiteX2" fmla="*/ 71005 w 138453"/>
                <a:gd name="connsiteY2" fmla="*/ 128875 h 219110"/>
                <a:gd name="connsiteX3" fmla="*/ 138423 w 138453"/>
                <a:gd name="connsiteY3" fmla="*/ 137348 h 219110"/>
                <a:gd name="connsiteX4" fmla="*/ 63873 w 138453"/>
                <a:gd name="connsiteY4" fmla="*/ -98 h 219110"/>
                <a:gd name="connsiteX5" fmla="*/ -30 w 138453"/>
                <a:gd name="connsiteY5" fmla="*/ 93851 h 219110"/>
                <a:gd name="connsiteX6" fmla="*/ 21572 w 138453"/>
                <a:gd name="connsiteY6" fmla="*/ 124858 h 219110"/>
                <a:gd name="connsiteX7" fmla="*/ 44493 w 138453"/>
                <a:gd name="connsiteY7" fmla="*/ 94598 h 219110"/>
                <a:gd name="connsiteX8" fmla="*/ 24906 w 138453"/>
                <a:gd name="connsiteY8" fmla="*/ 130472 h 219110"/>
                <a:gd name="connsiteX9" fmla="*/ 82349 w 138453"/>
                <a:gd name="connsiteY9" fmla="*/ 219013 h 219110"/>
                <a:gd name="connsiteX10" fmla="*/ 138423 w 138453"/>
                <a:gd name="connsiteY10" fmla="*/ 137348 h 21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453" h="219110">
                  <a:moveTo>
                    <a:pt x="71005" y="128875"/>
                  </a:moveTo>
                  <a:cubicBezTo>
                    <a:pt x="77414" y="119398"/>
                    <a:pt x="85166" y="116308"/>
                    <a:pt x="92608" y="111543"/>
                  </a:cubicBezTo>
                  <a:cubicBezTo>
                    <a:pt x="93125" y="114557"/>
                    <a:pt x="80024" y="137297"/>
                    <a:pt x="71005" y="128875"/>
                  </a:cubicBezTo>
                  <a:close/>
                  <a:moveTo>
                    <a:pt x="138423" y="137348"/>
                  </a:moveTo>
                  <a:cubicBezTo>
                    <a:pt x="112764" y="91687"/>
                    <a:pt x="94029" y="44533"/>
                    <a:pt x="63873" y="-98"/>
                  </a:cubicBezTo>
                  <a:cubicBezTo>
                    <a:pt x="41651" y="27046"/>
                    <a:pt x="21004" y="61221"/>
                    <a:pt x="-30" y="93851"/>
                  </a:cubicBezTo>
                  <a:cubicBezTo>
                    <a:pt x="6998" y="104255"/>
                    <a:pt x="13097" y="114788"/>
                    <a:pt x="21572" y="124858"/>
                  </a:cubicBezTo>
                  <a:cubicBezTo>
                    <a:pt x="29480" y="116050"/>
                    <a:pt x="35139" y="96761"/>
                    <a:pt x="44493" y="94598"/>
                  </a:cubicBezTo>
                  <a:cubicBezTo>
                    <a:pt x="35733" y="107088"/>
                    <a:pt x="28834" y="119115"/>
                    <a:pt x="24906" y="130472"/>
                  </a:cubicBezTo>
                  <a:cubicBezTo>
                    <a:pt x="43433" y="160114"/>
                    <a:pt x="58860" y="190452"/>
                    <a:pt x="82349" y="219013"/>
                  </a:cubicBezTo>
                  <a:cubicBezTo>
                    <a:pt x="100877" y="191096"/>
                    <a:pt x="118578" y="159445"/>
                    <a:pt x="138423" y="137348"/>
                  </a:cubicBezTo>
                  <a:close/>
                </a:path>
              </a:pathLst>
            </a:custGeom>
            <a:grpFill/>
            <a:ln w="25598" cap="flat">
              <a:noFill/>
              <a:prstDash val="solid"/>
              <a:round/>
            </a:ln>
          </p:spPr>
          <p:txBody>
            <a:bodyPr rtlCol="0" anchor="ctr"/>
            <a:lstStyle/>
            <a:p>
              <a:endParaRPr lang="en-LT"/>
            </a:p>
          </p:txBody>
        </p:sp>
        <p:sp>
          <p:nvSpPr>
            <p:cNvPr id="309" name="Freeform 308">
              <a:extLst>
                <a:ext uri="{FF2B5EF4-FFF2-40B4-BE49-F238E27FC236}">
                  <a16:creationId xmlns:a16="http://schemas.microsoft.com/office/drawing/2014/main" id="{3151CC21-A636-7847-AE72-965DA4A49D42}"/>
                </a:ext>
              </a:extLst>
            </p:cNvPr>
            <p:cNvSpPr/>
            <p:nvPr/>
          </p:nvSpPr>
          <p:spPr>
            <a:xfrm rot="-1917689">
              <a:off x="5981341" y="2688688"/>
              <a:ext cx="49573" cy="111667"/>
            </a:xfrm>
            <a:custGeom>
              <a:avLst/>
              <a:gdLst>
                <a:gd name="connsiteX0" fmla="*/ 49547 w 49573"/>
                <a:gd name="connsiteY0" fmla="*/ 42308 h 111667"/>
                <a:gd name="connsiteX1" fmla="*/ 31794 w 49573"/>
                <a:gd name="connsiteY1" fmla="*/ -108 h 111667"/>
                <a:gd name="connsiteX2" fmla="*/ 11949 w 49573"/>
                <a:gd name="connsiteY2" fmla="*/ 111559 h 111667"/>
                <a:gd name="connsiteX3" fmla="*/ 49547 w 49573"/>
                <a:gd name="connsiteY3" fmla="*/ 42308 h 111667"/>
              </a:gdLst>
              <a:ahLst/>
              <a:cxnLst>
                <a:cxn ang="0">
                  <a:pos x="connsiteX0" y="connsiteY0"/>
                </a:cxn>
                <a:cxn ang="0">
                  <a:pos x="connsiteX1" y="connsiteY1"/>
                </a:cxn>
                <a:cxn ang="0">
                  <a:pos x="connsiteX2" y="connsiteY2"/>
                </a:cxn>
                <a:cxn ang="0">
                  <a:pos x="connsiteX3" y="connsiteY3"/>
                </a:cxn>
              </a:cxnLst>
              <a:rect l="l" t="t" r="r" b="b"/>
              <a:pathLst>
                <a:path w="49573" h="111667">
                  <a:moveTo>
                    <a:pt x="49547" y="42308"/>
                  </a:moveTo>
                  <a:cubicBezTo>
                    <a:pt x="42260" y="28478"/>
                    <a:pt x="42828" y="12897"/>
                    <a:pt x="31794" y="-108"/>
                  </a:cubicBezTo>
                  <a:cubicBezTo>
                    <a:pt x="13344" y="39732"/>
                    <a:pt x="-17019" y="82045"/>
                    <a:pt x="11949" y="111559"/>
                  </a:cubicBezTo>
                  <a:cubicBezTo>
                    <a:pt x="24765" y="88381"/>
                    <a:pt x="31975" y="66490"/>
                    <a:pt x="49547" y="42308"/>
                  </a:cubicBezTo>
                  <a:close/>
                </a:path>
              </a:pathLst>
            </a:custGeom>
            <a:grpFill/>
            <a:ln w="25598" cap="flat">
              <a:noFill/>
              <a:prstDash val="solid"/>
              <a:round/>
            </a:ln>
          </p:spPr>
          <p:txBody>
            <a:bodyPr rtlCol="0" anchor="ctr"/>
            <a:lstStyle/>
            <a:p>
              <a:endParaRPr lang="en-LT"/>
            </a:p>
          </p:txBody>
        </p:sp>
        <p:sp>
          <p:nvSpPr>
            <p:cNvPr id="310" name="Freeform 309">
              <a:extLst>
                <a:ext uri="{FF2B5EF4-FFF2-40B4-BE49-F238E27FC236}">
                  <a16:creationId xmlns:a16="http://schemas.microsoft.com/office/drawing/2014/main" id="{A4B73F41-B7B8-6149-AF63-6362389E0205}"/>
                </a:ext>
              </a:extLst>
            </p:cNvPr>
            <p:cNvSpPr/>
            <p:nvPr/>
          </p:nvSpPr>
          <p:spPr>
            <a:xfrm rot="-1917689">
              <a:off x="5652202" y="2687059"/>
              <a:ext cx="234605" cy="458927"/>
            </a:xfrm>
            <a:custGeom>
              <a:avLst/>
              <a:gdLst>
                <a:gd name="connsiteX0" fmla="*/ 234581 w 234605"/>
                <a:gd name="connsiteY0" fmla="*/ 392020 h 458927"/>
                <a:gd name="connsiteX1" fmla="*/ 53542 w 234605"/>
                <a:gd name="connsiteY1" fmla="*/ -103 h 458927"/>
                <a:gd name="connsiteX2" fmla="*/ -25 w 234605"/>
                <a:gd name="connsiteY2" fmla="*/ 83133 h 458927"/>
                <a:gd name="connsiteX3" fmla="*/ 198533 w 234605"/>
                <a:gd name="connsiteY3" fmla="*/ 458824 h 458927"/>
                <a:gd name="connsiteX4" fmla="*/ 234581 w 234605"/>
                <a:gd name="connsiteY4" fmla="*/ 392020 h 458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605" h="458927">
                  <a:moveTo>
                    <a:pt x="234581" y="392020"/>
                  </a:moveTo>
                  <a:cubicBezTo>
                    <a:pt x="180367" y="259930"/>
                    <a:pt x="121270" y="129000"/>
                    <a:pt x="53542" y="-103"/>
                  </a:cubicBezTo>
                  <a:cubicBezTo>
                    <a:pt x="35660" y="27659"/>
                    <a:pt x="17831" y="55396"/>
                    <a:pt x="-25" y="83133"/>
                  </a:cubicBezTo>
                  <a:cubicBezTo>
                    <a:pt x="73724" y="206775"/>
                    <a:pt x="133338" y="333379"/>
                    <a:pt x="198533" y="458824"/>
                  </a:cubicBezTo>
                  <a:cubicBezTo>
                    <a:pt x="208895" y="436882"/>
                    <a:pt x="219748" y="414863"/>
                    <a:pt x="234581" y="392020"/>
                  </a:cubicBezTo>
                  <a:close/>
                </a:path>
              </a:pathLst>
            </a:custGeom>
            <a:grpFill/>
            <a:ln w="25598" cap="flat">
              <a:noFill/>
              <a:prstDash val="solid"/>
              <a:round/>
            </a:ln>
          </p:spPr>
          <p:txBody>
            <a:bodyPr rtlCol="0" anchor="ctr"/>
            <a:lstStyle/>
            <a:p>
              <a:endParaRPr lang="en-LT"/>
            </a:p>
          </p:txBody>
        </p:sp>
        <p:sp>
          <p:nvSpPr>
            <p:cNvPr id="311" name="Freeform 310">
              <a:extLst>
                <a:ext uri="{FF2B5EF4-FFF2-40B4-BE49-F238E27FC236}">
                  <a16:creationId xmlns:a16="http://schemas.microsoft.com/office/drawing/2014/main" id="{42B5C852-85FA-F24B-BBC0-302DEE421944}"/>
                </a:ext>
              </a:extLst>
            </p:cNvPr>
            <p:cNvSpPr/>
            <p:nvPr/>
          </p:nvSpPr>
          <p:spPr>
            <a:xfrm rot="-1917689">
              <a:off x="5423845" y="2777213"/>
              <a:ext cx="40440" cy="60468"/>
            </a:xfrm>
            <a:custGeom>
              <a:avLst/>
              <a:gdLst>
                <a:gd name="connsiteX0" fmla="*/ 40411 w 40440"/>
                <a:gd name="connsiteY0" fmla="*/ 30988 h 60468"/>
                <a:gd name="connsiteX1" fmla="*/ 18860 w 40440"/>
                <a:gd name="connsiteY1" fmla="*/ -97 h 60468"/>
                <a:gd name="connsiteX2" fmla="*/ -29 w 40440"/>
                <a:gd name="connsiteY2" fmla="*/ 29262 h 60468"/>
                <a:gd name="connsiteX3" fmla="*/ 21547 w 40440"/>
                <a:gd name="connsiteY3" fmla="*/ 60372 h 60468"/>
                <a:gd name="connsiteX4" fmla="*/ 40411 w 40440"/>
                <a:gd name="connsiteY4" fmla="*/ 30988 h 60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40" h="60468">
                  <a:moveTo>
                    <a:pt x="40411" y="30988"/>
                  </a:moveTo>
                  <a:cubicBezTo>
                    <a:pt x="29971" y="21356"/>
                    <a:pt x="29351" y="9561"/>
                    <a:pt x="18860" y="-97"/>
                  </a:cubicBezTo>
                  <a:cubicBezTo>
                    <a:pt x="12555" y="9741"/>
                    <a:pt x="6276" y="19502"/>
                    <a:pt x="-29" y="29262"/>
                  </a:cubicBezTo>
                  <a:cubicBezTo>
                    <a:pt x="6973" y="39667"/>
                    <a:pt x="13072" y="50277"/>
                    <a:pt x="21547" y="60372"/>
                  </a:cubicBezTo>
                  <a:cubicBezTo>
                    <a:pt x="27827" y="50560"/>
                    <a:pt x="34132" y="40774"/>
                    <a:pt x="40411" y="30988"/>
                  </a:cubicBezTo>
                  <a:close/>
                </a:path>
              </a:pathLst>
            </a:custGeom>
            <a:grpFill/>
            <a:ln w="25598" cap="flat">
              <a:noFill/>
              <a:prstDash val="solid"/>
              <a:round/>
            </a:ln>
          </p:spPr>
          <p:txBody>
            <a:bodyPr rtlCol="0" anchor="ctr"/>
            <a:lstStyle/>
            <a:p>
              <a:endParaRPr lang="en-LT"/>
            </a:p>
          </p:txBody>
        </p:sp>
        <p:sp>
          <p:nvSpPr>
            <p:cNvPr id="312" name="Freeform 311">
              <a:extLst>
                <a:ext uri="{FF2B5EF4-FFF2-40B4-BE49-F238E27FC236}">
                  <a16:creationId xmlns:a16="http://schemas.microsoft.com/office/drawing/2014/main" id="{967CD766-09FF-B940-A040-1A7FCEA25B64}"/>
                </a:ext>
              </a:extLst>
            </p:cNvPr>
            <p:cNvSpPr/>
            <p:nvPr/>
          </p:nvSpPr>
          <p:spPr>
            <a:xfrm rot="-1917689">
              <a:off x="5477106" y="2781773"/>
              <a:ext cx="74782" cy="117899"/>
            </a:xfrm>
            <a:custGeom>
              <a:avLst/>
              <a:gdLst>
                <a:gd name="connsiteX0" fmla="*/ 74754 w 74782"/>
                <a:gd name="connsiteY0" fmla="*/ 90863 h 117899"/>
                <a:gd name="connsiteX1" fmla="*/ 18861 w 74782"/>
                <a:gd name="connsiteY1" fmla="*/ -98 h 117899"/>
                <a:gd name="connsiteX2" fmla="*/ -28 w 74782"/>
                <a:gd name="connsiteY2" fmla="*/ 29261 h 117899"/>
                <a:gd name="connsiteX3" fmla="*/ 57415 w 74782"/>
                <a:gd name="connsiteY3" fmla="*/ 117802 h 117899"/>
                <a:gd name="connsiteX4" fmla="*/ 74754 w 74782"/>
                <a:gd name="connsiteY4" fmla="*/ 90863 h 117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82" h="117899">
                  <a:moveTo>
                    <a:pt x="74754" y="90863"/>
                  </a:moveTo>
                  <a:cubicBezTo>
                    <a:pt x="57622" y="60243"/>
                    <a:pt x="36407" y="30446"/>
                    <a:pt x="18861" y="-98"/>
                  </a:cubicBezTo>
                  <a:cubicBezTo>
                    <a:pt x="12582" y="9689"/>
                    <a:pt x="6277" y="19501"/>
                    <a:pt x="-28" y="29261"/>
                  </a:cubicBezTo>
                  <a:cubicBezTo>
                    <a:pt x="20593" y="58440"/>
                    <a:pt x="34340" y="89164"/>
                    <a:pt x="57415" y="117802"/>
                  </a:cubicBezTo>
                  <a:cubicBezTo>
                    <a:pt x="63178" y="108839"/>
                    <a:pt x="68940" y="99851"/>
                    <a:pt x="74754" y="90863"/>
                  </a:cubicBezTo>
                  <a:close/>
                </a:path>
              </a:pathLst>
            </a:custGeom>
            <a:grpFill/>
            <a:ln w="25598" cap="flat">
              <a:noFill/>
              <a:prstDash val="solid"/>
              <a:round/>
            </a:ln>
          </p:spPr>
          <p:txBody>
            <a:bodyPr rtlCol="0" anchor="ctr"/>
            <a:lstStyle/>
            <a:p>
              <a:endParaRPr lang="en-LT"/>
            </a:p>
          </p:txBody>
        </p:sp>
        <p:sp>
          <p:nvSpPr>
            <p:cNvPr id="313" name="Freeform 312">
              <a:extLst>
                <a:ext uri="{FF2B5EF4-FFF2-40B4-BE49-F238E27FC236}">
                  <a16:creationId xmlns:a16="http://schemas.microsoft.com/office/drawing/2014/main" id="{CF16A309-2E60-1045-A63D-69174E05128B}"/>
                </a:ext>
              </a:extLst>
            </p:cNvPr>
            <p:cNvSpPr/>
            <p:nvPr/>
          </p:nvSpPr>
          <p:spPr>
            <a:xfrm rot="-1917689">
              <a:off x="5437816" y="2932768"/>
              <a:ext cx="98633" cy="162993"/>
            </a:xfrm>
            <a:custGeom>
              <a:avLst/>
              <a:gdLst>
                <a:gd name="connsiteX0" fmla="*/ 26720 w 98633"/>
                <a:gd name="connsiteY0" fmla="*/ -96 h 162993"/>
                <a:gd name="connsiteX1" fmla="*/ -25 w 98633"/>
                <a:gd name="connsiteY1" fmla="*/ 41521 h 162993"/>
                <a:gd name="connsiteX2" fmla="*/ 70933 w 98633"/>
                <a:gd name="connsiteY2" fmla="*/ 162897 h 162993"/>
                <a:gd name="connsiteX3" fmla="*/ 98608 w 98633"/>
                <a:gd name="connsiteY3" fmla="*/ 125272 h 162993"/>
                <a:gd name="connsiteX4" fmla="*/ 26720 w 98633"/>
                <a:gd name="connsiteY4" fmla="*/ -96 h 162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633" h="162993">
                  <a:moveTo>
                    <a:pt x="26720" y="-96"/>
                  </a:moveTo>
                  <a:cubicBezTo>
                    <a:pt x="17831" y="13759"/>
                    <a:pt x="8890" y="27640"/>
                    <a:pt x="-25" y="41521"/>
                  </a:cubicBezTo>
                  <a:cubicBezTo>
                    <a:pt x="22508" y="82212"/>
                    <a:pt x="45299" y="122825"/>
                    <a:pt x="70933" y="162897"/>
                  </a:cubicBezTo>
                  <a:cubicBezTo>
                    <a:pt x="79305" y="146209"/>
                    <a:pt x="90262" y="141934"/>
                    <a:pt x="98608" y="125272"/>
                  </a:cubicBezTo>
                  <a:cubicBezTo>
                    <a:pt x="73130" y="83757"/>
                    <a:pt x="53232" y="41109"/>
                    <a:pt x="26720" y="-96"/>
                  </a:cubicBezTo>
                  <a:close/>
                </a:path>
              </a:pathLst>
            </a:custGeom>
            <a:grpFill/>
            <a:ln w="25598" cap="flat">
              <a:noFill/>
              <a:prstDash val="solid"/>
              <a:round/>
            </a:ln>
          </p:spPr>
          <p:txBody>
            <a:bodyPr rtlCol="0" anchor="ctr"/>
            <a:lstStyle/>
            <a:p>
              <a:endParaRPr lang="en-LT"/>
            </a:p>
          </p:txBody>
        </p:sp>
        <p:sp>
          <p:nvSpPr>
            <p:cNvPr id="314" name="Freeform 313">
              <a:extLst>
                <a:ext uri="{FF2B5EF4-FFF2-40B4-BE49-F238E27FC236}">
                  <a16:creationId xmlns:a16="http://schemas.microsoft.com/office/drawing/2014/main" id="{3C066FEE-A891-1542-A37E-8C54DF350A10}"/>
                </a:ext>
              </a:extLst>
            </p:cNvPr>
            <p:cNvSpPr/>
            <p:nvPr/>
          </p:nvSpPr>
          <p:spPr>
            <a:xfrm rot="-1917689">
              <a:off x="5363617" y="3012543"/>
              <a:ext cx="220677" cy="318982"/>
            </a:xfrm>
            <a:custGeom>
              <a:avLst/>
              <a:gdLst>
                <a:gd name="connsiteX0" fmla="*/ 147605 w 220677"/>
                <a:gd name="connsiteY0" fmla="*/ 70186 h 318982"/>
                <a:gd name="connsiteX1" fmla="*/ 141791 w 220677"/>
                <a:gd name="connsiteY1" fmla="*/ 63001 h 318982"/>
                <a:gd name="connsiteX2" fmla="*/ 151274 w 220677"/>
                <a:gd name="connsiteY2" fmla="*/ 48322 h 318982"/>
                <a:gd name="connsiteX3" fmla="*/ 160422 w 220677"/>
                <a:gd name="connsiteY3" fmla="*/ 61095 h 318982"/>
                <a:gd name="connsiteX4" fmla="*/ 147605 w 220677"/>
                <a:gd name="connsiteY4" fmla="*/ 70186 h 318982"/>
                <a:gd name="connsiteX5" fmla="*/ 164091 w 220677"/>
                <a:gd name="connsiteY5" fmla="*/ 87596 h 318982"/>
                <a:gd name="connsiteX6" fmla="*/ 200862 w 220677"/>
                <a:gd name="connsiteY6" fmla="*/ 149069 h 318982"/>
                <a:gd name="connsiteX7" fmla="*/ 171275 w 220677"/>
                <a:gd name="connsiteY7" fmla="*/ 81853 h 318982"/>
                <a:gd name="connsiteX8" fmla="*/ 209622 w 220677"/>
                <a:gd name="connsiteY8" fmla="*/ 140880 h 318982"/>
                <a:gd name="connsiteX9" fmla="*/ 220656 w 220677"/>
                <a:gd name="connsiteY9" fmla="*/ 123754 h 318982"/>
                <a:gd name="connsiteX10" fmla="*/ 151274 w 220677"/>
                <a:gd name="connsiteY10" fmla="*/ -95 h 318982"/>
                <a:gd name="connsiteX11" fmla="*/ 142153 w 220677"/>
                <a:gd name="connsiteY11" fmla="*/ 35625 h 318982"/>
                <a:gd name="connsiteX12" fmla="*/ 126028 w 220677"/>
                <a:gd name="connsiteY12" fmla="*/ 39102 h 318982"/>
                <a:gd name="connsiteX13" fmla="*/ -22 w 220677"/>
                <a:gd name="connsiteY13" fmla="*/ 186541 h 318982"/>
                <a:gd name="connsiteX14" fmla="*/ 31194 w 220677"/>
                <a:gd name="connsiteY14" fmla="*/ 213376 h 318982"/>
                <a:gd name="connsiteX15" fmla="*/ 88146 w 220677"/>
                <a:gd name="connsiteY15" fmla="*/ 318888 h 318982"/>
                <a:gd name="connsiteX16" fmla="*/ 112074 w 220677"/>
                <a:gd name="connsiteY16" fmla="*/ 254736 h 318982"/>
                <a:gd name="connsiteX17" fmla="*/ 190526 w 220677"/>
                <a:gd name="connsiteY17" fmla="*/ 159757 h 318982"/>
                <a:gd name="connsiteX18" fmla="*/ 164091 w 220677"/>
                <a:gd name="connsiteY18" fmla="*/ 87596 h 318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0677" h="318982">
                  <a:moveTo>
                    <a:pt x="147605" y="70186"/>
                  </a:moveTo>
                  <a:cubicBezTo>
                    <a:pt x="146494" y="67611"/>
                    <a:pt x="145254" y="65062"/>
                    <a:pt x="141791" y="63001"/>
                  </a:cubicBezTo>
                  <a:cubicBezTo>
                    <a:pt x="144969" y="58134"/>
                    <a:pt x="148096" y="53215"/>
                    <a:pt x="151274" y="48322"/>
                  </a:cubicBezTo>
                  <a:cubicBezTo>
                    <a:pt x="157683" y="51850"/>
                    <a:pt x="156417" y="57026"/>
                    <a:pt x="160422" y="61095"/>
                  </a:cubicBezTo>
                  <a:cubicBezTo>
                    <a:pt x="155822" y="62692"/>
                    <a:pt x="152205" y="68564"/>
                    <a:pt x="147605" y="70186"/>
                  </a:cubicBezTo>
                  <a:close/>
                  <a:moveTo>
                    <a:pt x="164091" y="87596"/>
                  </a:moveTo>
                  <a:cubicBezTo>
                    <a:pt x="178950" y="104954"/>
                    <a:pt x="184764" y="146005"/>
                    <a:pt x="200862" y="149069"/>
                  </a:cubicBezTo>
                  <a:cubicBezTo>
                    <a:pt x="195384" y="127102"/>
                    <a:pt x="167864" y="98747"/>
                    <a:pt x="171275" y="81853"/>
                  </a:cubicBezTo>
                  <a:cubicBezTo>
                    <a:pt x="186650" y="99777"/>
                    <a:pt x="192077" y="130372"/>
                    <a:pt x="209622" y="140880"/>
                  </a:cubicBezTo>
                  <a:cubicBezTo>
                    <a:pt x="213292" y="135163"/>
                    <a:pt x="216961" y="129471"/>
                    <a:pt x="220656" y="123754"/>
                  </a:cubicBezTo>
                  <a:cubicBezTo>
                    <a:pt x="197193" y="82574"/>
                    <a:pt x="176185" y="40827"/>
                    <a:pt x="151274" y="-95"/>
                  </a:cubicBezTo>
                  <a:cubicBezTo>
                    <a:pt x="140912" y="13374"/>
                    <a:pt x="133083" y="26328"/>
                    <a:pt x="142153" y="35625"/>
                  </a:cubicBezTo>
                  <a:cubicBezTo>
                    <a:pt x="133625" y="42193"/>
                    <a:pt x="131377" y="32097"/>
                    <a:pt x="126028" y="39102"/>
                  </a:cubicBezTo>
                  <a:cubicBezTo>
                    <a:pt x="85381" y="94524"/>
                    <a:pt x="39902" y="127977"/>
                    <a:pt x="-22" y="186541"/>
                  </a:cubicBezTo>
                  <a:cubicBezTo>
                    <a:pt x="4449" y="196816"/>
                    <a:pt x="17291" y="205238"/>
                    <a:pt x="31194" y="213376"/>
                  </a:cubicBezTo>
                  <a:cubicBezTo>
                    <a:pt x="13984" y="255251"/>
                    <a:pt x="37654" y="298697"/>
                    <a:pt x="88146" y="318888"/>
                  </a:cubicBezTo>
                  <a:cubicBezTo>
                    <a:pt x="117966" y="311986"/>
                    <a:pt x="119284" y="272686"/>
                    <a:pt x="112074" y="254736"/>
                  </a:cubicBezTo>
                  <a:cubicBezTo>
                    <a:pt x="135357" y="229060"/>
                    <a:pt x="162954" y="191923"/>
                    <a:pt x="190526" y="159757"/>
                  </a:cubicBezTo>
                  <a:cubicBezTo>
                    <a:pt x="182076" y="135626"/>
                    <a:pt x="157760" y="114998"/>
                    <a:pt x="164091" y="87596"/>
                  </a:cubicBezTo>
                  <a:close/>
                </a:path>
              </a:pathLst>
            </a:custGeom>
            <a:grpFill/>
            <a:ln w="25598" cap="flat">
              <a:noFill/>
              <a:prstDash val="solid"/>
              <a:round/>
            </a:ln>
          </p:spPr>
          <p:txBody>
            <a:bodyPr rtlCol="0" anchor="ctr"/>
            <a:lstStyle/>
            <a:p>
              <a:endParaRPr lang="en-LT"/>
            </a:p>
          </p:txBody>
        </p:sp>
        <p:sp>
          <p:nvSpPr>
            <p:cNvPr id="315" name="Freeform 314">
              <a:extLst>
                <a:ext uri="{FF2B5EF4-FFF2-40B4-BE49-F238E27FC236}">
                  <a16:creationId xmlns:a16="http://schemas.microsoft.com/office/drawing/2014/main" id="{B5BBFB73-F7E8-C740-99A7-D9F2E3495EDF}"/>
                </a:ext>
              </a:extLst>
            </p:cNvPr>
            <p:cNvSpPr/>
            <p:nvPr/>
          </p:nvSpPr>
          <p:spPr>
            <a:xfrm rot="-1917689">
              <a:off x="5606714" y="3094781"/>
              <a:ext cx="66332" cy="106362"/>
            </a:xfrm>
            <a:custGeom>
              <a:avLst/>
              <a:gdLst>
                <a:gd name="connsiteX0" fmla="*/ 66311 w 66332"/>
                <a:gd name="connsiteY0" fmla="*/ 106263 h 106362"/>
                <a:gd name="connsiteX1" fmla="*/ 13468 w 66332"/>
                <a:gd name="connsiteY1" fmla="*/ -99 h 106362"/>
                <a:gd name="connsiteX2" fmla="*/ -21 w 66332"/>
                <a:gd name="connsiteY2" fmla="*/ 15457 h 106362"/>
                <a:gd name="connsiteX3" fmla="*/ 66311 w 66332"/>
                <a:gd name="connsiteY3" fmla="*/ 106263 h 106362"/>
              </a:gdLst>
              <a:ahLst/>
              <a:cxnLst>
                <a:cxn ang="0">
                  <a:pos x="connsiteX0" y="connsiteY0"/>
                </a:cxn>
                <a:cxn ang="0">
                  <a:pos x="connsiteX1" y="connsiteY1"/>
                </a:cxn>
                <a:cxn ang="0">
                  <a:pos x="connsiteX2" y="connsiteY2"/>
                </a:cxn>
                <a:cxn ang="0">
                  <a:pos x="connsiteX3" y="connsiteY3"/>
                </a:cxn>
              </a:cxnLst>
              <a:rect l="l" t="t" r="r" b="b"/>
              <a:pathLst>
                <a:path w="66332" h="106362">
                  <a:moveTo>
                    <a:pt x="66311" y="106263"/>
                  </a:moveTo>
                  <a:cubicBezTo>
                    <a:pt x="48171" y="70904"/>
                    <a:pt x="35122" y="34514"/>
                    <a:pt x="13468" y="-99"/>
                  </a:cubicBezTo>
                  <a:cubicBezTo>
                    <a:pt x="9617" y="8374"/>
                    <a:pt x="3493" y="5748"/>
                    <a:pt x="-21" y="15457"/>
                  </a:cubicBezTo>
                  <a:cubicBezTo>
                    <a:pt x="16956" y="45459"/>
                    <a:pt x="17654" y="90168"/>
                    <a:pt x="66311" y="106263"/>
                  </a:cubicBezTo>
                  <a:close/>
                </a:path>
              </a:pathLst>
            </a:custGeom>
            <a:grpFill/>
            <a:ln w="25598" cap="flat">
              <a:noFill/>
              <a:prstDash val="solid"/>
              <a:round/>
            </a:ln>
          </p:spPr>
          <p:txBody>
            <a:bodyPr rtlCol="0" anchor="ctr"/>
            <a:lstStyle/>
            <a:p>
              <a:endParaRPr lang="en-LT"/>
            </a:p>
          </p:txBody>
        </p:sp>
        <p:sp>
          <p:nvSpPr>
            <p:cNvPr id="316" name="Freeform 315">
              <a:extLst>
                <a:ext uri="{FF2B5EF4-FFF2-40B4-BE49-F238E27FC236}">
                  <a16:creationId xmlns:a16="http://schemas.microsoft.com/office/drawing/2014/main" id="{C2026878-8BE4-5441-8251-89BEE39C0E62}"/>
                </a:ext>
              </a:extLst>
            </p:cNvPr>
            <p:cNvSpPr/>
            <p:nvPr/>
          </p:nvSpPr>
          <p:spPr>
            <a:xfrm rot="-1917689">
              <a:off x="5603413" y="3133769"/>
              <a:ext cx="28480" cy="52691"/>
            </a:xfrm>
            <a:custGeom>
              <a:avLst/>
              <a:gdLst>
                <a:gd name="connsiteX0" fmla="*/ 34 w 28480"/>
                <a:gd name="connsiteY0" fmla="*/ -98 h 52691"/>
                <a:gd name="connsiteX1" fmla="*/ 28459 w 28480"/>
                <a:gd name="connsiteY1" fmla="*/ 52594 h 52691"/>
                <a:gd name="connsiteX2" fmla="*/ 34 w 28480"/>
                <a:gd name="connsiteY2" fmla="*/ -98 h 52691"/>
              </a:gdLst>
              <a:ahLst/>
              <a:cxnLst>
                <a:cxn ang="0">
                  <a:pos x="connsiteX0" y="connsiteY0"/>
                </a:cxn>
                <a:cxn ang="0">
                  <a:pos x="connsiteX1" y="connsiteY1"/>
                </a:cxn>
                <a:cxn ang="0">
                  <a:pos x="connsiteX2" y="connsiteY2"/>
                </a:cxn>
              </a:cxnLst>
              <a:rect l="l" t="t" r="r" b="b"/>
              <a:pathLst>
                <a:path w="28480" h="52691">
                  <a:moveTo>
                    <a:pt x="34" y="-98"/>
                  </a:moveTo>
                  <a:cubicBezTo>
                    <a:pt x="-947" y="18342"/>
                    <a:pt x="11198" y="45074"/>
                    <a:pt x="28459" y="52594"/>
                  </a:cubicBezTo>
                  <a:cubicBezTo>
                    <a:pt x="19286" y="34952"/>
                    <a:pt x="15074" y="16204"/>
                    <a:pt x="34" y="-98"/>
                  </a:cubicBezTo>
                  <a:close/>
                </a:path>
              </a:pathLst>
            </a:custGeom>
            <a:grpFill/>
            <a:ln w="25598" cap="flat">
              <a:noFill/>
              <a:prstDash val="solid"/>
              <a:round/>
            </a:ln>
          </p:spPr>
          <p:txBody>
            <a:bodyPr rtlCol="0" anchor="ctr"/>
            <a:lstStyle/>
            <a:p>
              <a:endParaRPr lang="en-LT"/>
            </a:p>
          </p:txBody>
        </p:sp>
        <p:sp>
          <p:nvSpPr>
            <p:cNvPr id="317" name="Freeform 316">
              <a:extLst>
                <a:ext uri="{FF2B5EF4-FFF2-40B4-BE49-F238E27FC236}">
                  <a16:creationId xmlns:a16="http://schemas.microsoft.com/office/drawing/2014/main" id="{ED434CD9-D114-BB44-8A18-AFF6CEC2E4C4}"/>
                </a:ext>
              </a:extLst>
            </p:cNvPr>
            <p:cNvSpPr/>
            <p:nvPr/>
          </p:nvSpPr>
          <p:spPr>
            <a:xfrm rot="-1917689">
              <a:off x="5588774" y="3158973"/>
              <a:ext cx="16528" cy="18719"/>
            </a:xfrm>
            <a:custGeom>
              <a:avLst/>
              <a:gdLst>
                <a:gd name="connsiteX0" fmla="*/ 16507 w 16528"/>
                <a:gd name="connsiteY0" fmla="*/ 18239 h 18719"/>
                <a:gd name="connsiteX1" fmla="*/ 4000 w 16528"/>
                <a:gd name="connsiteY1" fmla="*/ -98 h 18719"/>
                <a:gd name="connsiteX2" fmla="*/ 16507 w 16528"/>
                <a:gd name="connsiteY2" fmla="*/ 18239 h 18719"/>
              </a:gdLst>
              <a:ahLst/>
              <a:cxnLst>
                <a:cxn ang="0">
                  <a:pos x="connsiteX0" y="connsiteY0"/>
                </a:cxn>
                <a:cxn ang="0">
                  <a:pos x="connsiteX1" y="connsiteY1"/>
                </a:cxn>
                <a:cxn ang="0">
                  <a:pos x="connsiteX2" y="connsiteY2"/>
                </a:cxn>
              </a:cxnLst>
              <a:rect l="l" t="t" r="r" b="b"/>
              <a:pathLst>
                <a:path w="16528" h="18719">
                  <a:moveTo>
                    <a:pt x="16507" y="18239"/>
                  </a:moveTo>
                  <a:cubicBezTo>
                    <a:pt x="8341" y="13011"/>
                    <a:pt x="13251" y="4925"/>
                    <a:pt x="4000" y="-98"/>
                  </a:cubicBezTo>
                  <a:cubicBezTo>
                    <a:pt x="-7705" y="8247"/>
                    <a:pt x="9143" y="20995"/>
                    <a:pt x="16507" y="18239"/>
                  </a:cubicBezTo>
                  <a:close/>
                </a:path>
              </a:pathLst>
            </a:custGeom>
            <a:grpFill/>
            <a:ln w="25598" cap="flat">
              <a:noFill/>
              <a:prstDash val="solid"/>
              <a:round/>
            </a:ln>
          </p:spPr>
          <p:txBody>
            <a:bodyPr rtlCol="0" anchor="ctr"/>
            <a:lstStyle/>
            <a:p>
              <a:endParaRPr lang="en-LT"/>
            </a:p>
          </p:txBody>
        </p:sp>
        <p:sp>
          <p:nvSpPr>
            <p:cNvPr id="318" name="Freeform 317">
              <a:extLst>
                <a:ext uri="{FF2B5EF4-FFF2-40B4-BE49-F238E27FC236}">
                  <a16:creationId xmlns:a16="http://schemas.microsoft.com/office/drawing/2014/main" id="{AD067BED-0F2C-C548-80DC-A341076077B3}"/>
                </a:ext>
              </a:extLst>
            </p:cNvPr>
            <p:cNvSpPr/>
            <p:nvPr/>
          </p:nvSpPr>
          <p:spPr>
            <a:xfrm rot="-1917689">
              <a:off x="5588974" y="3169080"/>
              <a:ext cx="58916" cy="54803"/>
            </a:xfrm>
            <a:custGeom>
              <a:avLst/>
              <a:gdLst>
                <a:gd name="connsiteX0" fmla="*/ -20 w 58916"/>
                <a:gd name="connsiteY0" fmla="*/ 17003 h 54803"/>
                <a:gd name="connsiteX1" fmla="*/ 58896 w 58916"/>
                <a:gd name="connsiteY1" fmla="*/ 54705 h 54803"/>
                <a:gd name="connsiteX2" fmla="*/ 10988 w 58916"/>
                <a:gd name="connsiteY2" fmla="*/ -98 h 54803"/>
                <a:gd name="connsiteX3" fmla="*/ -20 w 58916"/>
                <a:gd name="connsiteY3" fmla="*/ 17003 h 54803"/>
              </a:gdLst>
              <a:ahLst/>
              <a:cxnLst>
                <a:cxn ang="0">
                  <a:pos x="connsiteX0" y="connsiteY0"/>
                </a:cxn>
                <a:cxn ang="0">
                  <a:pos x="connsiteX1" y="connsiteY1"/>
                </a:cxn>
                <a:cxn ang="0">
                  <a:pos x="connsiteX2" y="connsiteY2"/>
                </a:cxn>
                <a:cxn ang="0">
                  <a:pos x="connsiteX3" y="connsiteY3"/>
                </a:cxn>
              </a:cxnLst>
              <a:rect l="l" t="t" r="r" b="b"/>
              <a:pathLst>
                <a:path w="58916" h="54803">
                  <a:moveTo>
                    <a:pt x="-20" y="17003"/>
                  </a:moveTo>
                  <a:cubicBezTo>
                    <a:pt x="23805" y="27278"/>
                    <a:pt x="37707" y="50868"/>
                    <a:pt x="58896" y="54705"/>
                  </a:cubicBezTo>
                  <a:cubicBezTo>
                    <a:pt x="50705" y="34772"/>
                    <a:pt x="31428" y="17182"/>
                    <a:pt x="10988" y="-98"/>
                  </a:cubicBezTo>
                  <a:cubicBezTo>
                    <a:pt x="7318" y="5619"/>
                    <a:pt x="3623" y="11311"/>
                    <a:pt x="-20" y="17003"/>
                  </a:cubicBezTo>
                  <a:close/>
                </a:path>
              </a:pathLst>
            </a:custGeom>
            <a:grpFill/>
            <a:ln w="25598" cap="flat">
              <a:noFill/>
              <a:prstDash val="solid"/>
              <a:round/>
            </a:ln>
          </p:spPr>
          <p:txBody>
            <a:bodyPr rtlCol="0" anchor="ctr"/>
            <a:lstStyle/>
            <a:p>
              <a:endParaRPr lang="en-LT"/>
            </a:p>
          </p:txBody>
        </p:sp>
        <p:sp>
          <p:nvSpPr>
            <p:cNvPr id="319" name="Freeform 318">
              <a:extLst>
                <a:ext uri="{FF2B5EF4-FFF2-40B4-BE49-F238E27FC236}">
                  <a16:creationId xmlns:a16="http://schemas.microsoft.com/office/drawing/2014/main" id="{5FF1DE05-1848-354D-B008-E017798CB454}"/>
                </a:ext>
              </a:extLst>
            </p:cNvPr>
            <p:cNvSpPr/>
            <p:nvPr/>
          </p:nvSpPr>
          <p:spPr>
            <a:xfrm rot="-1917689">
              <a:off x="5676546" y="3175694"/>
              <a:ext cx="31877" cy="25378"/>
            </a:xfrm>
            <a:custGeom>
              <a:avLst/>
              <a:gdLst>
                <a:gd name="connsiteX0" fmla="*/ 22100 w 31877"/>
                <a:gd name="connsiteY0" fmla="*/ 15108 h 25378"/>
                <a:gd name="connsiteX1" fmla="*/ 6466 w 31877"/>
                <a:gd name="connsiteY1" fmla="*/ 1613 h 25378"/>
                <a:gd name="connsiteX2" fmla="*/ -20 w 31877"/>
                <a:gd name="connsiteY2" fmla="*/ 969 h 25378"/>
                <a:gd name="connsiteX3" fmla="*/ 22100 w 31877"/>
                <a:gd name="connsiteY3" fmla="*/ 15108 h 25378"/>
              </a:gdLst>
              <a:ahLst/>
              <a:cxnLst>
                <a:cxn ang="0">
                  <a:pos x="connsiteX0" y="connsiteY0"/>
                </a:cxn>
                <a:cxn ang="0">
                  <a:pos x="connsiteX1" y="connsiteY1"/>
                </a:cxn>
                <a:cxn ang="0">
                  <a:pos x="connsiteX2" y="connsiteY2"/>
                </a:cxn>
                <a:cxn ang="0">
                  <a:pos x="connsiteX3" y="connsiteY3"/>
                </a:cxn>
              </a:cxnLst>
              <a:rect l="l" t="t" r="r" b="b"/>
              <a:pathLst>
                <a:path w="31877" h="25378">
                  <a:moveTo>
                    <a:pt x="22100" y="15108"/>
                  </a:moveTo>
                  <a:cubicBezTo>
                    <a:pt x="15356" y="9159"/>
                    <a:pt x="24942" y="9365"/>
                    <a:pt x="6466" y="1613"/>
                  </a:cubicBezTo>
                  <a:cubicBezTo>
                    <a:pt x="5407" y="1175"/>
                    <a:pt x="84" y="-1580"/>
                    <a:pt x="-20" y="969"/>
                  </a:cubicBezTo>
                  <a:cubicBezTo>
                    <a:pt x="-200" y="6403"/>
                    <a:pt x="53264" y="42535"/>
                    <a:pt x="22100" y="15108"/>
                  </a:cubicBezTo>
                  <a:close/>
                </a:path>
              </a:pathLst>
            </a:custGeom>
            <a:grpFill/>
            <a:ln w="25598" cap="flat">
              <a:noFill/>
              <a:prstDash val="solid"/>
              <a:round/>
            </a:ln>
          </p:spPr>
          <p:txBody>
            <a:bodyPr rtlCol="0" anchor="ctr"/>
            <a:lstStyle/>
            <a:p>
              <a:endParaRPr lang="en-LT"/>
            </a:p>
          </p:txBody>
        </p:sp>
        <p:sp>
          <p:nvSpPr>
            <p:cNvPr id="320" name="Freeform 319">
              <a:extLst>
                <a:ext uri="{FF2B5EF4-FFF2-40B4-BE49-F238E27FC236}">
                  <a16:creationId xmlns:a16="http://schemas.microsoft.com/office/drawing/2014/main" id="{AA3796C8-38E6-104B-AAA9-326FA45F4623}"/>
                </a:ext>
              </a:extLst>
            </p:cNvPr>
            <p:cNvSpPr/>
            <p:nvPr/>
          </p:nvSpPr>
          <p:spPr>
            <a:xfrm rot="-1917689">
              <a:off x="5889555" y="3182606"/>
              <a:ext cx="68763" cy="47308"/>
            </a:xfrm>
            <a:custGeom>
              <a:avLst/>
              <a:gdLst>
                <a:gd name="connsiteX0" fmla="*/ 68255 w 68763"/>
                <a:gd name="connsiteY0" fmla="*/ 29383 h 47308"/>
                <a:gd name="connsiteX1" fmla="*/ 527 w 68763"/>
                <a:gd name="connsiteY1" fmla="*/ -104 h 47308"/>
                <a:gd name="connsiteX2" fmla="*/ 63733 w 68763"/>
                <a:gd name="connsiteY2" fmla="*/ 47205 h 47308"/>
                <a:gd name="connsiteX3" fmla="*/ 68255 w 68763"/>
                <a:gd name="connsiteY3" fmla="*/ 29383 h 47308"/>
              </a:gdLst>
              <a:ahLst/>
              <a:cxnLst>
                <a:cxn ang="0">
                  <a:pos x="connsiteX0" y="connsiteY0"/>
                </a:cxn>
                <a:cxn ang="0">
                  <a:pos x="connsiteX1" y="connsiteY1"/>
                </a:cxn>
                <a:cxn ang="0">
                  <a:pos x="connsiteX2" y="connsiteY2"/>
                </a:cxn>
                <a:cxn ang="0">
                  <a:pos x="connsiteX3" y="connsiteY3"/>
                </a:cxn>
              </a:cxnLst>
              <a:rect l="l" t="t" r="r" b="b"/>
              <a:pathLst>
                <a:path w="68763" h="47308">
                  <a:moveTo>
                    <a:pt x="68255" y="29383"/>
                  </a:moveTo>
                  <a:cubicBezTo>
                    <a:pt x="46291" y="22482"/>
                    <a:pt x="23965" y="13468"/>
                    <a:pt x="527" y="-104"/>
                  </a:cubicBezTo>
                  <a:cubicBezTo>
                    <a:pt x="-5700" y="25675"/>
                    <a:pt x="43009" y="39428"/>
                    <a:pt x="63733" y="47205"/>
                  </a:cubicBezTo>
                  <a:cubicBezTo>
                    <a:pt x="67506" y="40741"/>
                    <a:pt x="69806" y="34637"/>
                    <a:pt x="68255" y="29383"/>
                  </a:cubicBezTo>
                  <a:close/>
                </a:path>
              </a:pathLst>
            </a:custGeom>
            <a:grpFill/>
            <a:ln w="25598" cap="flat">
              <a:noFill/>
              <a:prstDash val="solid"/>
              <a:round/>
            </a:ln>
          </p:spPr>
          <p:txBody>
            <a:bodyPr rtlCol="0" anchor="ctr"/>
            <a:lstStyle/>
            <a:p>
              <a:endParaRPr lang="en-LT"/>
            </a:p>
          </p:txBody>
        </p:sp>
        <p:sp>
          <p:nvSpPr>
            <p:cNvPr id="321" name="Freeform 320">
              <a:extLst>
                <a:ext uri="{FF2B5EF4-FFF2-40B4-BE49-F238E27FC236}">
                  <a16:creationId xmlns:a16="http://schemas.microsoft.com/office/drawing/2014/main" id="{4E321076-F384-304A-8F16-69AA51045C4A}"/>
                </a:ext>
              </a:extLst>
            </p:cNvPr>
            <p:cNvSpPr/>
            <p:nvPr/>
          </p:nvSpPr>
          <p:spPr>
            <a:xfrm rot="-1917689">
              <a:off x="5823948" y="3192074"/>
              <a:ext cx="22164" cy="12543"/>
            </a:xfrm>
            <a:custGeom>
              <a:avLst/>
              <a:gdLst>
                <a:gd name="connsiteX0" fmla="*/ 22146 w 22164"/>
                <a:gd name="connsiteY0" fmla="*/ 12441 h 12543"/>
                <a:gd name="connsiteX1" fmla="*/ 22146 w 22164"/>
                <a:gd name="connsiteY1" fmla="*/ 12441 h 12543"/>
              </a:gdLst>
              <a:ahLst/>
              <a:cxnLst>
                <a:cxn ang="0">
                  <a:pos x="connsiteX0" y="connsiteY0"/>
                </a:cxn>
                <a:cxn ang="0">
                  <a:pos x="connsiteX1" y="connsiteY1"/>
                </a:cxn>
              </a:cxnLst>
              <a:rect l="l" t="t" r="r" b="b"/>
              <a:pathLst>
                <a:path w="22164" h="12543">
                  <a:moveTo>
                    <a:pt x="22146" y="12441"/>
                  </a:moveTo>
                  <a:cubicBezTo>
                    <a:pt x="-8811" y="-11381"/>
                    <a:pt x="-5969" y="4637"/>
                    <a:pt x="22146" y="12441"/>
                  </a:cubicBezTo>
                  <a:close/>
                </a:path>
              </a:pathLst>
            </a:custGeom>
            <a:grpFill/>
            <a:ln w="25598" cap="flat">
              <a:noFill/>
              <a:prstDash val="solid"/>
              <a:round/>
            </a:ln>
          </p:spPr>
          <p:txBody>
            <a:bodyPr rtlCol="0" anchor="ctr"/>
            <a:lstStyle/>
            <a:p>
              <a:endParaRPr lang="en-LT"/>
            </a:p>
          </p:txBody>
        </p:sp>
        <p:sp>
          <p:nvSpPr>
            <p:cNvPr id="322" name="Freeform 321">
              <a:extLst>
                <a:ext uri="{FF2B5EF4-FFF2-40B4-BE49-F238E27FC236}">
                  <a16:creationId xmlns:a16="http://schemas.microsoft.com/office/drawing/2014/main" id="{F36B0D02-4BB0-944D-9DE3-7720B10F515C}"/>
                </a:ext>
              </a:extLst>
            </p:cNvPr>
            <p:cNvSpPr/>
            <p:nvPr/>
          </p:nvSpPr>
          <p:spPr>
            <a:xfrm rot="-1917689">
              <a:off x="5675727" y="3196137"/>
              <a:ext cx="14798" cy="13377"/>
            </a:xfrm>
            <a:custGeom>
              <a:avLst/>
              <a:gdLst>
                <a:gd name="connsiteX0" fmla="*/ 14779 w 14798"/>
                <a:gd name="connsiteY0" fmla="*/ 13278 h 13377"/>
                <a:gd name="connsiteX1" fmla="*/ 14779 w 14798"/>
                <a:gd name="connsiteY1" fmla="*/ 13278 h 13377"/>
              </a:gdLst>
              <a:ahLst/>
              <a:cxnLst>
                <a:cxn ang="0">
                  <a:pos x="connsiteX0" y="connsiteY0"/>
                </a:cxn>
                <a:cxn ang="0">
                  <a:pos x="connsiteX1" y="connsiteY1"/>
                </a:cxn>
              </a:cxnLst>
              <a:rect l="l" t="t" r="r" b="b"/>
              <a:pathLst>
                <a:path w="14798" h="13377">
                  <a:moveTo>
                    <a:pt x="14779" y="13278"/>
                  </a:moveTo>
                  <a:cubicBezTo>
                    <a:pt x="4365" y="-13969"/>
                    <a:pt x="-12535" y="7973"/>
                    <a:pt x="14779" y="13278"/>
                  </a:cubicBezTo>
                  <a:close/>
                </a:path>
              </a:pathLst>
            </a:custGeom>
            <a:grpFill/>
            <a:ln w="25598" cap="flat">
              <a:noFill/>
              <a:prstDash val="solid"/>
              <a:round/>
            </a:ln>
          </p:spPr>
          <p:txBody>
            <a:bodyPr rtlCol="0" anchor="ctr"/>
            <a:lstStyle/>
            <a:p>
              <a:endParaRPr lang="en-LT"/>
            </a:p>
          </p:txBody>
        </p:sp>
        <p:sp>
          <p:nvSpPr>
            <p:cNvPr id="323" name="Freeform 322">
              <a:extLst>
                <a:ext uri="{FF2B5EF4-FFF2-40B4-BE49-F238E27FC236}">
                  <a16:creationId xmlns:a16="http://schemas.microsoft.com/office/drawing/2014/main" id="{E25CB31D-3750-7F44-A671-47201B32A871}"/>
                </a:ext>
              </a:extLst>
            </p:cNvPr>
            <p:cNvSpPr/>
            <p:nvPr/>
          </p:nvSpPr>
          <p:spPr>
            <a:xfrm rot="-1917689">
              <a:off x="5700177" y="3191848"/>
              <a:ext cx="30440" cy="24698"/>
            </a:xfrm>
            <a:custGeom>
              <a:avLst/>
              <a:gdLst>
                <a:gd name="connsiteX0" fmla="*/ 30421 w 30440"/>
                <a:gd name="connsiteY0" fmla="*/ 22769 h 24698"/>
                <a:gd name="connsiteX1" fmla="*/ -20 w 30440"/>
                <a:gd name="connsiteY1" fmla="*/ -100 h 24698"/>
                <a:gd name="connsiteX2" fmla="*/ 30421 w 30440"/>
                <a:gd name="connsiteY2" fmla="*/ 22769 h 24698"/>
              </a:gdLst>
              <a:ahLst/>
              <a:cxnLst>
                <a:cxn ang="0">
                  <a:pos x="connsiteX0" y="connsiteY0"/>
                </a:cxn>
                <a:cxn ang="0">
                  <a:pos x="connsiteX1" y="connsiteY1"/>
                </a:cxn>
                <a:cxn ang="0">
                  <a:pos x="connsiteX2" y="connsiteY2"/>
                </a:cxn>
              </a:cxnLst>
              <a:rect l="l" t="t" r="r" b="b"/>
              <a:pathLst>
                <a:path w="30440" h="24698">
                  <a:moveTo>
                    <a:pt x="30421" y="22769"/>
                  </a:moveTo>
                  <a:cubicBezTo>
                    <a:pt x="26570" y="15146"/>
                    <a:pt x="4012" y="570"/>
                    <a:pt x="-20" y="-100"/>
                  </a:cubicBezTo>
                  <a:cubicBezTo>
                    <a:pt x="4864" y="6647"/>
                    <a:pt x="17836" y="31474"/>
                    <a:pt x="30421" y="22769"/>
                  </a:cubicBezTo>
                  <a:close/>
                </a:path>
              </a:pathLst>
            </a:custGeom>
            <a:grpFill/>
            <a:ln w="25598" cap="flat">
              <a:noFill/>
              <a:prstDash val="solid"/>
              <a:round/>
            </a:ln>
          </p:spPr>
          <p:txBody>
            <a:bodyPr rtlCol="0" anchor="ctr"/>
            <a:lstStyle/>
            <a:p>
              <a:endParaRPr lang="en-LT"/>
            </a:p>
          </p:txBody>
        </p:sp>
        <p:sp>
          <p:nvSpPr>
            <p:cNvPr id="324" name="Freeform 323">
              <a:extLst>
                <a:ext uri="{FF2B5EF4-FFF2-40B4-BE49-F238E27FC236}">
                  <a16:creationId xmlns:a16="http://schemas.microsoft.com/office/drawing/2014/main" id="{C0EC44EC-29E3-4344-8475-24DBE392F4EC}"/>
                </a:ext>
              </a:extLst>
            </p:cNvPr>
            <p:cNvSpPr/>
            <p:nvPr/>
          </p:nvSpPr>
          <p:spPr>
            <a:xfrm rot="-1917689">
              <a:off x="5770119" y="3191559"/>
              <a:ext cx="47135" cy="29510"/>
            </a:xfrm>
            <a:custGeom>
              <a:avLst/>
              <a:gdLst>
                <a:gd name="connsiteX0" fmla="*/ 47117 w 47135"/>
                <a:gd name="connsiteY0" fmla="*/ 29152 h 29510"/>
                <a:gd name="connsiteX1" fmla="*/ 2929 w 47135"/>
                <a:gd name="connsiteY1" fmla="*/ 926 h 29510"/>
                <a:gd name="connsiteX2" fmla="*/ 47117 w 47135"/>
                <a:gd name="connsiteY2" fmla="*/ 29152 h 29510"/>
              </a:gdLst>
              <a:ahLst/>
              <a:cxnLst>
                <a:cxn ang="0">
                  <a:pos x="connsiteX0" y="connsiteY0"/>
                </a:cxn>
                <a:cxn ang="0">
                  <a:pos x="connsiteX1" y="connsiteY1"/>
                </a:cxn>
                <a:cxn ang="0">
                  <a:pos x="connsiteX2" y="connsiteY2"/>
                </a:cxn>
              </a:cxnLst>
              <a:rect l="l" t="t" r="r" b="b"/>
              <a:pathLst>
                <a:path w="47135" h="29510">
                  <a:moveTo>
                    <a:pt x="47117" y="29152"/>
                  </a:moveTo>
                  <a:cubicBezTo>
                    <a:pt x="34403" y="21142"/>
                    <a:pt x="4997" y="2085"/>
                    <a:pt x="2929" y="926"/>
                  </a:cubicBezTo>
                  <a:cubicBezTo>
                    <a:pt x="-11179" y="-6929"/>
                    <a:pt x="28951" y="32963"/>
                    <a:pt x="47117" y="29152"/>
                  </a:cubicBezTo>
                  <a:close/>
                </a:path>
              </a:pathLst>
            </a:custGeom>
            <a:grpFill/>
            <a:ln w="25598" cap="flat">
              <a:noFill/>
              <a:prstDash val="solid"/>
              <a:round/>
            </a:ln>
          </p:spPr>
          <p:txBody>
            <a:bodyPr rtlCol="0" anchor="ctr"/>
            <a:lstStyle/>
            <a:p>
              <a:endParaRPr lang="en-LT"/>
            </a:p>
          </p:txBody>
        </p:sp>
        <p:sp>
          <p:nvSpPr>
            <p:cNvPr id="325" name="Freeform 324">
              <a:extLst>
                <a:ext uri="{FF2B5EF4-FFF2-40B4-BE49-F238E27FC236}">
                  <a16:creationId xmlns:a16="http://schemas.microsoft.com/office/drawing/2014/main" id="{CECDE070-8503-7649-B4A4-40CA86AFD4B1}"/>
                </a:ext>
              </a:extLst>
            </p:cNvPr>
            <p:cNvSpPr/>
            <p:nvPr/>
          </p:nvSpPr>
          <p:spPr>
            <a:xfrm rot="-1917689">
              <a:off x="5597240" y="3190566"/>
              <a:ext cx="68761" cy="43991"/>
            </a:xfrm>
            <a:custGeom>
              <a:avLst/>
              <a:gdLst>
                <a:gd name="connsiteX0" fmla="*/ -20 w 68761"/>
                <a:gd name="connsiteY0" fmla="*/ -67 h 43991"/>
                <a:gd name="connsiteX1" fmla="*/ 68742 w 68761"/>
                <a:gd name="connsiteY1" fmla="*/ 43894 h 43991"/>
                <a:gd name="connsiteX2" fmla="*/ -20 w 68761"/>
                <a:gd name="connsiteY2" fmla="*/ -67 h 43991"/>
              </a:gdLst>
              <a:ahLst/>
              <a:cxnLst>
                <a:cxn ang="0">
                  <a:pos x="connsiteX0" y="connsiteY0"/>
                </a:cxn>
                <a:cxn ang="0">
                  <a:pos x="connsiteX1" y="connsiteY1"/>
                </a:cxn>
                <a:cxn ang="0">
                  <a:pos x="connsiteX2" y="connsiteY2"/>
                </a:cxn>
              </a:cxnLst>
              <a:rect l="l" t="t" r="r" b="b"/>
              <a:pathLst>
                <a:path w="68761" h="43991">
                  <a:moveTo>
                    <a:pt x="-20" y="-67"/>
                  </a:moveTo>
                  <a:cubicBezTo>
                    <a:pt x="17216" y="14380"/>
                    <a:pt x="47061" y="37352"/>
                    <a:pt x="68742" y="43894"/>
                  </a:cubicBezTo>
                  <a:cubicBezTo>
                    <a:pt x="49000" y="30708"/>
                    <a:pt x="22306" y="-1227"/>
                    <a:pt x="-20" y="-67"/>
                  </a:cubicBezTo>
                  <a:close/>
                </a:path>
              </a:pathLst>
            </a:custGeom>
            <a:grpFill/>
            <a:ln w="25598" cap="flat">
              <a:noFill/>
              <a:prstDash val="solid"/>
              <a:round/>
            </a:ln>
          </p:spPr>
          <p:txBody>
            <a:bodyPr rtlCol="0" anchor="ctr"/>
            <a:lstStyle/>
            <a:p>
              <a:endParaRPr lang="en-LT"/>
            </a:p>
          </p:txBody>
        </p:sp>
        <p:sp>
          <p:nvSpPr>
            <p:cNvPr id="326" name="Freeform 325">
              <a:extLst>
                <a:ext uri="{FF2B5EF4-FFF2-40B4-BE49-F238E27FC236}">
                  <a16:creationId xmlns:a16="http://schemas.microsoft.com/office/drawing/2014/main" id="{171AD8D3-9A1D-B545-B5EA-DA9EEA8A9708}"/>
                </a:ext>
              </a:extLst>
            </p:cNvPr>
            <p:cNvSpPr/>
            <p:nvPr/>
          </p:nvSpPr>
          <p:spPr>
            <a:xfrm rot="-1917689">
              <a:off x="5822172" y="3202226"/>
              <a:ext cx="50699" cy="28947"/>
            </a:xfrm>
            <a:custGeom>
              <a:avLst/>
              <a:gdLst>
                <a:gd name="connsiteX0" fmla="*/ -19 w 50699"/>
                <a:gd name="connsiteY0" fmla="*/ -102 h 28947"/>
                <a:gd name="connsiteX1" fmla="*/ 50681 w 50699"/>
                <a:gd name="connsiteY1" fmla="*/ 28845 h 28947"/>
                <a:gd name="connsiteX2" fmla="*/ -19 w 50699"/>
                <a:gd name="connsiteY2" fmla="*/ -102 h 28947"/>
              </a:gdLst>
              <a:ahLst/>
              <a:cxnLst>
                <a:cxn ang="0">
                  <a:pos x="connsiteX0" y="connsiteY0"/>
                </a:cxn>
                <a:cxn ang="0">
                  <a:pos x="connsiteX1" y="connsiteY1"/>
                </a:cxn>
                <a:cxn ang="0">
                  <a:pos x="connsiteX2" y="connsiteY2"/>
                </a:cxn>
              </a:cxnLst>
              <a:rect l="l" t="t" r="r" b="b"/>
              <a:pathLst>
                <a:path w="50699" h="28947">
                  <a:moveTo>
                    <a:pt x="-19" y="-102"/>
                  </a:moveTo>
                  <a:cubicBezTo>
                    <a:pt x="16571" y="8267"/>
                    <a:pt x="35512" y="27196"/>
                    <a:pt x="50681" y="28845"/>
                  </a:cubicBezTo>
                  <a:cubicBezTo>
                    <a:pt x="46133" y="12363"/>
                    <a:pt x="14426" y="1391"/>
                    <a:pt x="-19" y="-102"/>
                  </a:cubicBezTo>
                  <a:close/>
                </a:path>
              </a:pathLst>
            </a:custGeom>
            <a:grpFill/>
            <a:ln w="25598" cap="flat">
              <a:noFill/>
              <a:prstDash val="solid"/>
              <a:round/>
            </a:ln>
          </p:spPr>
          <p:txBody>
            <a:bodyPr rtlCol="0" anchor="ctr"/>
            <a:lstStyle/>
            <a:p>
              <a:endParaRPr lang="en-LT"/>
            </a:p>
          </p:txBody>
        </p:sp>
        <p:sp>
          <p:nvSpPr>
            <p:cNvPr id="327" name="Freeform 326">
              <a:extLst>
                <a:ext uri="{FF2B5EF4-FFF2-40B4-BE49-F238E27FC236}">
                  <a16:creationId xmlns:a16="http://schemas.microsoft.com/office/drawing/2014/main" id="{DFDAD561-BDC1-E44F-88C7-A543D76F4315}"/>
                </a:ext>
              </a:extLst>
            </p:cNvPr>
            <p:cNvSpPr/>
            <p:nvPr/>
          </p:nvSpPr>
          <p:spPr>
            <a:xfrm rot="-1917689">
              <a:off x="5919505" y="3210199"/>
              <a:ext cx="48993" cy="55583"/>
            </a:xfrm>
            <a:custGeom>
              <a:avLst/>
              <a:gdLst>
                <a:gd name="connsiteX0" fmla="*/ 48976 w 48993"/>
                <a:gd name="connsiteY0" fmla="*/ 21202 h 55583"/>
                <a:gd name="connsiteX1" fmla="*/ -18 w 48993"/>
                <a:gd name="connsiteY1" fmla="*/ 213 h 55583"/>
                <a:gd name="connsiteX2" fmla="*/ 26908 w 48993"/>
                <a:gd name="connsiteY2" fmla="*/ 55480 h 55583"/>
                <a:gd name="connsiteX3" fmla="*/ 48976 w 48993"/>
                <a:gd name="connsiteY3" fmla="*/ 21202 h 55583"/>
              </a:gdLst>
              <a:ahLst/>
              <a:cxnLst>
                <a:cxn ang="0">
                  <a:pos x="connsiteX0" y="connsiteY0"/>
                </a:cxn>
                <a:cxn ang="0">
                  <a:pos x="connsiteX1" y="connsiteY1"/>
                </a:cxn>
                <a:cxn ang="0">
                  <a:pos x="connsiteX2" y="connsiteY2"/>
                </a:cxn>
                <a:cxn ang="0">
                  <a:pos x="connsiteX3" y="connsiteY3"/>
                </a:cxn>
              </a:cxnLst>
              <a:rect l="l" t="t" r="r" b="b"/>
              <a:pathLst>
                <a:path w="48993" h="55583">
                  <a:moveTo>
                    <a:pt x="48976" y="21202"/>
                  </a:moveTo>
                  <a:cubicBezTo>
                    <a:pt x="33058" y="16206"/>
                    <a:pt x="14091" y="-2775"/>
                    <a:pt x="-18" y="213"/>
                  </a:cubicBezTo>
                  <a:cubicBezTo>
                    <a:pt x="11869" y="18034"/>
                    <a:pt x="16727" y="37272"/>
                    <a:pt x="26908" y="55480"/>
                  </a:cubicBezTo>
                  <a:cubicBezTo>
                    <a:pt x="34221" y="44071"/>
                    <a:pt x="41611" y="32585"/>
                    <a:pt x="48976" y="21202"/>
                  </a:cubicBezTo>
                  <a:close/>
                </a:path>
              </a:pathLst>
            </a:custGeom>
            <a:grpFill/>
            <a:ln w="25598" cap="flat">
              <a:noFill/>
              <a:prstDash val="solid"/>
              <a:round/>
            </a:ln>
          </p:spPr>
          <p:txBody>
            <a:bodyPr rtlCol="0" anchor="ctr"/>
            <a:lstStyle/>
            <a:p>
              <a:endParaRPr lang="en-LT"/>
            </a:p>
          </p:txBody>
        </p:sp>
        <p:sp>
          <p:nvSpPr>
            <p:cNvPr id="328" name="Freeform 327">
              <a:extLst>
                <a:ext uri="{FF2B5EF4-FFF2-40B4-BE49-F238E27FC236}">
                  <a16:creationId xmlns:a16="http://schemas.microsoft.com/office/drawing/2014/main" id="{4EAC297F-7C2B-6F4D-9545-A2FD353C9816}"/>
                </a:ext>
              </a:extLst>
            </p:cNvPr>
            <p:cNvSpPr/>
            <p:nvPr/>
          </p:nvSpPr>
          <p:spPr>
            <a:xfrm rot="-1917689">
              <a:off x="5824356" y="3176492"/>
              <a:ext cx="122384" cy="189725"/>
            </a:xfrm>
            <a:custGeom>
              <a:avLst/>
              <a:gdLst>
                <a:gd name="connsiteX0" fmla="*/ 122363 w 122384"/>
                <a:gd name="connsiteY0" fmla="*/ 143782 h 189725"/>
                <a:gd name="connsiteX1" fmla="*/ 90864 w 122384"/>
                <a:gd name="connsiteY1" fmla="*/ 57971 h 189725"/>
                <a:gd name="connsiteX2" fmla="*/ -17 w 122384"/>
                <a:gd name="connsiteY2" fmla="*/ -103 h 189725"/>
                <a:gd name="connsiteX3" fmla="*/ 85954 w 122384"/>
                <a:gd name="connsiteY3" fmla="*/ 189623 h 189725"/>
                <a:gd name="connsiteX4" fmla="*/ 122363 w 122384"/>
                <a:gd name="connsiteY4" fmla="*/ 143782 h 189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384" h="189725">
                  <a:moveTo>
                    <a:pt x="122363" y="143782"/>
                  </a:moveTo>
                  <a:cubicBezTo>
                    <a:pt x="122699" y="112852"/>
                    <a:pt x="99675" y="86944"/>
                    <a:pt x="90864" y="57971"/>
                  </a:cubicBezTo>
                  <a:cubicBezTo>
                    <a:pt x="56806" y="40819"/>
                    <a:pt x="29544" y="11048"/>
                    <a:pt x="-17" y="-103"/>
                  </a:cubicBezTo>
                  <a:cubicBezTo>
                    <a:pt x="32464" y="62246"/>
                    <a:pt x="54584" y="126913"/>
                    <a:pt x="85954" y="189623"/>
                  </a:cubicBezTo>
                  <a:cubicBezTo>
                    <a:pt x="97660" y="177081"/>
                    <a:pt x="112880" y="135309"/>
                    <a:pt x="122363" y="143782"/>
                  </a:cubicBezTo>
                  <a:close/>
                </a:path>
              </a:pathLst>
            </a:custGeom>
            <a:grpFill/>
            <a:ln w="25598" cap="flat">
              <a:noFill/>
              <a:prstDash val="solid"/>
              <a:round/>
            </a:ln>
          </p:spPr>
          <p:txBody>
            <a:bodyPr rtlCol="0" anchor="ctr"/>
            <a:lstStyle/>
            <a:p>
              <a:endParaRPr lang="en-LT"/>
            </a:p>
          </p:txBody>
        </p:sp>
        <p:sp>
          <p:nvSpPr>
            <p:cNvPr id="329" name="Freeform 328">
              <a:extLst>
                <a:ext uri="{FF2B5EF4-FFF2-40B4-BE49-F238E27FC236}">
                  <a16:creationId xmlns:a16="http://schemas.microsoft.com/office/drawing/2014/main" id="{5CD0010D-1075-734B-BBA9-A3241D73C948}"/>
                </a:ext>
              </a:extLst>
            </p:cNvPr>
            <p:cNvSpPr/>
            <p:nvPr/>
          </p:nvSpPr>
          <p:spPr>
            <a:xfrm rot="-1917689">
              <a:off x="5712989" y="3218388"/>
              <a:ext cx="17713" cy="26496"/>
            </a:xfrm>
            <a:custGeom>
              <a:avLst/>
              <a:gdLst>
                <a:gd name="connsiteX0" fmla="*/ -19 w 17713"/>
                <a:gd name="connsiteY0" fmla="*/ -52 h 26496"/>
                <a:gd name="connsiteX1" fmla="*/ 14219 w 17713"/>
                <a:gd name="connsiteY1" fmla="*/ 26397 h 26496"/>
                <a:gd name="connsiteX2" fmla="*/ -19 w 17713"/>
                <a:gd name="connsiteY2" fmla="*/ -52 h 26496"/>
              </a:gdLst>
              <a:ahLst/>
              <a:cxnLst>
                <a:cxn ang="0">
                  <a:pos x="connsiteX0" y="connsiteY0"/>
                </a:cxn>
                <a:cxn ang="0">
                  <a:pos x="connsiteX1" y="connsiteY1"/>
                </a:cxn>
                <a:cxn ang="0">
                  <a:pos x="connsiteX2" y="connsiteY2"/>
                </a:cxn>
              </a:cxnLst>
              <a:rect l="l" t="t" r="r" b="b"/>
              <a:pathLst>
                <a:path w="17713" h="26496">
                  <a:moveTo>
                    <a:pt x="-19" y="-52"/>
                  </a:moveTo>
                  <a:cubicBezTo>
                    <a:pt x="7242" y="8214"/>
                    <a:pt x="9542" y="17589"/>
                    <a:pt x="14219" y="26397"/>
                  </a:cubicBezTo>
                  <a:cubicBezTo>
                    <a:pt x="23703" y="15761"/>
                    <a:pt x="12049" y="-1108"/>
                    <a:pt x="-19" y="-52"/>
                  </a:cubicBezTo>
                  <a:close/>
                </a:path>
              </a:pathLst>
            </a:custGeom>
            <a:grpFill/>
            <a:ln w="25598" cap="flat">
              <a:noFill/>
              <a:prstDash val="solid"/>
              <a:round/>
            </a:ln>
          </p:spPr>
          <p:txBody>
            <a:bodyPr rtlCol="0" anchor="ctr"/>
            <a:lstStyle/>
            <a:p>
              <a:endParaRPr lang="en-LT"/>
            </a:p>
          </p:txBody>
        </p:sp>
        <p:sp>
          <p:nvSpPr>
            <p:cNvPr id="330" name="Freeform 329">
              <a:extLst>
                <a:ext uri="{FF2B5EF4-FFF2-40B4-BE49-F238E27FC236}">
                  <a16:creationId xmlns:a16="http://schemas.microsoft.com/office/drawing/2014/main" id="{6F7C92EA-04F7-8F40-AEA2-1B9DA20C1521}"/>
                </a:ext>
              </a:extLst>
            </p:cNvPr>
            <p:cNvSpPr/>
            <p:nvPr/>
          </p:nvSpPr>
          <p:spPr>
            <a:xfrm rot="-1917689">
              <a:off x="5683451" y="1771367"/>
              <a:ext cx="172365" cy="298678"/>
            </a:xfrm>
            <a:custGeom>
              <a:avLst/>
              <a:gdLst>
                <a:gd name="connsiteX0" fmla="*/ 139932 w 172365"/>
                <a:gd name="connsiteY0" fmla="*/ 120665 h 298678"/>
                <a:gd name="connsiteX1" fmla="*/ 109311 w 172365"/>
                <a:gd name="connsiteY1" fmla="*/ 38924 h 298678"/>
                <a:gd name="connsiteX2" fmla="*/ 139932 w 172365"/>
                <a:gd name="connsiteY2" fmla="*/ 120665 h 298678"/>
                <a:gd name="connsiteX3" fmla="*/ 164119 w 172365"/>
                <a:gd name="connsiteY3" fmla="*/ 66995 h 298678"/>
                <a:gd name="connsiteX4" fmla="*/ -46 w 172365"/>
                <a:gd name="connsiteY4" fmla="*/ 31198 h 298678"/>
                <a:gd name="connsiteX5" fmla="*/ 115565 w 172365"/>
                <a:gd name="connsiteY5" fmla="*/ 298570 h 298678"/>
                <a:gd name="connsiteX6" fmla="*/ 132232 w 172365"/>
                <a:gd name="connsiteY6" fmla="*/ 278122 h 298678"/>
                <a:gd name="connsiteX7" fmla="*/ 109182 w 172365"/>
                <a:gd name="connsiteY7" fmla="*/ 211549 h 298678"/>
                <a:gd name="connsiteX8" fmla="*/ 136961 w 172365"/>
                <a:gd name="connsiteY8" fmla="*/ 270731 h 298678"/>
                <a:gd name="connsiteX9" fmla="*/ 164119 w 172365"/>
                <a:gd name="connsiteY9" fmla="*/ 66995 h 298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365" h="298678">
                  <a:moveTo>
                    <a:pt x="139932" y="120665"/>
                  </a:moveTo>
                  <a:cubicBezTo>
                    <a:pt x="135695" y="108767"/>
                    <a:pt x="135953" y="59913"/>
                    <a:pt x="109311" y="38924"/>
                  </a:cubicBezTo>
                  <a:cubicBezTo>
                    <a:pt x="140785" y="53114"/>
                    <a:pt x="138821" y="92826"/>
                    <a:pt x="139932" y="120665"/>
                  </a:cubicBezTo>
                  <a:close/>
                  <a:moveTo>
                    <a:pt x="164119" y="66995"/>
                  </a:moveTo>
                  <a:cubicBezTo>
                    <a:pt x="142465" y="-8179"/>
                    <a:pt x="55382" y="-20309"/>
                    <a:pt x="-46" y="31198"/>
                  </a:cubicBezTo>
                  <a:cubicBezTo>
                    <a:pt x="43366" y="119275"/>
                    <a:pt x="70344" y="210931"/>
                    <a:pt x="115565" y="298570"/>
                  </a:cubicBezTo>
                  <a:cubicBezTo>
                    <a:pt x="120578" y="289196"/>
                    <a:pt x="126263" y="282887"/>
                    <a:pt x="132232" y="278122"/>
                  </a:cubicBezTo>
                  <a:cubicBezTo>
                    <a:pt x="126392" y="255536"/>
                    <a:pt x="113601" y="234419"/>
                    <a:pt x="109182" y="211549"/>
                  </a:cubicBezTo>
                  <a:cubicBezTo>
                    <a:pt x="120113" y="230916"/>
                    <a:pt x="122438" y="252214"/>
                    <a:pt x="136961" y="270731"/>
                  </a:cubicBezTo>
                  <a:cubicBezTo>
                    <a:pt x="173809" y="212502"/>
                    <a:pt x="179985" y="122391"/>
                    <a:pt x="164119" y="66995"/>
                  </a:cubicBezTo>
                  <a:close/>
                </a:path>
              </a:pathLst>
            </a:custGeom>
            <a:grpFill/>
            <a:ln w="25598" cap="flat">
              <a:noFill/>
              <a:prstDash val="solid"/>
              <a:round/>
            </a:ln>
          </p:spPr>
          <p:txBody>
            <a:bodyPr rtlCol="0" anchor="ctr"/>
            <a:lstStyle/>
            <a:p>
              <a:endParaRPr lang="en-LT"/>
            </a:p>
          </p:txBody>
        </p:sp>
        <p:sp>
          <p:nvSpPr>
            <p:cNvPr id="331" name="Freeform 330">
              <a:extLst>
                <a:ext uri="{FF2B5EF4-FFF2-40B4-BE49-F238E27FC236}">
                  <a16:creationId xmlns:a16="http://schemas.microsoft.com/office/drawing/2014/main" id="{475C286B-AAF1-4E4B-AC9D-C1E8EEA90A7A}"/>
                </a:ext>
              </a:extLst>
            </p:cNvPr>
            <p:cNvSpPr/>
            <p:nvPr/>
          </p:nvSpPr>
          <p:spPr>
            <a:xfrm rot="-1917689">
              <a:off x="5535033" y="2320352"/>
              <a:ext cx="123646" cy="252255"/>
            </a:xfrm>
            <a:custGeom>
              <a:avLst/>
              <a:gdLst>
                <a:gd name="connsiteX0" fmla="*/ -36 w 123646"/>
                <a:gd name="connsiteY0" fmla="*/ 18364 h 252255"/>
                <a:gd name="connsiteX1" fmla="*/ 95600 w 123646"/>
                <a:gd name="connsiteY1" fmla="*/ 252154 h 252255"/>
                <a:gd name="connsiteX2" fmla="*/ 108882 w 123646"/>
                <a:gd name="connsiteY2" fmla="*/ 177726 h 252255"/>
                <a:gd name="connsiteX3" fmla="*/ 118882 w 123646"/>
                <a:gd name="connsiteY3" fmla="*/ 194466 h 252255"/>
                <a:gd name="connsiteX4" fmla="*/ 123611 w 123646"/>
                <a:gd name="connsiteY4" fmla="*/ 187152 h 252255"/>
                <a:gd name="connsiteX5" fmla="*/ 36037 w 123646"/>
                <a:gd name="connsiteY5" fmla="*/ -102 h 252255"/>
                <a:gd name="connsiteX6" fmla="*/ -36 w 123646"/>
                <a:gd name="connsiteY6" fmla="*/ 18364 h 252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646" h="252255">
                  <a:moveTo>
                    <a:pt x="-36" y="18364"/>
                  </a:moveTo>
                  <a:cubicBezTo>
                    <a:pt x="39190" y="94697"/>
                    <a:pt x="59837" y="175099"/>
                    <a:pt x="95600" y="252154"/>
                  </a:cubicBezTo>
                  <a:cubicBezTo>
                    <a:pt x="109631" y="225293"/>
                    <a:pt x="121285" y="198895"/>
                    <a:pt x="108882" y="177726"/>
                  </a:cubicBezTo>
                  <a:cubicBezTo>
                    <a:pt x="114618" y="182799"/>
                    <a:pt x="111595" y="189830"/>
                    <a:pt x="118882" y="194466"/>
                  </a:cubicBezTo>
                  <a:cubicBezTo>
                    <a:pt x="120458" y="192045"/>
                    <a:pt x="122035" y="189599"/>
                    <a:pt x="123611" y="187152"/>
                  </a:cubicBezTo>
                  <a:cubicBezTo>
                    <a:pt x="96892" y="124210"/>
                    <a:pt x="72059" y="60857"/>
                    <a:pt x="36037" y="-102"/>
                  </a:cubicBezTo>
                  <a:cubicBezTo>
                    <a:pt x="24590" y="8526"/>
                    <a:pt x="10791" y="6491"/>
                    <a:pt x="-36" y="18364"/>
                  </a:cubicBezTo>
                  <a:close/>
                </a:path>
              </a:pathLst>
            </a:custGeom>
            <a:grpFill/>
            <a:ln w="25598" cap="flat">
              <a:noFill/>
              <a:prstDash val="solid"/>
              <a:round/>
            </a:ln>
          </p:spPr>
          <p:txBody>
            <a:bodyPr rtlCol="0" anchor="ctr"/>
            <a:lstStyle/>
            <a:p>
              <a:endParaRPr lang="en-LT"/>
            </a:p>
          </p:txBody>
        </p:sp>
        <p:sp>
          <p:nvSpPr>
            <p:cNvPr id="332" name="Freeform 331">
              <a:extLst>
                <a:ext uri="{FF2B5EF4-FFF2-40B4-BE49-F238E27FC236}">
                  <a16:creationId xmlns:a16="http://schemas.microsoft.com/office/drawing/2014/main" id="{6CA7F370-B4D0-564A-80EB-EF963F24CD9C}"/>
                </a:ext>
              </a:extLst>
            </p:cNvPr>
            <p:cNvSpPr/>
            <p:nvPr/>
          </p:nvSpPr>
          <p:spPr>
            <a:xfrm rot="-1917689">
              <a:off x="5853419" y="2498660"/>
              <a:ext cx="12474" cy="47575"/>
            </a:xfrm>
            <a:custGeom>
              <a:avLst/>
              <a:gdLst>
                <a:gd name="connsiteX0" fmla="*/ 10407 w 12474"/>
                <a:gd name="connsiteY0" fmla="*/ 37622 h 47575"/>
                <a:gd name="connsiteX1" fmla="*/ -33 w 12474"/>
                <a:gd name="connsiteY1" fmla="*/ -107 h 47575"/>
                <a:gd name="connsiteX2" fmla="*/ 10407 w 12474"/>
                <a:gd name="connsiteY2" fmla="*/ 37622 h 47575"/>
              </a:gdLst>
              <a:ahLst/>
              <a:cxnLst>
                <a:cxn ang="0">
                  <a:pos x="connsiteX0" y="connsiteY0"/>
                </a:cxn>
                <a:cxn ang="0">
                  <a:pos x="connsiteX1" y="connsiteY1"/>
                </a:cxn>
                <a:cxn ang="0">
                  <a:pos x="connsiteX2" y="connsiteY2"/>
                </a:cxn>
              </a:cxnLst>
              <a:rect l="l" t="t" r="r" b="b"/>
              <a:pathLst>
                <a:path w="12474" h="47575">
                  <a:moveTo>
                    <a:pt x="10407" y="37622"/>
                  </a:moveTo>
                  <a:cubicBezTo>
                    <a:pt x="8598" y="30334"/>
                    <a:pt x="7332" y="15345"/>
                    <a:pt x="-33" y="-107"/>
                  </a:cubicBezTo>
                  <a:cubicBezTo>
                    <a:pt x="794" y="15525"/>
                    <a:pt x="18288" y="69376"/>
                    <a:pt x="10407" y="37622"/>
                  </a:cubicBezTo>
                  <a:close/>
                </a:path>
              </a:pathLst>
            </a:custGeom>
            <a:grpFill/>
            <a:ln w="25598" cap="flat">
              <a:noFill/>
              <a:prstDash val="solid"/>
              <a:round/>
            </a:ln>
          </p:spPr>
          <p:txBody>
            <a:bodyPr rtlCol="0" anchor="ctr"/>
            <a:lstStyle/>
            <a:p>
              <a:endParaRPr lang="en-LT"/>
            </a:p>
          </p:txBody>
        </p:sp>
        <p:sp>
          <p:nvSpPr>
            <p:cNvPr id="333" name="Freeform 332">
              <a:extLst>
                <a:ext uri="{FF2B5EF4-FFF2-40B4-BE49-F238E27FC236}">
                  <a16:creationId xmlns:a16="http://schemas.microsoft.com/office/drawing/2014/main" id="{58B0F2AE-40DD-CB48-AC4A-DDCC76B7F0CC}"/>
                </a:ext>
              </a:extLst>
            </p:cNvPr>
            <p:cNvSpPr/>
            <p:nvPr/>
          </p:nvSpPr>
          <p:spPr>
            <a:xfrm rot="-1917689">
              <a:off x="5773209" y="2467034"/>
              <a:ext cx="144009" cy="324571"/>
            </a:xfrm>
            <a:custGeom>
              <a:avLst/>
              <a:gdLst>
                <a:gd name="connsiteX0" fmla="*/ 102375 w 144009"/>
                <a:gd name="connsiteY0" fmla="*/ 234998 h 324571"/>
                <a:gd name="connsiteX1" fmla="*/ 89765 w 144009"/>
                <a:gd name="connsiteY1" fmla="*/ 206154 h 324571"/>
                <a:gd name="connsiteX2" fmla="*/ 99352 w 144009"/>
                <a:gd name="connsiteY2" fmla="*/ 201982 h 324571"/>
                <a:gd name="connsiteX3" fmla="*/ 102375 w 144009"/>
                <a:gd name="connsiteY3" fmla="*/ 234998 h 324571"/>
                <a:gd name="connsiteX4" fmla="*/ 143979 w 144009"/>
                <a:gd name="connsiteY4" fmla="*/ 251223 h 324571"/>
                <a:gd name="connsiteX5" fmla="*/ 114288 w 144009"/>
                <a:gd name="connsiteY5" fmla="*/ 173524 h 324571"/>
                <a:gd name="connsiteX6" fmla="*/ 79791 w 144009"/>
                <a:gd name="connsiteY6" fmla="*/ 103114 h 324571"/>
                <a:gd name="connsiteX7" fmla="*/ 113771 w 144009"/>
                <a:gd name="connsiteY7" fmla="*/ 190470 h 324571"/>
                <a:gd name="connsiteX8" fmla="*/ 31831 w 144009"/>
                <a:gd name="connsiteY8" fmla="*/ -106 h 324571"/>
                <a:gd name="connsiteX9" fmla="*/ -31 w 144009"/>
                <a:gd name="connsiteY9" fmla="*/ 27888 h 324571"/>
                <a:gd name="connsiteX10" fmla="*/ 107259 w 144009"/>
                <a:gd name="connsiteY10" fmla="*/ 324465 h 324571"/>
                <a:gd name="connsiteX11" fmla="*/ 143979 w 144009"/>
                <a:gd name="connsiteY11" fmla="*/ 251223 h 324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4009" h="324571">
                  <a:moveTo>
                    <a:pt x="102375" y="234998"/>
                  </a:moveTo>
                  <a:cubicBezTo>
                    <a:pt x="98396" y="225340"/>
                    <a:pt x="96070" y="215348"/>
                    <a:pt x="89765" y="206154"/>
                  </a:cubicBezTo>
                  <a:cubicBezTo>
                    <a:pt x="92711" y="203553"/>
                    <a:pt x="96484" y="205098"/>
                    <a:pt x="99352" y="201982"/>
                  </a:cubicBezTo>
                  <a:cubicBezTo>
                    <a:pt x="103771" y="212258"/>
                    <a:pt x="105967" y="222997"/>
                    <a:pt x="102375" y="234998"/>
                  </a:cubicBezTo>
                  <a:close/>
                  <a:moveTo>
                    <a:pt x="143979" y="251223"/>
                  </a:moveTo>
                  <a:cubicBezTo>
                    <a:pt x="136381" y="227349"/>
                    <a:pt x="124081" y="199793"/>
                    <a:pt x="114288" y="173524"/>
                  </a:cubicBezTo>
                  <a:cubicBezTo>
                    <a:pt x="105114" y="149007"/>
                    <a:pt x="100721" y="110351"/>
                    <a:pt x="79791" y="103114"/>
                  </a:cubicBezTo>
                  <a:cubicBezTo>
                    <a:pt x="92866" y="131803"/>
                    <a:pt x="105450" y="160673"/>
                    <a:pt x="113771" y="190470"/>
                  </a:cubicBezTo>
                  <a:cubicBezTo>
                    <a:pt x="85760" y="127091"/>
                    <a:pt x="63873" y="62398"/>
                    <a:pt x="31831" y="-106"/>
                  </a:cubicBezTo>
                  <a:cubicBezTo>
                    <a:pt x="21546" y="10891"/>
                    <a:pt x="11546" y="23175"/>
                    <a:pt x="-31" y="27888"/>
                  </a:cubicBezTo>
                  <a:cubicBezTo>
                    <a:pt x="38834" y="126035"/>
                    <a:pt x="71108" y="225701"/>
                    <a:pt x="107259" y="324465"/>
                  </a:cubicBezTo>
                  <a:cubicBezTo>
                    <a:pt x="119585" y="300051"/>
                    <a:pt x="132040" y="275585"/>
                    <a:pt x="143979" y="251223"/>
                  </a:cubicBezTo>
                  <a:close/>
                </a:path>
              </a:pathLst>
            </a:custGeom>
            <a:grpFill/>
            <a:ln w="25598" cap="flat">
              <a:noFill/>
              <a:prstDash val="solid"/>
              <a:round/>
            </a:ln>
          </p:spPr>
          <p:txBody>
            <a:bodyPr rtlCol="0" anchor="ctr"/>
            <a:lstStyle/>
            <a:p>
              <a:endParaRPr lang="en-LT"/>
            </a:p>
          </p:txBody>
        </p:sp>
        <p:sp>
          <p:nvSpPr>
            <p:cNvPr id="334" name="Freeform 333">
              <a:extLst>
                <a:ext uri="{FF2B5EF4-FFF2-40B4-BE49-F238E27FC236}">
                  <a16:creationId xmlns:a16="http://schemas.microsoft.com/office/drawing/2014/main" id="{EE4FEFBC-B059-3C42-9924-176809181D37}"/>
                </a:ext>
              </a:extLst>
            </p:cNvPr>
            <p:cNvSpPr/>
            <p:nvPr/>
          </p:nvSpPr>
          <p:spPr>
            <a:xfrm rot="-1917689">
              <a:off x="5991541" y="2671545"/>
              <a:ext cx="16873" cy="38372"/>
            </a:xfrm>
            <a:custGeom>
              <a:avLst/>
              <a:gdLst>
                <a:gd name="connsiteX0" fmla="*/ 16845 w 16873"/>
                <a:gd name="connsiteY0" fmla="*/ 38264 h 38372"/>
                <a:gd name="connsiteX1" fmla="*/ -28 w 16873"/>
                <a:gd name="connsiteY1" fmla="*/ -109 h 38372"/>
                <a:gd name="connsiteX2" fmla="*/ 16845 w 16873"/>
                <a:gd name="connsiteY2" fmla="*/ 38264 h 38372"/>
              </a:gdLst>
              <a:ahLst/>
              <a:cxnLst>
                <a:cxn ang="0">
                  <a:pos x="connsiteX0" y="connsiteY0"/>
                </a:cxn>
                <a:cxn ang="0">
                  <a:pos x="connsiteX1" y="connsiteY1"/>
                </a:cxn>
                <a:cxn ang="0">
                  <a:pos x="connsiteX2" y="connsiteY2"/>
                </a:cxn>
              </a:cxnLst>
              <a:rect l="l" t="t" r="r" b="b"/>
              <a:pathLst>
                <a:path w="16873" h="38372">
                  <a:moveTo>
                    <a:pt x="16845" y="38264"/>
                  </a:moveTo>
                  <a:cubicBezTo>
                    <a:pt x="9610" y="27216"/>
                    <a:pt x="11445" y="3085"/>
                    <a:pt x="-28" y="-109"/>
                  </a:cubicBezTo>
                  <a:cubicBezTo>
                    <a:pt x="6096" y="11223"/>
                    <a:pt x="9248" y="34247"/>
                    <a:pt x="16845" y="38264"/>
                  </a:cubicBezTo>
                  <a:close/>
                </a:path>
              </a:pathLst>
            </a:custGeom>
            <a:grpFill/>
            <a:ln w="25598" cap="flat">
              <a:noFill/>
              <a:prstDash val="solid"/>
              <a:round/>
            </a:ln>
          </p:spPr>
          <p:txBody>
            <a:bodyPr rtlCol="0" anchor="ctr"/>
            <a:lstStyle/>
            <a:p>
              <a:endParaRPr lang="en-LT"/>
            </a:p>
          </p:txBody>
        </p:sp>
        <p:sp>
          <p:nvSpPr>
            <p:cNvPr id="335" name="Freeform 334">
              <a:extLst>
                <a:ext uri="{FF2B5EF4-FFF2-40B4-BE49-F238E27FC236}">
                  <a16:creationId xmlns:a16="http://schemas.microsoft.com/office/drawing/2014/main" id="{AA48566D-8C6C-0D4A-B702-BE6C947035CD}"/>
                </a:ext>
              </a:extLst>
            </p:cNvPr>
            <p:cNvSpPr/>
            <p:nvPr/>
          </p:nvSpPr>
          <p:spPr>
            <a:xfrm rot="-1917689">
              <a:off x="5200568" y="2999564"/>
              <a:ext cx="1228017" cy="1141935"/>
            </a:xfrm>
            <a:custGeom>
              <a:avLst/>
              <a:gdLst>
                <a:gd name="connsiteX0" fmla="*/ 629954 w 1228017"/>
                <a:gd name="connsiteY0" fmla="*/ 970395 h 1141935"/>
                <a:gd name="connsiteX1" fmla="*/ 870090 w 1228017"/>
                <a:gd name="connsiteY1" fmla="*/ 591870 h 1141935"/>
                <a:gd name="connsiteX2" fmla="*/ 906783 w 1228017"/>
                <a:gd name="connsiteY2" fmla="*/ 604953 h 1141935"/>
                <a:gd name="connsiteX3" fmla="*/ 629954 w 1228017"/>
                <a:gd name="connsiteY3" fmla="*/ 970395 h 1141935"/>
                <a:gd name="connsiteX4" fmla="*/ 649877 w 1228017"/>
                <a:gd name="connsiteY4" fmla="*/ 858728 h 1141935"/>
                <a:gd name="connsiteX5" fmla="*/ 633391 w 1228017"/>
                <a:gd name="connsiteY5" fmla="*/ 889761 h 1141935"/>
                <a:gd name="connsiteX6" fmla="*/ 649877 w 1228017"/>
                <a:gd name="connsiteY6" fmla="*/ 858728 h 1141935"/>
                <a:gd name="connsiteX7" fmla="*/ 725435 w 1228017"/>
                <a:gd name="connsiteY7" fmla="*/ 741292 h 1141935"/>
                <a:gd name="connsiteX8" fmla="*/ 704297 w 1228017"/>
                <a:gd name="connsiteY8" fmla="*/ 779510 h 1141935"/>
                <a:gd name="connsiteX9" fmla="*/ 725435 w 1228017"/>
                <a:gd name="connsiteY9" fmla="*/ 741292 h 1141935"/>
                <a:gd name="connsiteX10" fmla="*/ 774092 w 1228017"/>
                <a:gd name="connsiteY10" fmla="*/ 654889 h 1141935"/>
                <a:gd name="connsiteX11" fmla="*/ 834817 w 1228017"/>
                <a:gd name="connsiteY11" fmla="*/ 565911 h 1141935"/>
                <a:gd name="connsiteX12" fmla="*/ 749105 w 1228017"/>
                <a:gd name="connsiteY12" fmla="*/ 704516 h 1141935"/>
                <a:gd name="connsiteX13" fmla="*/ 774092 w 1228017"/>
                <a:gd name="connsiteY13" fmla="*/ 654889 h 1141935"/>
                <a:gd name="connsiteX14" fmla="*/ 897636 w 1228017"/>
                <a:gd name="connsiteY14" fmla="*/ 505853 h 1141935"/>
                <a:gd name="connsiteX15" fmla="*/ 945777 w 1228017"/>
                <a:gd name="connsiteY15" fmla="*/ 522799 h 1141935"/>
                <a:gd name="connsiteX16" fmla="*/ 919187 w 1228017"/>
                <a:gd name="connsiteY16" fmla="*/ 574898 h 1141935"/>
                <a:gd name="connsiteX17" fmla="*/ 873216 w 1228017"/>
                <a:gd name="connsiteY17" fmla="*/ 538560 h 1141935"/>
                <a:gd name="connsiteX18" fmla="*/ 897636 w 1228017"/>
                <a:gd name="connsiteY18" fmla="*/ 505853 h 1141935"/>
                <a:gd name="connsiteX19" fmla="*/ 904638 w 1228017"/>
                <a:gd name="connsiteY19" fmla="*/ 759088 h 1141935"/>
                <a:gd name="connsiteX20" fmla="*/ 922675 w 1228017"/>
                <a:gd name="connsiteY20" fmla="*/ 725660 h 1141935"/>
                <a:gd name="connsiteX21" fmla="*/ 904638 w 1228017"/>
                <a:gd name="connsiteY21" fmla="*/ 759088 h 1141935"/>
                <a:gd name="connsiteX22" fmla="*/ 698431 w 1228017"/>
                <a:gd name="connsiteY22" fmla="*/ 1041835 h 1141935"/>
                <a:gd name="connsiteX23" fmla="*/ 736598 w 1228017"/>
                <a:gd name="connsiteY23" fmla="*/ 1004055 h 1141935"/>
                <a:gd name="connsiteX24" fmla="*/ 698431 w 1228017"/>
                <a:gd name="connsiteY24" fmla="*/ 1041835 h 1141935"/>
                <a:gd name="connsiteX25" fmla="*/ 595405 w 1228017"/>
                <a:gd name="connsiteY25" fmla="*/ 937997 h 1141935"/>
                <a:gd name="connsiteX26" fmla="*/ 605535 w 1228017"/>
                <a:gd name="connsiteY26" fmla="*/ 916828 h 1141935"/>
                <a:gd name="connsiteX27" fmla="*/ 595405 w 1228017"/>
                <a:gd name="connsiteY27" fmla="*/ 937997 h 1141935"/>
                <a:gd name="connsiteX28" fmla="*/ 538272 w 1228017"/>
                <a:gd name="connsiteY28" fmla="*/ 638870 h 1141935"/>
                <a:gd name="connsiteX29" fmla="*/ 554706 w 1228017"/>
                <a:gd name="connsiteY29" fmla="*/ 607966 h 1141935"/>
                <a:gd name="connsiteX30" fmla="*/ 538272 w 1228017"/>
                <a:gd name="connsiteY30" fmla="*/ 638870 h 1141935"/>
                <a:gd name="connsiteX31" fmla="*/ 366019 w 1228017"/>
                <a:gd name="connsiteY31" fmla="*/ 1057390 h 1141935"/>
                <a:gd name="connsiteX32" fmla="*/ 388371 w 1228017"/>
                <a:gd name="connsiteY32" fmla="*/ 995659 h 1141935"/>
                <a:gd name="connsiteX33" fmla="*/ 366019 w 1228017"/>
                <a:gd name="connsiteY33" fmla="*/ 1057390 h 1141935"/>
                <a:gd name="connsiteX34" fmla="*/ 545688 w 1228017"/>
                <a:gd name="connsiteY34" fmla="*/ 422541 h 1141935"/>
                <a:gd name="connsiteX35" fmla="*/ 532458 w 1228017"/>
                <a:gd name="connsiteY35" fmla="*/ 448578 h 1141935"/>
                <a:gd name="connsiteX36" fmla="*/ 545688 w 1228017"/>
                <a:gd name="connsiteY36" fmla="*/ 422541 h 1141935"/>
                <a:gd name="connsiteX37" fmla="*/ 667965 w 1228017"/>
                <a:gd name="connsiteY37" fmla="*/ 286459 h 1141935"/>
                <a:gd name="connsiteX38" fmla="*/ 671480 w 1228017"/>
                <a:gd name="connsiteY38" fmla="*/ 302530 h 1141935"/>
                <a:gd name="connsiteX39" fmla="*/ 649050 w 1228017"/>
                <a:gd name="connsiteY39" fmla="*/ 315844 h 1141935"/>
                <a:gd name="connsiteX40" fmla="*/ 667965 w 1228017"/>
                <a:gd name="connsiteY40" fmla="*/ 286459 h 1141935"/>
                <a:gd name="connsiteX41" fmla="*/ 798486 w 1228017"/>
                <a:gd name="connsiteY41" fmla="*/ 977992 h 1141935"/>
                <a:gd name="connsiteX42" fmla="*/ 986449 w 1228017"/>
                <a:gd name="connsiteY42" fmla="*/ 718036 h 1141935"/>
                <a:gd name="connsiteX43" fmla="*/ 943890 w 1228017"/>
                <a:gd name="connsiteY43" fmla="*/ 601064 h 1141935"/>
                <a:gd name="connsiteX44" fmla="*/ 1008827 w 1228017"/>
                <a:gd name="connsiteY44" fmla="*/ 473224 h 1141935"/>
                <a:gd name="connsiteX45" fmla="*/ 1035495 w 1228017"/>
                <a:gd name="connsiteY45" fmla="*/ 469567 h 1141935"/>
                <a:gd name="connsiteX46" fmla="*/ 1228006 w 1228017"/>
                <a:gd name="connsiteY46" fmla="*/ 143476 h 1141935"/>
                <a:gd name="connsiteX47" fmla="*/ 1181700 w 1228017"/>
                <a:gd name="connsiteY47" fmla="*/ -100 h 1141935"/>
                <a:gd name="connsiteX48" fmla="*/ 1067950 w 1228017"/>
                <a:gd name="connsiteY48" fmla="*/ 203585 h 1141935"/>
                <a:gd name="connsiteX49" fmla="*/ 1105419 w 1228017"/>
                <a:gd name="connsiteY49" fmla="*/ 307011 h 1141935"/>
                <a:gd name="connsiteX50" fmla="*/ 1064126 w 1228017"/>
                <a:gd name="connsiteY50" fmla="*/ 214916 h 1141935"/>
                <a:gd name="connsiteX51" fmla="*/ 1027200 w 1228017"/>
                <a:gd name="connsiteY51" fmla="*/ 277703 h 1141935"/>
                <a:gd name="connsiteX52" fmla="*/ 1066219 w 1228017"/>
                <a:gd name="connsiteY52" fmla="*/ 378683 h 1141935"/>
                <a:gd name="connsiteX53" fmla="*/ 1020921 w 1228017"/>
                <a:gd name="connsiteY53" fmla="*/ 287490 h 1141935"/>
                <a:gd name="connsiteX54" fmla="*/ 1018957 w 1228017"/>
                <a:gd name="connsiteY54" fmla="*/ 317364 h 1141935"/>
                <a:gd name="connsiteX55" fmla="*/ 1008336 w 1228017"/>
                <a:gd name="connsiteY55" fmla="*/ 307088 h 1141935"/>
                <a:gd name="connsiteX56" fmla="*/ 1038751 w 1228017"/>
                <a:gd name="connsiteY56" fmla="*/ 426739 h 1141935"/>
                <a:gd name="connsiteX57" fmla="*/ 992548 w 1228017"/>
                <a:gd name="connsiteY57" fmla="*/ 331580 h 1141935"/>
                <a:gd name="connsiteX58" fmla="*/ 928799 w 1228017"/>
                <a:gd name="connsiteY58" fmla="*/ 435933 h 1141935"/>
                <a:gd name="connsiteX59" fmla="*/ 930918 w 1228017"/>
                <a:gd name="connsiteY59" fmla="*/ 464931 h 1141935"/>
                <a:gd name="connsiteX60" fmla="*/ 912029 w 1228017"/>
                <a:gd name="connsiteY60" fmla="*/ 445925 h 1141935"/>
                <a:gd name="connsiteX61" fmla="*/ 847092 w 1228017"/>
                <a:gd name="connsiteY61" fmla="*/ 525349 h 1141935"/>
                <a:gd name="connsiteX62" fmla="*/ 800682 w 1228017"/>
                <a:gd name="connsiteY62" fmla="*/ 554399 h 1141935"/>
                <a:gd name="connsiteX63" fmla="*/ 549978 w 1228017"/>
                <a:gd name="connsiteY63" fmla="*/ 933207 h 1141935"/>
                <a:gd name="connsiteX64" fmla="*/ 542665 w 1228017"/>
                <a:gd name="connsiteY64" fmla="*/ 928468 h 1141935"/>
                <a:gd name="connsiteX65" fmla="*/ 831122 w 1228017"/>
                <a:gd name="connsiteY65" fmla="*/ 490968 h 1141935"/>
                <a:gd name="connsiteX66" fmla="*/ 729543 w 1228017"/>
                <a:gd name="connsiteY66" fmla="*/ 287850 h 1141935"/>
                <a:gd name="connsiteX67" fmla="*/ 378448 w 1228017"/>
                <a:gd name="connsiteY67" fmla="*/ 844203 h 1141935"/>
                <a:gd name="connsiteX68" fmla="*/ 299299 w 1228017"/>
                <a:gd name="connsiteY68" fmla="*/ 810903 h 1141935"/>
                <a:gd name="connsiteX69" fmla="*/ 709698 w 1228017"/>
                <a:gd name="connsiteY69" fmla="*/ 264801 h 1141935"/>
                <a:gd name="connsiteX70" fmla="*/ 610496 w 1228017"/>
                <a:gd name="connsiteY70" fmla="*/ 149554 h 1141935"/>
                <a:gd name="connsiteX71" fmla="*/ 128519 w 1228017"/>
                <a:gd name="connsiteY71" fmla="*/ 763929 h 1141935"/>
                <a:gd name="connsiteX72" fmla="*/ -11 w 1228017"/>
                <a:gd name="connsiteY72" fmla="*/ 775081 h 1141935"/>
                <a:gd name="connsiteX73" fmla="*/ 121491 w 1228017"/>
                <a:gd name="connsiteY73" fmla="*/ 780231 h 1141935"/>
                <a:gd name="connsiteX74" fmla="*/ 112421 w 1228017"/>
                <a:gd name="connsiteY74" fmla="*/ 815823 h 1141935"/>
                <a:gd name="connsiteX75" fmla="*/ 29989 w 1228017"/>
                <a:gd name="connsiteY75" fmla="*/ 960068 h 1141935"/>
                <a:gd name="connsiteX76" fmla="*/ 77174 w 1228017"/>
                <a:gd name="connsiteY76" fmla="*/ 972970 h 1141935"/>
                <a:gd name="connsiteX77" fmla="*/ 209736 w 1228017"/>
                <a:gd name="connsiteY77" fmla="*/ 874618 h 1141935"/>
                <a:gd name="connsiteX78" fmla="*/ 229400 w 1228017"/>
                <a:gd name="connsiteY78" fmla="*/ 887211 h 1141935"/>
                <a:gd name="connsiteX79" fmla="*/ 288265 w 1228017"/>
                <a:gd name="connsiteY79" fmla="*/ 828055 h 1141935"/>
                <a:gd name="connsiteX80" fmla="*/ 372996 w 1228017"/>
                <a:gd name="connsiteY80" fmla="*/ 858032 h 1141935"/>
                <a:gd name="connsiteX81" fmla="*/ 329455 w 1228017"/>
                <a:gd name="connsiteY81" fmla="*/ 958008 h 1141935"/>
                <a:gd name="connsiteX82" fmla="*/ 347517 w 1228017"/>
                <a:gd name="connsiteY82" fmla="*/ 973022 h 1141935"/>
                <a:gd name="connsiteX83" fmla="*/ 317594 w 1228017"/>
                <a:gd name="connsiteY83" fmla="*/ 1067898 h 1141935"/>
                <a:gd name="connsiteX84" fmla="*/ 97071 w 1228017"/>
                <a:gd name="connsiteY84" fmla="*/ 1044385 h 1141935"/>
                <a:gd name="connsiteX85" fmla="*/ 270022 w 1228017"/>
                <a:gd name="connsiteY85" fmla="*/ 1071992 h 1141935"/>
                <a:gd name="connsiteX86" fmla="*/ 319791 w 1228017"/>
                <a:gd name="connsiteY86" fmla="*/ 1096948 h 1141935"/>
                <a:gd name="connsiteX87" fmla="*/ 240719 w 1228017"/>
                <a:gd name="connsiteY87" fmla="*/ 1112091 h 1141935"/>
                <a:gd name="connsiteX88" fmla="*/ 335993 w 1228017"/>
                <a:gd name="connsiteY88" fmla="*/ 1141836 h 1141935"/>
                <a:gd name="connsiteX89" fmla="*/ 454885 w 1228017"/>
                <a:gd name="connsiteY89" fmla="*/ 1134908 h 1141935"/>
                <a:gd name="connsiteX90" fmla="*/ 427132 w 1228017"/>
                <a:gd name="connsiteY90" fmla="*/ 1124092 h 1141935"/>
                <a:gd name="connsiteX91" fmla="*/ 567032 w 1228017"/>
                <a:gd name="connsiteY91" fmla="*/ 1116752 h 1141935"/>
                <a:gd name="connsiteX92" fmla="*/ 408682 w 1228017"/>
                <a:gd name="connsiteY92" fmla="*/ 1088140 h 1141935"/>
                <a:gd name="connsiteX93" fmla="*/ 437520 w 1228017"/>
                <a:gd name="connsiteY93" fmla="*/ 1027078 h 1141935"/>
                <a:gd name="connsiteX94" fmla="*/ 456978 w 1228017"/>
                <a:gd name="connsiteY94" fmla="*/ 1029190 h 1141935"/>
                <a:gd name="connsiteX95" fmla="*/ 537910 w 1228017"/>
                <a:gd name="connsiteY95" fmla="*/ 935885 h 1141935"/>
                <a:gd name="connsiteX96" fmla="*/ 577730 w 1228017"/>
                <a:gd name="connsiteY96" fmla="*/ 992363 h 1141935"/>
                <a:gd name="connsiteX97" fmla="*/ 621659 w 1228017"/>
                <a:gd name="connsiteY97" fmla="*/ 1048042 h 1141935"/>
                <a:gd name="connsiteX98" fmla="*/ 798486 w 1228017"/>
                <a:gd name="connsiteY98" fmla="*/ 977992 h 114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28017" h="1141935">
                  <a:moveTo>
                    <a:pt x="629954" y="970395"/>
                  </a:moveTo>
                  <a:cubicBezTo>
                    <a:pt x="714504" y="843559"/>
                    <a:pt x="790630" y="711057"/>
                    <a:pt x="870090" y="591870"/>
                  </a:cubicBezTo>
                  <a:cubicBezTo>
                    <a:pt x="877919" y="576238"/>
                    <a:pt x="894793" y="601682"/>
                    <a:pt x="906783" y="604953"/>
                  </a:cubicBezTo>
                  <a:cubicBezTo>
                    <a:pt x="810605" y="708945"/>
                    <a:pt x="734530" y="904646"/>
                    <a:pt x="629954" y="970395"/>
                  </a:cubicBezTo>
                  <a:close/>
                  <a:moveTo>
                    <a:pt x="649877" y="858728"/>
                  </a:moveTo>
                  <a:cubicBezTo>
                    <a:pt x="657293" y="857955"/>
                    <a:pt x="637499" y="881030"/>
                    <a:pt x="633391" y="889761"/>
                  </a:cubicBezTo>
                  <a:cubicBezTo>
                    <a:pt x="625923" y="890534"/>
                    <a:pt x="645743" y="867484"/>
                    <a:pt x="649877" y="858728"/>
                  </a:cubicBezTo>
                  <a:close/>
                  <a:moveTo>
                    <a:pt x="725435" y="741292"/>
                  </a:moveTo>
                  <a:cubicBezTo>
                    <a:pt x="731766" y="742734"/>
                    <a:pt x="709672" y="768513"/>
                    <a:pt x="704297" y="779510"/>
                  </a:cubicBezTo>
                  <a:cubicBezTo>
                    <a:pt x="697966" y="777991"/>
                    <a:pt x="720060" y="752314"/>
                    <a:pt x="725435" y="741292"/>
                  </a:cubicBezTo>
                  <a:close/>
                  <a:moveTo>
                    <a:pt x="774092" y="654889"/>
                  </a:moveTo>
                  <a:cubicBezTo>
                    <a:pt x="789364" y="628620"/>
                    <a:pt x="814352" y="591201"/>
                    <a:pt x="834817" y="565911"/>
                  </a:cubicBezTo>
                  <a:cubicBezTo>
                    <a:pt x="817479" y="593492"/>
                    <a:pt x="767038" y="679381"/>
                    <a:pt x="749105" y="704516"/>
                  </a:cubicBezTo>
                  <a:cubicBezTo>
                    <a:pt x="714814" y="752572"/>
                    <a:pt x="767296" y="666478"/>
                    <a:pt x="774092" y="654889"/>
                  </a:cubicBezTo>
                  <a:close/>
                  <a:moveTo>
                    <a:pt x="897636" y="505853"/>
                  </a:moveTo>
                  <a:cubicBezTo>
                    <a:pt x="915130" y="517829"/>
                    <a:pt x="931952" y="527306"/>
                    <a:pt x="945777" y="522799"/>
                  </a:cubicBezTo>
                  <a:cubicBezTo>
                    <a:pt x="951332" y="536964"/>
                    <a:pt x="926525" y="557824"/>
                    <a:pt x="919187" y="574898"/>
                  </a:cubicBezTo>
                  <a:cubicBezTo>
                    <a:pt x="900995" y="563387"/>
                    <a:pt x="887765" y="550793"/>
                    <a:pt x="873216" y="538560"/>
                  </a:cubicBezTo>
                  <a:cubicBezTo>
                    <a:pt x="880659" y="524267"/>
                    <a:pt x="889470" y="516387"/>
                    <a:pt x="897636" y="505853"/>
                  </a:cubicBezTo>
                  <a:close/>
                  <a:moveTo>
                    <a:pt x="904638" y="759088"/>
                  </a:moveTo>
                  <a:cubicBezTo>
                    <a:pt x="903527" y="748786"/>
                    <a:pt x="912804" y="732252"/>
                    <a:pt x="922675" y="725660"/>
                  </a:cubicBezTo>
                  <a:cubicBezTo>
                    <a:pt x="924587" y="735060"/>
                    <a:pt x="909367" y="748168"/>
                    <a:pt x="904638" y="759088"/>
                  </a:cubicBezTo>
                  <a:close/>
                  <a:moveTo>
                    <a:pt x="698431" y="1041835"/>
                  </a:moveTo>
                  <a:cubicBezTo>
                    <a:pt x="703083" y="1030555"/>
                    <a:pt x="725822" y="1019069"/>
                    <a:pt x="736598" y="1004055"/>
                  </a:cubicBezTo>
                  <a:cubicBezTo>
                    <a:pt x="733962" y="1024374"/>
                    <a:pt x="710628" y="1033182"/>
                    <a:pt x="698431" y="1041835"/>
                  </a:cubicBezTo>
                  <a:close/>
                  <a:moveTo>
                    <a:pt x="595405" y="937997"/>
                  </a:moveTo>
                  <a:cubicBezTo>
                    <a:pt x="586826" y="941809"/>
                    <a:pt x="602770" y="922468"/>
                    <a:pt x="605535" y="916828"/>
                  </a:cubicBezTo>
                  <a:cubicBezTo>
                    <a:pt x="614062" y="913068"/>
                    <a:pt x="598093" y="932306"/>
                    <a:pt x="595405" y="937997"/>
                  </a:cubicBezTo>
                  <a:close/>
                  <a:moveTo>
                    <a:pt x="538272" y="638870"/>
                  </a:moveTo>
                  <a:cubicBezTo>
                    <a:pt x="535791" y="630294"/>
                    <a:pt x="550469" y="617959"/>
                    <a:pt x="554706" y="607966"/>
                  </a:cubicBezTo>
                  <a:cubicBezTo>
                    <a:pt x="557885" y="607425"/>
                    <a:pt x="546980" y="636501"/>
                    <a:pt x="538272" y="638870"/>
                  </a:cubicBezTo>
                  <a:close/>
                  <a:moveTo>
                    <a:pt x="366019" y="1057390"/>
                  </a:moveTo>
                  <a:cubicBezTo>
                    <a:pt x="364882" y="1038668"/>
                    <a:pt x="377286" y="1017086"/>
                    <a:pt x="388371" y="995659"/>
                  </a:cubicBezTo>
                  <a:cubicBezTo>
                    <a:pt x="385865" y="1015257"/>
                    <a:pt x="378423" y="1035757"/>
                    <a:pt x="366019" y="1057390"/>
                  </a:cubicBezTo>
                  <a:close/>
                  <a:moveTo>
                    <a:pt x="545688" y="422541"/>
                  </a:moveTo>
                  <a:cubicBezTo>
                    <a:pt x="549228" y="429546"/>
                    <a:pt x="535714" y="440182"/>
                    <a:pt x="532458" y="448578"/>
                  </a:cubicBezTo>
                  <a:cubicBezTo>
                    <a:pt x="521941" y="440105"/>
                    <a:pt x="542355" y="429546"/>
                    <a:pt x="545688" y="422541"/>
                  </a:cubicBezTo>
                  <a:close/>
                  <a:moveTo>
                    <a:pt x="667965" y="286459"/>
                  </a:moveTo>
                  <a:cubicBezTo>
                    <a:pt x="673237" y="290940"/>
                    <a:pt x="668637" y="297585"/>
                    <a:pt x="671480" y="302530"/>
                  </a:cubicBezTo>
                  <a:cubicBezTo>
                    <a:pt x="664968" y="311569"/>
                    <a:pt x="655149" y="305208"/>
                    <a:pt x="649050" y="315844"/>
                  </a:cubicBezTo>
                  <a:cubicBezTo>
                    <a:pt x="646466" y="303405"/>
                    <a:pt x="663392" y="298306"/>
                    <a:pt x="667965" y="286459"/>
                  </a:cubicBezTo>
                  <a:close/>
                  <a:moveTo>
                    <a:pt x="798486" y="977992"/>
                  </a:moveTo>
                  <a:cubicBezTo>
                    <a:pt x="849624" y="910441"/>
                    <a:pt x="950867" y="792232"/>
                    <a:pt x="986449" y="718036"/>
                  </a:cubicBezTo>
                  <a:cubicBezTo>
                    <a:pt x="1010094" y="668719"/>
                    <a:pt x="968878" y="634106"/>
                    <a:pt x="943890" y="601064"/>
                  </a:cubicBezTo>
                  <a:cubicBezTo>
                    <a:pt x="974485" y="556923"/>
                    <a:pt x="976217" y="511133"/>
                    <a:pt x="1008827" y="473224"/>
                  </a:cubicBezTo>
                  <a:cubicBezTo>
                    <a:pt x="1016967" y="468434"/>
                    <a:pt x="1028750" y="480589"/>
                    <a:pt x="1035495" y="469567"/>
                  </a:cubicBezTo>
                  <a:cubicBezTo>
                    <a:pt x="1115419" y="365858"/>
                    <a:pt x="1156325" y="252439"/>
                    <a:pt x="1228006" y="143476"/>
                  </a:cubicBezTo>
                  <a:cubicBezTo>
                    <a:pt x="1214208" y="95266"/>
                    <a:pt x="1201804" y="46720"/>
                    <a:pt x="1181700" y="-100"/>
                  </a:cubicBezTo>
                  <a:cubicBezTo>
                    <a:pt x="1143766" y="67761"/>
                    <a:pt x="1105626" y="135724"/>
                    <a:pt x="1067950" y="203585"/>
                  </a:cubicBezTo>
                  <a:cubicBezTo>
                    <a:pt x="1080018" y="238172"/>
                    <a:pt x="1101207" y="270698"/>
                    <a:pt x="1105419" y="307011"/>
                  </a:cubicBezTo>
                  <a:cubicBezTo>
                    <a:pt x="1087434" y="277266"/>
                    <a:pt x="1081930" y="244713"/>
                    <a:pt x="1064126" y="214916"/>
                  </a:cubicBezTo>
                  <a:cubicBezTo>
                    <a:pt x="1049268" y="236343"/>
                    <a:pt x="1043893" y="255813"/>
                    <a:pt x="1027200" y="277703"/>
                  </a:cubicBezTo>
                  <a:cubicBezTo>
                    <a:pt x="1039526" y="311492"/>
                    <a:pt x="1069682" y="341392"/>
                    <a:pt x="1066219" y="378683"/>
                  </a:cubicBezTo>
                  <a:cubicBezTo>
                    <a:pt x="1049965" y="348525"/>
                    <a:pt x="1040895" y="316823"/>
                    <a:pt x="1020921" y="287490"/>
                  </a:cubicBezTo>
                  <a:cubicBezTo>
                    <a:pt x="1003039" y="299851"/>
                    <a:pt x="1028311" y="313835"/>
                    <a:pt x="1018957" y="317364"/>
                  </a:cubicBezTo>
                  <a:cubicBezTo>
                    <a:pt x="1018052" y="314067"/>
                    <a:pt x="1013091" y="296426"/>
                    <a:pt x="1008336" y="307088"/>
                  </a:cubicBezTo>
                  <a:cubicBezTo>
                    <a:pt x="993013" y="352517"/>
                    <a:pt x="1048182" y="382623"/>
                    <a:pt x="1038751" y="426739"/>
                  </a:cubicBezTo>
                  <a:cubicBezTo>
                    <a:pt x="1019319" y="395912"/>
                    <a:pt x="1013324" y="362123"/>
                    <a:pt x="992548" y="331580"/>
                  </a:cubicBezTo>
                  <a:cubicBezTo>
                    <a:pt x="967793" y="367119"/>
                    <a:pt x="954511" y="400213"/>
                    <a:pt x="928799" y="435933"/>
                  </a:cubicBezTo>
                  <a:cubicBezTo>
                    <a:pt x="924381" y="446260"/>
                    <a:pt x="943218" y="459677"/>
                    <a:pt x="930918" y="464931"/>
                  </a:cubicBezTo>
                  <a:cubicBezTo>
                    <a:pt x="923476" y="458956"/>
                    <a:pt x="926551" y="443813"/>
                    <a:pt x="912029" y="445925"/>
                  </a:cubicBezTo>
                  <a:cubicBezTo>
                    <a:pt x="887842" y="460965"/>
                    <a:pt x="867273" y="492281"/>
                    <a:pt x="847092" y="525349"/>
                  </a:cubicBezTo>
                  <a:cubicBezTo>
                    <a:pt x="828461" y="530165"/>
                    <a:pt x="813654" y="538869"/>
                    <a:pt x="800682" y="554399"/>
                  </a:cubicBezTo>
                  <a:cubicBezTo>
                    <a:pt x="709930" y="661997"/>
                    <a:pt x="651557" y="841885"/>
                    <a:pt x="549978" y="933207"/>
                  </a:cubicBezTo>
                  <a:cubicBezTo>
                    <a:pt x="547549" y="931636"/>
                    <a:pt x="545068" y="930039"/>
                    <a:pt x="542665" y="928468"/>
                  </a:cubicBezTo>
                  <a:cubicBezTo>
                    <a:pt x="628610" y="774797"/>
                    <a:pt x="738355" y="646184"/>
                    <a:pt x="831122" y="490968"/>
                  </a:cubicBezTo>
                  <a:cubicBezTo>
                    <a:pt x="795902" y="423545"/>
                    <a:pt x="765487" y="355067"/>
                    <a:pt x="729543" y="287850"/>
                  </a:cubicBezTo>
                  <a:cubicBezTo>
                    <a:pt x="609773" y="478503"/>
                    <a:pt x="482379" y="657954"/>
                    <a:pt x="378448" y="844203"/>
                  </a:cubicBezTo>
                  <a:cubicBezTo>
                    <a:pt x="351523" y="830631"/>
                    <a:pt x="326561" y="826201"/>
                    <a:pt x="299299" y="810903"/>
                  </a:cubicBezTo>
                  <a:cubicBezTo>
                    <a:pt x="440672" y="649738"/>
                    <a:pt x="568221" y="425657"/>
                    <a:pt x="709698" y="264801"/>
                  </a:cubicBezTo>
                  <a:cubicBezTo>
                    <a:pt x="721559" y="216564"/>
                    <a:pt x="648947" y="186768"/>
                    <a:pt x="610496" y="149554"/>
                  </a:cubicBezTo>
                  <a:cubicBezTo>
                    <a:pt x="449251" y="351616"/>
                    <a:pt x="291857" y="571602"/>
                    <a:pt x="128519" y="763929"/>
                  </a:cubicBezTo>
                  <a:cubicBezTo>
                    <a:pt x="85882" y="762229"/>
                    <a:pt x="26785" y="736888"/>
                    <a:pt x="-11" y="775081"/>
                  </a:cubicBezTo>
                  <a:cubicBezTo>
                    <a:pt x="39137" y="770677"/>
                    <a:pt x="79784" y="772994"/>
                    <a:pt x="121491" y="780231"/>
                  </a:cubicBezTo>
                  <a:cubicBezTo>
                    <a:pt x="106891" y="794550"/>
                    <a:pt x="114643" y="804105"/>
                    <a:pt x="112421" y="815823"/>
                  </a:cubicBezTo>
                  <a:cubicBezTo>
                    <a:pt x="79500" y="858702"/>
                    <a:pt x="35648" y="921927"/>
                    <a:pt x="29989" y="960068"/>
                  </a:cubicBezTo>
                  <a:cubicBezTo>
                    <a:pt x="51670" y="970858"/>
                    <a:pt x="58853" y="964832"/>
                    <a:pt x="77174" y="972970"/>
                  </a:cubicBezTo>
                  <a:cubicBezTo>
                    <a:pt x="122679" y="946109"/>
                    <a:pt x="169890" y="926923"/>
                    <a:pt x="209736" y="874618"/>
                  </a:cubicBezTo>
                  <a:cubicBezTo>
                    <a:pt x="216299" y="878790"/>
                    <a:pt x="222863" y="883013"/>
                    <a:pt x="229400" y="887211"/>
                  </a:cubicBezTo>
                  <a:cubicBezTo>
                    <a:pt x="249246" y="868540"/>
                    <a:pt x="268549" y="847113"/>
                    <a:pt x="288265" y="828055"/>
                  </a:cubicBezTo>
                  <a:cubicBezTo>
                    <a:pt x="316354" y="837198"/>
                    <a:pt x="343745" y="843533"/>
                    <a:pt x="372996" y="858032"/>
                  </a:cubicBezTo>
                  <a:cubicBezTo>
                    <a:pt x="351316" y="892877"/>
                    <a:pt x="341290" y="925326"/>
                    <a:pt x="329455" y="958008"/>
                  </a:cubicBezTo>
                  <a:cubicBezTo>
                    <a:pt x="334390" y="963287"/>
                    <a:pt x="349249" y="966403"/>
                    <a:pt x="347517" y="973022"/>
                  </a:cubicBezTo>
                  <a:cubicBezTo>
                    <a:pt x="335889" y="1005034"/>
                    <a:pt x="329713" y="1035835"/>
                    <a:pt x="317594" y="1067898"/>
                  </a:cubicBezTo>
                  <a:cubicBezTo>
                    <a:pt x="240538" y="1043664"/>
                    <a:pt x="165988" y="1031431"/>
                    <a:pt x="97071" y="1044385"/>
                  </a:cubicBezTo>
                  <a:cubicBezTo>
                    <a:pt x="152060" y="1057313"/>
                    <a:pt x="212888" y="1059116"/>
                    <a:pt x="270022" y="1071992"/>
                  </a:cubicBezTo>
                  <a:cubicBezTo>
                    <a:pt x="286405" y="1075727"/>
                    <a:pt x="315811" y="1075006"/>
                    <a:pt x="319791" y="1096948"/>
                  </a:cubicBezTo>
                  <a:cubicBezTo>
                    <a:pt x="294777" y="1101712"/>
                    <a:pt x="255732" y="1093935"/>
                    <a:pt x="240719" y="1112091"/>
                  </a:cubicBezTo>
                  <a:cubicBezTo>
                    <a:pt x="273019" y="1121079"/>
                    <a:pt x="311082" y="1109850"/>
                    <a:pt x="335993" y="1141836"/>
                  </a:cubicBezTo>
                  <a:cubicBezTo>
                    <a:pt x="368862" y="1115413"/>
                    <a:pt x="425995" y="1148043"/>
                    <a:pt x="454885" y="1134908"/>
                  </a:cubicBezTo>
                  <a:cubicBezTo>
                    <a:pt x="447468" y="1136840"/>
                    <a:pt x="425065" y="1138952"/>
                    <a:pt x="427132" y="1124092"/>
                  </a:cubicBezTo>
                  <a:cubicBezTo>
                    <a:pt x="472870" y="1117576"/>
                    <a:pt x="521036" y="1122109"/>
                    <a:pt x="567032" y="1116752"/>
                  </a:cubicBezTo>
                  <a:cubicBezTo>
                    <a:pt x="531993" y="1111421"/>
                    <a:pt x="462120" y="1113147"/>
                    <a:pt x="408682" y="1088140"/>
                  </a:cubicBezTo>
                  <a:cubicBezTo>
                    <a:pt x="423178" y="1066739"/>
                    <a:pt x="433101" y="1046316"/>
                    <a:pt x="437520" y="1027078"/>
                  </a:cubicBezTo>
                  <a:cubicBezTo>
                    <a:pt x="442869" y="1022623"/>
                    <a:pt x="453024" y="1040187"/>
                    <a:pt x="456978" y="1029190"/>
                  </a:cubicBezTo>
                  <a:cubicBezTo>
                    <a:pt x="485687" y="1006038"/>
                    <a:pt x="508969" y="958008"/>
                    <a:pt x="537910" y="935885"/>
                  </a:cubicBezTo>
                  <a:cubicBezTo>
                    <a:pt x="566386" y="947758"/>
                    <a:pt x="568454" y="976267"/>
                    <a:pt x="577730" y="992363"/>
                  </a:cubicBezTo>
                  <a:cubicBezTo>
                    <a:pt x="589049" y="1011910"/>
                    <a:pt x="602511" y="1032332"/>
                    <a:pt x="621659" y="1048042"/>
                  </a:cubicBezTo>
                  <a:cubicBezTo>
                    <a:pt x="706571" y="1117550"/>
                    <a:pt x="746650" y="1046316"/>
                    <a:pt x="798486" y="977992"/>
                  </a:cubicBezTo>
                  <a:close/>
                </a:path>
              </a:pathLst>
            </a:custGeom>
            <a:grpFill/>
            <a:ln w="25598" cap="flat">
              <a:noFill/>
              <a:prstDash val="solid"/>
              <a:round/>
            </a:ln>
          </p:spPr>
          <p:txBody>
            <a:bodyPr rtlCol="0" anchor="ctr"/>
            <a:lstStyle/>
            <a:p>
              <a:endParaRPr lang="en-LT"/>
            </a:p>
          </p:txBody>
        </p:sp>
        <p:sp>
          <p:nvSpPr>
            <p:cNvPr id="336" name="Freeform 335">
              <a:extLst>
                <a:ext uri="{FF2B5EF4-FFF2-40B4-BE49-F238E27FC236}">
                  <a16:creationId xmlns:a16="http://schemas.microsoft.com/office/drawing/2014/main" id="{94C858F3-2112-5140-B489-8047D45FCA1E}"/>
                </a:ext>
              </a:extLst>
            </p:cNvPr>
            <p:cNvSpPr/>
            <p:nvPr/>
          </p:nvSpPr>
          <p:spPr>
            <a:xfrm rot="-1917689">
              <a:off x="5495934" y="2325758"/>
              <a:ext cx="395075" cy="751126"/>
            </a:xfrm>
            <a:custGeom>
              <a:avLst/>
              <a:gdLst>
                <a:gd name="connsiteX0" fmla="*/ 316309 w 395075"/>
                <a:gd name="connsiteY0" fmla="*/ 600109 h 751126"/>
                <a:gd name="connsiteX1" fmla="*/ 296722 w 395075"/>
                <a:gd name="connsiteY1" fmla="*/ 635983 h 751126"/>
                <a:gd name="connsiteX2" fmla="*/ 288350 w 395075"/>
                <a:gd name="connsiteY2" fmla="*/ 616797 h 751126"/>
                <a:gd name="connsiteX3" fmla="*/ 316309 w 395075"/>
                <a:gd name="connsiteY3" fmla="*/ 600109 h 751126"/>
                <a:gd name="connsiteX4" fmla="*/ 395045 w 395075"/>
                <a:gd name="connsiteY4" fmla="*/ 564054 h 751126"/>
                <a:gd name="connsiteX5" fmla="*/ 277032 w 395075"/>
                <a:gd name="connsiteY5" fmla="*/ 257175 h 751126"/>
                <a:gd name="connsiteX6" fmla="*/ 234317 w 395075"/>
                <a:gd name="connsiteY6" fmla="*/ 129618 h 751126"/>
                <a:gd name="connsiteX7" fmla="*/ 182585 w 395075"/>
                <a:gd name="connsiteY7" fmla="*/ -102 h 751126"/>
                <a:gd name="connsiteX8" fmla="*/ -30 w 395075"/>
                <a:gd name="connsiteY8" fmla="*/ 197530 h 751126"/>
                <a:gd name="connsiteX9" fmla="*/ 56871 w 395075"/>
                <a:gd name="connsiteY9" fmla="*/ 303016 h 751126"/>
                <a:gd name="connsiteX10" fmla="*/ 77646 w 395075"/>
                <a:gd name="connsiteY10" fmla="*/ 330135 h 751126"/>
                <a:gd name="connsiteX11" fmla="*/ 157623 w 395075"/>
                <a:gd name="connsiteY11" fmla="*/ 232709 h 751126"/>
                <a:gd name="connsiteX12" fmla="*/ 88680 w 395075"/>
                <a:gd name="connsiteY12" fmla="*/ 361348 h 751126"/>
                <a:gd name="connsiteX13" fmla="*/ 271347 w 395075"/>
                <a:gd name="connsiteY13" fmla="*/ 751024 h 751126"/>
                <a:gd name="connsiteX14" fmla="*/ 395045 w 395075"/>
                <a:gd name="connsiteY14" fmla="*/ 564054 h 75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5075" h="751126">
                  <a:moveTo>
                    <a:pt x="316309" y="600109"/>
                  </a:moveTo>
                  <a:cubicBezTo>
                    <a:pt x="317756" y="610384"/>
                    <a:pt x="301994" y="624342"/>
                    <a:pt x="296722" y="635983"/>
                  </a:cubicBezTo>
                  <a:cubicBezTo>
                    <a:pt x="293492" y="629699"/>
                    <a:pt x="291554" y="623081"/>
                    <a:pt x="288350" y="616797"/>
                  </a:cubicBezTo>
                  <a:cubicBezTo>
                    <a:pt x="296774" y="607294"/>
                    <a:pt x="307420" y="607783"/>
                    <a:pt x="316309" y="600109"/>
                  </a:cubicBezTo>
                  <a:close/>
                  <a:moveTo>
                    <a:pt x="395045" y="564054"/>
                  </a:moveTo>
                  <a:cubicBezTo>
                    <a:pt x="350470" y="462894"/>
                    <a:pt x="333829" y="355656"/>
                    <a:pt x="277032" y="257175"/>
                  </a:cubicBezTo>
                  <a:cubicBezTo>
                    <a:pt x="274319" y="212004"/>
                    <a:pt x="250054" y="172008"/>
                    <a:pt x="234317" y="129618"/>
                  </a:cubicBezTo>
                  <a:cubicBezTo>
                    <a:pt x="218296" y="86713"/>
                    <a:pt x="202559" y="38322"/>
                    <a:pt x="182585" y="-102"/>
                  </a:cubicBezTo>
                  <a:cubicBezTo>
                    <a:pt x="114495" y="32888"/>
                    <a:pt x="57026" y="114295"/>
                    <a:pt x="-30" y="197530"/>
                  </a:cubicBezTo>
                  <a:cubicBezTo>
                    <a:pt x="24467" y="228280"/>
                    <a:pt x="40669" y="270953"/>
                    <a:pt x="56871" y="303016"/>
                  </a:cubicBezTo>
                  <a:cubicBezTo>
                    <a:pt x="62375" y="313807"/>
                    <a:pt x="69016" y="328100"/>
                    <a:pt x="77646" y="330135"/>
                  </a:cubicBezTo>
                  <a:cubicBezTo>
                    <a:pt x="103900" y="295908"/>
                    <a:pt x="127441" y="249346"/>
                    <a:pt x="157623" y="232709"/>
                  </a:cubicBezTo>
                  <a:cubicBezTo>
                    <a:pt x="159380" y="270206"/>
                    <a:pt x="111368" y="318520"/>
                    <a:pt x="88680" y="361348"/>
                  </a:cubicBezTo>
                  <a:cubicBezTo>
                    <a:pt x="152868" y="490450"/>
                    <a:pt x="216022" y="619861"/>
                    <a:pt x="271347" y="751024"/>
                  </a:cubicBezTo>
                  <a:cubicBezTo>
                    <a:pt x="310831" y="676416"/>
                    <a:pt x="366827" y="634824"/>
                    <a:pt x="395045" y="564054"/>
                  </a:cubicBezTo>
                  <a:close/>
                </a:path>
              </a:pathLst>
            </a:custGeom>
            <a:grpFill/>
            <a:ln w="25598" cap="flat">
              <a:noFill/>
              <a:prstDash val="solid"/>
              <a:round/>
            </a:ln>
          </p:spPr>
          <p:txBody>
            <a:bodyPr rtlCol="0" anchor="ctr"/>
            <a:lstStyle/>
            <a:p>
              <a:endParaRPr lang="en-LT"/>
            </a:p>
          </p:txBody>
        </p:sp>
        <p:sp>
          <p:nvSpPr>
            <p:cNvPr id="337" name="Freeform 336">
              <a:extLst>
                <a:ext uri="{FF2B5EF4-FFF2-40B4-BE49-F238E27FC236}">
                  <a16:creationId xmlns:a16="http://schemas.microsoft.com/office/drawing/2014/main" id="{941D3A01-F7F1-C547-AE77-B7B52A67F2D2}"/>
                </a:ext>
              </a:extLst>
            </p:cNvPr>
            <p:cNvSpPr/>
            <p:nvPr/>
          </p:nvSpPr>
          <p:spPr>
            <a:xfrm rot="-1917689">
              <a:off x="5665027" y="2786882"/>
              <a:ext cx="213111" cy="395419"/>
            </a:xfrm>
            <a:custGeom>
              <a:avLst/>
              <a:gdLst>
                <a:gd name="connsiteX0" fmla="*/ 210447 w 213111"/>
                <a:gd name="connsiteY0" fmla="*/ 391789 h 395419"/>
                <a:gd name="connsiteX1" fmla="*/ 197346 w 213111"/>
                <a:gd name="connsiteY1" fmla="*/ 341982 h 395419"/>
                <a:gd name="connsiteX2" fmla="*/ 18866 w 213111"/>
                <a:gd name="connsiteY2" fmla="*/ -102 h 395419"/>
                <a:gd name="connsiteX3" fmla="*/ -24 w 213111"/>
                <a:gd name="connsiteY3" fmla="*/ 29257 h 395419"/>
                <a:gd name="connsiteX4" fmla="*/ 128765 w 213111"/>
                <a:gd name="connsiteY4" fmla="*/ 260085 h 395419"/>
                <a:gd name="connsiteX5" fmla="*/ 130497 w 213111"/>
                <a:gd name="connsiteY5" fmla="*/ 270309 h 395419"/>
                <a:gd name="connsiteX6" fmla="*/ 204866 w 213111"/>
                <a:gd name="connsiteY6" fmla="*/ 395111 h 395419"/>
                <a:gd name="connsiteX7" fmla="*/ 210447 w 213111"/>
                <a:gd name="connsiteY7" fmla="*/ 391789 h 395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111" h="395419">
                  <a:moveTo>
                    <a:pt x="210447" y="391789"/>
                  </a:moveTo>
                  <a:cubicBezTo>
                    <a:pt x="219181" y="374405"/>
                    <a:pt x="204013" y="355785"/>
                    <a:pt x="197346" y="341982"/>
                  </a:cubicBezTo>
                  <a:cubicBezTo>
                    <a:pt x="141841" y="226220"/>
                    <a:pt x="82330" y="110999"/>
                    <a:pt x="18866" y="-102"/>
                  </a:cubicBezTo>
                  <a:cubicBezTo>
                    <a:pt x="12561" y="9684"/>
                    <a:pt x="6255" y="19496"/>
                    <a:pt x="-24" y="29257"/>
                  </a:cubicBezTo>
                  <a:cubicBezTo>
                    <a:pt x="44990" y="105745"/>
                    <a:pt x="77549" y="184937"/>
                    <a:pt x="128765" y="260085"/>
                  </a:cubicBezTo>
                  <a:cubicBezTo>
                    <a:pt x="128972" y="263099"/>
                    <a:pt x="129670" y="266627"/>
                    <a:pt x="130497" y="270309"/>
                  </a:cubicBezTo>
                  <a:cubicBezTo>
                    <a:pt x="159231" y="311051"/>
                    <a:pt x="177552" y="354060"/>
                    <a:pt x="204866" y="395111"/>
                  </a:cubicBezTo>
                  <a:cubicBezTo>
                    <a:pt x="207036" y="395755"/>
                    <a:pt x="209026" y="394956"/>
                    <a:pt x="210447" y="391789"/>
                  </a:cubicBezTo>
                  <a:close/>
                </a:path>
              </a:pathLst>
            </a:custGeom>
            <a:grpFill/>
            <a:ln w="25598" cap="flat">
              <a:noFill/>
              <a:prstDash val="solid"/>
              <a:round/>
            </a:ln>
          </p:spPr>
          <p:txBody>
            <a:bodyPr rtlCol="0" anchor="ctr"/>
            <a:lstStyle/>
            <a:p>
              <a:endParaRPr lang="en-LT"/>
            </a:p>
          </p:txBody>
        </p:sp>
        <p:sp>
          <p:nvSpPr>
            <p:cNvPr id="338" name="Freeform 337">
              <a:extLst>
                <a:ext uri="{FF2B5EF4-FFF2-40B4-BE49-F238E27FC236}">
                  <a16:creationId xmlns:a16="http://schemas.microsoft.com/office/drawing/2014/main" id="{6046DC4E-892A-4144-9962-3FAE462C258A}"/>
                </a:ext>
              </a:extLst>
            </p:cNvPr>
            <p:cNvSpPr/>
            <p:nvPr/>
          </p:nvSpPr>
          <p:spPr>
            <a:xfrm rot="-1917689">
              <a:off x="5827547" y="3030662"/>
              <a:ext cx="2661" cy="4893"/>
            </a:xfrm>
            <a:custGeom>
              <a:avLst/>
              <a:gdLst>
                <a:gd name="connsiteX0" fmla="*/ 2639 w 2661"/>
                <a:gd name="connsiteY0" fmla="*/ 4790 h 4893"/>
                <a:gd name="connsiteX1" fmla="*/ 2432 w 2661"/>
                <a:gd name="connsiteY1" fmla="*/ 3657 h 4893"/>
                <a:gd name="connsiteX2" fmla="*/ -22 w 2661"/>
                <a:gd name="connsiteY2" fmla="*/ -103 h 4893"/>
                <a:gd name="connsiteX3" fmla="*/ 2639 w 2661"/>
                <a:gd name="connsiteY3" fmla="*/ 4790 h 4893"/>
              </a:gdLst>
              <a:ahLst/>
              <a:cxnLst>
                <a:cxn ang="0">
                  <a:pos x="connsiteX0" y="connsiteY0"/>
                </a:cxn>
                <a:cxn ang="0">
                  <a:pos x="connsiteX1" y="connsiteY1"/>
                </a:cxn>
                <a:cxn ang="0">
                  <a:pos x="connsiteX2" y="connsiteY2"/>
                </a:cxn>
                <a:cxn ang="0">
                  <a:pos x="connsiteX3" y="connsiteY3"/>
                </a:cxn>
              </a:cxnLst>
              <a:rect l="l" t="t" r="r" b="b"/>
              <a:pathLst>
                <a:path w="2661" h="4893">
                  <a:moveTo>
                    <a:pt x="2639" y="4790"/>
                  </a:moveTo>
                  <a:cubicBezTo>
                    <a:pt x="2536" y="4378"/>
                    <a:pt x="2536" y="4043"/>
                    <a:pt x="2432" y="3657"/>
                  </a:cubicBezTo>
                  <a:cubicBezTo>
                    <a:pt x="1554" y="2421"/>
                    <a:pt x="882" y="1133"/>
                    <a:pt x="-22" y="-103"/>
                  </a:cubicBezTo>
                  <a:cubicBezTo>
                    <a:pt x="856" y="1468"/>
                    <a:pt x="1735" y="3219"/>
                    <a:pt x="2639" y="4790"/>
                  </a:cubicBezTo>
                  <a:close/>
                </a:path>
              </a:pathLst>
            </a:custGeom>
            <a:grpFill/>
            <a:ln w="25598" cap="flat">
              <a:noFill/>
              <a:prstDash val="solid"/>
              <a:round/>
            </a:ln>
          </p:spPr>
          <p:txBody>
            <a:bodyPr rtlCol="0" anchor="ctr"/>
            <a:lstStyle/>
            <a:p>
              <a:endParaRPr lang="en-LT"/>
            </a:p>
          </p:txBody>
        </p:sp>
        <p:sp>
          <p:nvSpPr>
            <p:cNvPr id="339" name="Freeform 338">
              <a:extLst>
                <a:ext uri="{FF2B5EF4-FFF2-40B4-BE49-F238E27FC236}">
                  <a16:creationId xmlns:a16="http://schemas.microsoft.com/office/drawing/2014/main" id="{EB0C12FA-336F-0546-8D83-034A5EA01319}"/>
                </a:ext>
              </a:extLst>
            </p:cNvPr>
            <p:cNvSpPr/>
            <p:nvPr/>
          </p:nvSpPr>
          <p:spPr>
            <a:xfrm rot="-1917689">
              <a:off x="5862100" y="3005744"/>
              <a:ext cx="69896" cy="135900"/>
            </a:xfrm>
            <a:custGeom>
              <a:avLst/>
              <a:gdLst>
                <a:gd name="connsiteX0" fmla="*/ 66286 w 69896"/>
                <a:gd name="connsiteY0" fmla="*/ 135797 h 135900"/>
                <a:gd name="connsiteX1" fmla="*/ 54218 w 69896"/>
                <a:gd name="connsiteY1" fmla="*/ 100515 h 135900"/>
                <a:gd name="connsiteX2" fmla="*/ -21 w 69896"/>
                <a:gd name="connsiteY2" fmla="*/ -104 h 135900"/>
                <a:gd name="connsiteX3" fmla="*/ 45536 w 69896"/>
                <a:gd name="connsiteY3" fmla="*/ 108755 h 135900"/>
                <a:gd name="connsiteX4" fmla="*/ 66286 w 69896"/>
                <a:gd name="connsiteY4" fmla="*/ 135797 h 13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896" h="135900">
                  <a:moveTo>
                    <a:pt x="66286" y="135797"/>
                  </a:moveTo>
                  <a:cubicBezTo>
                    <a:pt x="77371" y="122096"/>
                    <a:pt x="59748" y="110507"/>
                    <a:pt x="54218" y="100515"/>
                  </a:cubicBezTo>
                  <a:cubicBezTo>
                    <a:pt x="35432" y="66520"/>
                    <a:pt x="17809" y="31856"/>
                    <a:pt x="-21" y="-104"/>
                  </a:cubicBezTo>
                  <a:cubicBezTo>
                    <a:pt x="7162" y="30105"/>
                    <a:pt x="31943" y="79294"/>
                    <a:pt x="45536" y="108755"/>
                  </a:cubicBezTo>
                  <a:cubicBezTo>
                    <a:pt x="50523" y="119598"/>
                    <a:pt x="57267" y="134689"/>
                    <a:pt x="66286" y="135797"/>
                  </a:cubicBezTo>
                  <a:close/>
                </a:path>
              </a:pathLst>
            </a:custGeom>
            <a:grpFill/>
            <a:ln w="25598" cap="flat">
              <a:noFill/>
              <a:prstDash val="solid"/>
              <a:round/>
            </a:ln>
          </p:spPr>
          <p:txBody>
            <a:bodyPr rtlCol="0" anchor="ctr"/>
            <a:lstStyle/>
            <a:p>
              <a:endParaRPr lang="en-LT"/>
            </a:p>
          </p:txBody>
        </p:sp>
        <p:sp>
          <p:nvSpPr>
            <p:cNvPr id="340" name="Freeform 339">
              <a:extLst>
                <a:ext uri="{FF2B5EF4-FFF2-40B4-BE49-F238E27FC236}">
                  <a16:creationId xmlns:a16="http://schemas.microsoft.com/office/drawing/2014/main" id="{DFB455A7-D1A0-6E4F-B74A-F0E7BB33FB0D}"/>
                </a:ext>
              </a:extLst>
            </p:cNvPr>
            <p:cNvSpPr/>
            <p:nvPr/>
          </p:nvSpPr>
          <p:spPr>
            <a:xfrm rot="-1917689">
              <a:off x="5629209" y="2848440"/>
              <a:ext cx="260704" cy="419756"/>
            </a:xfrm>
            <a:custGeom>
              <a:avLst/>
              <a:gdLst>
                <a:gd name="connsiteX0" fmla="*/ 182722 w 260704"/>
                <a:gd name="connsiteY0" fmla="*/ 321302 h 419756"/>
                <a:gd name="connsiteX1" fmla="*/ 177218 w 260704"/>
                <a:gd name="connsiteY1" fmla="*/ 286663 h 419756"/>
                <a:gd name="connsiteX2" fmla="*/ 182722 w 260704"/>
                <a:gd name="connsiteY2" fmla="*/ 321302 h 419756"/>
                <a:gd name="connsiteX3" fmla="*/ 153884 w 260704"/>
                <a:gd name="connsiteY3" fmla="*/ 247595 h 419756"/>
                <a:gd name="connsiteX4" fmla="*/ 169672 w 260704"/>
                <a:gd name="connsiteY4" fmla="*/ 271495 h 419756"/>
                <a:gd name="connsiteX5" fmla="*/ 153884 w 260704"/>
                <a:gd name="connsiteY5" fmla="*/ 247595 h 419756"/>
                <a:gd name="connsiteX6" fmla="*/ 260682 w 260704"/>
                <a:gd name="connsiteY6" fmla="*/ 378037 h 419756"/>
                <a:gd name="connsiteX7" fmla="*/ 63675 w 260704"/>
                <a:gd name="connsiteY7" fmla="*/ -102 h 419756"/>
                <a:gd name="connsiteX8" fmla="*/ -22 w 260704"/>
                <a:gd name="connsiteY8" fmla="*/ 104277 h 419756"/>
                <a:gd name="connsiteX9" fmla="*/ 125563 w 260704"/>
                <a:gd name="connsiteY9" fmla="*/ 340050 h 419756"/>
                <a:gd name="connsiteX10" fmla="*/ 140705 w 260704"/>
                <a:gd name="connsiteY10" fmla="*/ 370440 h 419756"/>
                <a:gd name="connsiteX11" fmla="*/ 233912 w 260704"/>
                <a:gd name="connsiteY11" fmla="*/ 419655 h 419756"/>
                <a:gd name="connsiteX12" fmla="*/ 260682 w 260704"/>
                <a:gd name="connsiteY12" fmla="*/ 378037 h 419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0704" h="419756">
                  <a:moveTo>
                    <a:pt x="182722" y="321302"/>
                  </a:moveTo>
                  <a:cubicBezTo>
                    <a:pt x="175383" y="311001"/>
                    <a:pt x="173652" y="299411"/>
                    <a:pt x="177218" y="286663"/>
                  </a:cubicBezTo>
                  <a:cubicBezTo>
                    <a:pt x="181094" y="297789"/>
                    <a:pt x="194686" y="306751"/>
                    <a:pt x="182722" y="321302"/>
                  </a:cubicBezTo>
                  <a:close/>
                  <a:moveTo>
                    <a:pt x="153884" y="247595"/>
                  </a:moveTo>
                  <a:cubicBezTo>
                    <a:pt x="164297" y="246127"/>
                    <a:pt x="164194" y="264953"/>
                    <a:pt x="169672" y="271495"/>
                  </a:cubicBezTo>
                  <a:cubicBezTo>
                    <a:pt x="157269" y="273323"/>
                    <a:pt x="159026" y="254291"/>
                    <a:pt x="153884" y="247595"/>
                  </a:cubicBezTo>
                  <a:close/>
                  <a:moveTo>
                    <a:pt x="260682" y="378037"/>
                  </a:moveTo>
                  <a:cubicBezTo>
                    <a:pt x="197838" y="251330"/>
                    <a:pt x="145330" y="122485"/>
                    <a:pt x="63675" y="-102"/>
                  </a:cubicBezTo>
                  <a:cubicBezTo>
                    <a:pt x="46284" y="33841"/>
                    <a:pt x="22717" y="69098"/>
                    <a:pt x="-22" y="104277"/>
                  </a:cubicBezTo>
                  <a:cubicBezTo>
                    <a:pt x="44242" y="179787"/>
                    <a:pt x="87448" y="263794"/>
                    <a:pt x="125563" y="340050"/>
                  </a:cubicBezTo>
                  <a:cubicBezTo>
                    <a:pt x="130912" y="350712"/>
                    <a:pt x="135718" y="365418"/>
                    <a:pt x="140705" y="370440"/>
                  </a:cubicBezTo>
                  <a:cubicBezTo>
                    <a:pt x="166158" y="396219"/>
                    <a:pt x="205694" y="393953"/>
                    <a:pt x="233912" y="419655"/>
                  </a:cubicBezTo>
                  <a:cubicBezTo>
                    <a:pt x="242801" y="405799"/>
                    <a:pt x="251742" y="391918"/>
                    <a:pt x="260682" y="378037"/>
                  </a:cubicBezTo>
                  <a:close/>
                </a:path>
              </a:pathLst>
            </a:custGeom>
            <a:grpFill/>
            <a:ln w="25598" cap="flat">
              <a:noFill/>
              <a:prstDash val="solid"/>
              <a:round/>
            </a:ln>
          </p:spPr>
          <p:txBody>
            <a:bodyPr rtlCol="0" anchor="ctr"/>
            <a:lstStyle/>
            <a:p>
              <a:endParaRPr lang="en-LT"/>
            </a:p>
          </p:txBody>
        </p:sp>
        <p:sp>
          <p:nvSpPr>
            <p:cNvPr id="341" name="Freeform 340">
              <a:extLst>
                <a:ext uri="{FF2B5EF4-FFF2-40B4-BE49-F238E27FC236}">
                  <a16:creationId xmlns:a16="http://schemas.microsoft.com/office/drawing/2014/main" id="{27098DFD-8A3D-0E4B-AE18-A4AC0DF991B6}"/>
                </a:ext>
              </a:extLst>
            </p:cNvPr>
            <p:cNvSpPr/>
            <p:nvPr/>
          </p:nvSpPr>
          <p:spPr>
            <a:xfrm rot="-1917689">
              <a:off x="5623603" y="3005208"/>
              <a:ext cx="154836" cy="239764"/>
            </a:xfrm>
            <a:custGeom>
              <a:avLst/>
              <a:gdLst>
                <a:gd name="connsiteX0" fmla="*/ -21 w 154836"/>
                <a:gd name="connsiteY0" fmla="*/ 43990 h 239764"/>
                <a:gd name="connsiteX1" fmla="*/ 154815 w 154836"/>
                <a:gd name="connsiteY1" fmla="*/ 239665 h 239764"/>
                <a:gd name="connsiteX2" fmla="*/ 28326 w 154836"/>
                <a:gd name="connsiteY2" fmla="*/ -100 h 239764"/>
                <a:gd name="connsiteX3" fmla="*/ -21 w 154836"/>
                <a:gd name="connsiteY3" fmla="*/ 43990 h 239764"/>
              </a:gdLst>
              <a:ahLst/>
              <a:cxnLst>
                <a:cxn ang="0">
                  <a:pos x="connsiteX0" y="connsiteY0"/>
                </a:cxn>
                <a:cxn ang="0">
                  <a:pos x="connsiteX1" y="connsiteY1"/>
                </a:cxn>
                <a:cxn ang="0">
                  <a:pos x="connsiteX2" y="connsiteY2"/>
                </a:cxn>
                <a:cxn ang="0">
                  <a:pos x="connsiteX3" y="connsiteY3"/>
                </a:cxn>
              </a:cxnLst>
              <a:rect l="l" t="t" r="r" b="b"/>
              <a:pathLst>
                <a:path w="154836" h="239764">
                  <a:moveTo>
                    <a:pt x="-21" y="43990"/>
                  </a:moveTo>
                  <a:cubicBezTo>
                    <a:pt x="40057" y="112855"/>
                    <a:pt x="49851" y="192665"/>
                    <a:pt x="154815" y="239665"/>
                  </a:cubicBezTo>
                  <a:cubicBezTo>
                    <a:pt x="118096" y="158542"/>
                    <a:pt x="74632" y="78938"/>
                    <a:pt x="28326" y="-100"/>
                  </a:cubicBezTo>
                  <a:cubicBezTo>
                    <a:pt x="18868" y="14605"/>
                    <a:pt x="9462" y="29285"/>
                    <a:pt x="-21" y="43990"/>
                  </a:cubicBezTo>
                  <a:close/>
                </a:path>
              </a:pathLst>
            </a:custGeom>
            <a:grpFill/>
            <a:ln w="25598" cap="flat">
              <a:noFill/>
              <a:prstDash val="solid"/>
              <a:round/>
            </a:ln>
          </p:spPr>
          <p:txBody>
            <a:bodyPr rtlCol="0" anchor="ctr"/>
            <a:lstStyle/>
            <a:p>
              <a:endParaRPr lang="en-LT"/>
            </a:p>
          </p:txBody>
        </p:sp>
        <p:sp>
          <p:nvSpPr>
            <p:cNvPr id="342" name="Freeform 341">
              <a:extLst>
                <a:ext uri="{FF2B5EF4-FFF2-40B4-BE49-F238E27FC236}">
                  <a16:creationId xmlns:a16="http://schemas.microsoft.com/office/drawing/2014/main" id="{77C75031-CB9C-314C-903A-67C0507693AA}"/>
                </a:ext>
              </a:extLst>
            </p:cNvPr>
            <p:cNvSpPr/>
            <p:nvPr/>
          </p:nvSpPr>
          <p:spPr>
            <a:xfrm rot="-1917689">
              <a:off x="5725460" y="4230670"/>
              <a:ext cx="51655" cy="8881"/>
            </a:xfrm>
            <a:custGeom>
              <a:avLst/>
              <a:gdLst>
                <a:gd name="connsiteX0" fmla="*/ 2 w 51655"/>
                <a:gd name="connsiteY0" fmla="*/ 4876 h 8881"/>
                <a:gd name="connsiteX1" fmla="*/ 51657 w 51655"/>
                <a:gd name="connsiteY1" fmla="*/ -94 h 8881"/>
                <a:gd name="connsiteX2" fmla="*/ 2 w 51655"/>
                <a:gd name="connsiteY2" fmla="*/ 4876 h 8881"/>
              </a:gdLst>
              <a:ahLst/>
              <a:cxnLst>
                <a:cxn ang="0">
                  <a:pos x="connsiteX0" y="connsiteY0"/>
                </a:cxn>
                <a:cxn ang="0">
                  <a:pos x="connsiteX1" y="connsiteY1"/>
                </a:cxn>
                <a:cxn ang="0">
                  <a:pos x="connsiteX2" y="connsiteY2"/>
                </a:cxn>
              </a:cxnLst>
              <a:rect l="l" t="t" r="r" b="b"/>
              <a:pathLst>
                <a:path w="51655" h="8881">
                  <a:moveTo>
                    <a:pt x="2" y="4876"/>
                  </a:moveTo>
                  <a:cubicBezTo>
                    <a:pt x="16126" y="4515"/>
                    <a:pt x="46101" y="16645"/>
                    <a:pt x="51657" y="-94"/>
                  </a:cubicBezTo>
                  <a:cubicBezTo>
                    <a:pt x="36385" y="4206"/>
                    <a:pt x="7341" y="-3340"/>
                    <a:pt x="2" y="4876"/>
                  </a:cubicBezTo>
                  <a:close/>
                </a:path>
              </a:pathLst>
            </a:custGeom>
            <a:grpFill/>
            <a:ln w="25598" cap="flat">
              <a:noFill/>
              <a:prstDash val="solid"/>
              <a:round/>
            </a:ln>
          </p:spPr>
          <p:txBody>
            <a:bodyPr rtlCol="0" anchor="ctr"/>
            <a:lstStyle/>
            <a:p>
              <a:endParaRPr lang="en-LT"/>
            </a:p>
          </p:txBody>
        </p:sp>
        <p:sp>
          <p:nvSpPr>
            <p:cNvPr id="343" name="Freeform 342">
              <a:extLst>
                <a:ext uri="{FF2B5EF4-FFF2-40B4-BE49-F238E27FC236}">
                  <a16:creationId xmlns:a16="http://schemas.microsoft.com/office/drawing/2014/main" id="{D077F324-5BAB-C44A-921F-990F7F1EF69A}"/>
                </a:ext>
              </a:extLst>
            </p:cNvPr>
            <p:cNvSpPr/>
            <p:nvPr/>
          </p:nvSpPr>
          <p:spPr>
            <a:xfrm rot="-1917689">
              <a:off x="5519663" y="4263724"/>
              <a:ext cx="223546" cy="24702"/>
            </a:xfrm>
            <a:custGeom>
              <a:avLst/>
              <a:gdLst>
                <a:gd name="connsiteX0" fmla="*/ 223548 w 223546"/>
                <a:gd name="connsiteY0" fmla="*/ 19245 h 24702"/>
                <a:gd name="connsiteX1" fmla="*/ 2 w 223546"/>
                <a:gd name="connsiteY1" fmla="*/ 11082 h 24702"/>
                <a:gd name="connsiteX2" fmla="*/ 203393 w 223546"/>
                <a:gd name="connsiteY2" fmla="*/ 23598 h 24702"/>
                <a:gd name="connsiteX3" fmla="*/ 223548 w 223546"/>
                <a:gd name="connsiteY3" fmla="*/ 19245 h 24702"/>
              </a:gdLst>
              <a:ahLst/>
              <a:cxnLst>
                <a:cxn ang="0">
                  <a:pos x="connsiteX0" y="connsiteY0"/>
                </a:cxn>
                <a:cxn ang="0">
                  <a:pos x="connsiteX1" y="connsiteY1"/>
                </a:cxn>
                <a:cxn ang="0">
                  <a:pos x="connsiteX2" y="connsiteY2"/>
                </a:cxn>
                <a:cxn ang="0">
                  <a:pos x="connsiteX3" y="connsiteY3"/>
                </a:cxn>
              </a:cxnLst>
              <a:rect l="l" t="t" r="r" b="b"/>
              <a:pathLst>
                <a:path w="223546" h="24702">
                  <a:moveTo>
                    <a:pt x="223548" y="19245"/>
                  </a:moveTo>
                  <a:cubicBezTo>
                    <a:pt x="150755" y="18035"/>
                    <a:pt x="59203" y="-17685"/>
                    <a:pt x="2" y="11082"/>
                  </a:cubicBezTo>
                  <a:cubicBezTo>
                    <a:pt x="66748" y="22388"/>
                    <a:pt x="142693" y="26791"/>
                    <a:pt x="203393" y="23598"/>
                  </a:cubicBezTo>
                  <a:cubicBezTo>
                    <a:pt x="210163" y="23186"/>
                    <a:pt x="222282" y="26920"/>
                    <a:pt x="223548" y="19245"/>
                  </a:cubicBezTo>
                  <a:close/>
                </a:path>
              </a:pathLst>
            </a:custGeom>
            <a:grpFill/>
            <a:ln w="25598" cap="flat">
              <a:noFill/>
              <a:prstDash val="solid"/>
              <a:round/>
            </a:ln>
          </p:spPr>
          <p:txBody>
            <a:bodyPr rtlCol="0" anchor="ctr"/>
            <a:lstStyle/>
            <a:p>
              <a:endParaRPr lang="en-LT"/>
            </a:p>
          </p:txBody>
        </p:sp>
        <p:sp>
          <p:nvSpPr>
            <p:cNvPr id="344" name="Freeform 343">
              <a:extLst>
                <a:ext uri="{FF2B5EF4-FFF2-40B4-BE49-F238E27FC236}">
                  <a16:creationId xmlns:a16="http://schemas.microsoft.com/office/drawing/2014/main" id="{DB91A78E-909A-B446-AEF0-FE78C2B428ED}"/>
                </a:ext>
              </a:extLst>
            </p:cNvPr>
            <p:cNvSpPr/>
            <p:nvPr/>
          </p:nvSpPr>
          <p:spPr>
            <a:xfrm rot="-1917689">
              <a:off x="5540538" y="4253345"/>
              <a:ext cx="63128" cy="11590"/>
            </a:xfrm>
            <a:custGeom>
              <a:avLst/>
              <a:gdLst>
                <a:gd name="connsiteX0" fmla="*/ 63130 w 63128"/>
                <a:gd name="connsiteY0" fmla="*/ 4794 h 11590"/>
                <a:gd name="connsiteX1" fmla="*/ 1 w 63128"/>
                <a:gd name="connsiteY1" fmla="*/ 5901 h 11590"/>
                <a:gd name="connsiteX2" fmla="*/ 63130 w 63128"/>
                <a:gd name="connsiteY2" fmla="*/ 4794 h 11590"/>
              </a:gdLst>
              <a:ahLst/>
              <a:cxnLst>
                <a:cxn ang="0">
                  <a:pos x="connsiteX0" y="connsiteY0"/>
                </a:cxn>
                <a:cxn ang="0">
                  <a:pos x="connsiteX1" y="connsiteY1"/>
                </a:cxn>
                <a:cxn ang="0">
                  <a:pos x="connsiteX2" y="connsiteY2"/>
                </a:cxn>
              </a:cxnLst>
              <a:rect l="l" t="t" r="r" b="b"/>
              <a:pathLst>
                <a:path w="63128" h="11590">
                  <a:moveTo>
                    <a:pt x="63130" y="4794"/>
                  </a:moveTo>
                  <a:cubicBezTo>
                    <a:pt x="43207" y="10434"/>
                    <a:pt x="17754" y="-9551"/>
                    <a:pt x="1" y="5901"/>
                  </a:cubicBezTo>
                  <a:cubicBezTo>
                    <a:pt x="21836" y="15610"/>
                    <a:pt x="51734" y="11000"/>
                    <a:pt x="63130" y="4794"/>
                  </a:cubicBezTo>
                  <a:close/>
                </a:path>
              </a:pathLst>
            </a:custGeom>
            <a:grpFill/>
            <a:ln w="25598" cap="flat">
              <a:noFill/>
              <a:prstDash val="solid"/>
              <a:round/>
            </a:ln>
          </p:spPr>
          <p:txBody>
            <a:bodyPr rtlCol="0" anchor="ctr"/>
            <a:lstStyle/>
            <a:p>
              <a:endParaRPr lang="en-LT"/>
            </a:p>
          </p:txBody>
        </p:sp>
        <p:sp>
          <p:nvSpPr>
            <p:cNvPr id="345" name="Freeform 344">
              <a:extLst>
                <a:ext uri="{FF2B5EF4-FFF2-40B4-BE49-F238E27FC236}">
                  <a16:creationId xmlns:a16="http://schemas.microsoft.com/office/drawing/2014/main" id="{5D0125B7-A5B0-3246-AA73-A4569955D803}"/>
                </a:ext>
              </a:extLst>
            </p:cNvPr>
            <p:cNvSpPr/>
            <p:nvPr/>
          </p:nvSpPr>
          <p:spPr>
            <a:xfrm rot="-1917689">
              <a:off x="5867773" y="2258160"/>
              <a:ext cx="238350" cy="486122"/>
            </a:xfrm>
            <a:custGeom>
              <a:avLst/>
              <a:gdLst>
                <a:gd name="connsiteX0" fmla="*/ 205296 w 238350"/>
                <a:gd name="connsiteY0" fmla="*/ 191265 h 486122"/>
                <a:gd name="connsiteX1" fmla="*/ 172091 w 238350"/>
                <a:gd name="connsiteY1" fmla="*/ 280603 h 486122"/>
                <a:gd name="connsiteX2" fmla="*/ 205296 w 238350"/>
                <a:gd name="connsiteY2" fmla="*/ 191265 h 486122"/>
                <a:gd name="connsiteX3" fmla="*/ 186355 w 238350"/>
                <a:gd name="connsiteY3" fmla="*/ 123842 h 486122"/>
                <a:gd name="connsiteX4" fmla="*/ 193539 w 238350"/>
                <a:gd name="connsiteY4" fmla="*/ 166516 h 486122"/>
                <a:gd name="connsiteX5" fmla="*/ 186355 w 238350"/>
                <a:gd name="connsiteY5" fmla="*/ 123842 h 486122"/>
                <a:gd name="connsiteX6" fmla="*/ 43612 w 238350"/>
                <a:gd name="connsiteY6" fmla="*/ 291755 h 486122"/>
                <a:gd name="connsiteX7" fmla="*/ 84802 w 238350"/>
                <a:gd name="connsiteY7" fmla="*/ 238600 h 486122"/>
                <a:gd name="connsiteX8" fmla="*/ 51571 w 238350"/>
                <a:gd name="connsiteY8" fmla="*/ 327964 h 486122"/>
                <a:gd name="connsiteX9" fmla="*/ 85319 w 238350"/>
                <a:gd name="connsiteY9" fmla="*/ 453152 h 486122"/>
                <a:gd name="connsiteX10" fmla="*/ 98885 w 238350"/>
                <a:gd name="connsiteY10" fmla="*/ 486013 h 486122"/>
                <a:gd name="connsiteX11" fmla="*/ 232455 w 238350"/>
                <a:gd name="connsiteY11" fmla="*/ 122245 h 486122"/>
                <a:gd name="connsiteX12" fmla="*/ 219069 w 238350"/>
                <a:gd name="connsiteY12" fmla="*/ 99891 h 486122"/>
                <a:gd name="connsiteX13" fmla="*/ 216253 w 238350"/>
                <a:gd name="connsiteY13" fmla="*/ 77357 h 486122"/>
                <a:gd name="connsiteX14" fmla="*/ 127439 w 238350"/>
                <a:gd name="connsiteY14" fmla="*/ -109 h 486122"/>
                <a:gd name="connsiteX15" fmla="*/ 83174 w 238350"/>
                <a:gd name="connsiteY15" fmla="*/ 57913 h 486122"/>
                <a:gd name="connsiteX16" fmla="*/ 113511 w 238350"/>
                <a:gd name="connsiteY16" fmla="*/ 80756 h 486122"/>
                <a:gd name="connsiteX17" fmla="*/ 78445 w 238350"/>
                <a:gd name="connsiteY17" fmla="*/ 65279 h 486122"/>
                <a:gd name="connsiteX18" fmla="*/ -32 w 238350"/>
                <a:gd name="connsiteY18" fmla="*/ 160206 h 486122"/>
                <a:gd name="connsiteX19" fmla="*/ 43612 w 238350"/>
                <a:gd name="connsiteY19" fmla="*/ 291755 h 48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8350" h="486122">
                  <a:moveTo>
                    <a:pt x="205296" y="191265"/>
                  </a:moveTo>
                  <a:cubicBezTo>
                    <a:pt x="199456" y="219954"/>
                    <a:pt x="185683" y="250317"/>
                    <a:pt x="172091" y="280603"/>
                  </a:cubicBezTo>
                  <a:cubicBezTo>
                    <a:pt x="176122" y="252507"/>
                    <a:pt x="174572" y="212331"/>
                    <a:pt x="205296" y="191265"/>
                  </a:cubicBezTo>
                  <a:close/>
                  <a:moveTo>
                    <a:pt x="186355" y="123842"/>
                  </a:moveTo>
                  <a:cubicBezTo>
                    <a:pt x="198965" y="135895"/>
                    <a:pt x="198991" y="150548"/>
                    <a:pt x="193539" y="166516"/>
                  </a:cubicBezTo>
                  <a:cubicBezTo>
                    <a:pt x="190050" y="152532"/>
                    <a:pt x="183125" y="139294"/>
                    <a:pt x="186355" y="123842"/>
                  </a:cubicBezTo>
                  <a:close/>
                  <a:moveTo>
                    <a:pt x="43612" y="291755"/>
                  </a:moveTo>
                  <a:cubicBezTo>
                    <a:pt x="55499" y="276741"/>
                    <a:pt x="63923" y="235303"/>
                    <a:pt x="84802" y="238600"/>
                  </a:cubicBezTo>
                  <a:cubicBezTo>
                    <a:pt x="88936" y="265074"/>
                    <a:pt x="60176" y="298708"/>
                    <a:pt x="51571" y="327964"/>
                  </a:cubicBezTo>
                  <a:cubicBezTo>
                    <a:pt x="54491" y="368140"/>
                    <a:pt x="74388" y="415088"/>
                    <a:pt x="85319" y="453152"/>
                  </a:cubicBezTo>
                  <a:cubicBezTo>
                    <a:pt x="89040" y="465977"/>
                    <a:pt x="85939" y="484185"/>
                    <a:pt x="98885" y="486013"/>
                  </a:cubicBezTo>
                  <a:cubicBezTo>
                    <a:pt x="152194" y="362345"/>
                    <a:pt x="265246" y="221680"/>
                    <a:pt x="232455" y="122245"/>
                  </a:cubicBezTo>
                  <a:cubicBezTo>
                    <a:pt x="229974" y="114725"/>
                    <a:pt x="221937" y="108004"/>
                    <a:pt x="219069" y="99891"/>
                  </a:cubicBezTo>
                  <a:cubicBezTo>
                    <a:pt x="216433" y="92448"/>
                    <a:pt x="219405" y="84001"/>
                    <a:pt x="216253" y="77357"/>
                  </a:cubicBezTo>
                  <a:cubicBezTo>
                    <a:pt x="202428" y="47895"/>
                    <a:pt x="163176" y="20596"/>
                    <a:pt x="127439" y="-109"/>
                  </a:cubicBezTo>
                  <a:cubicBezTo>
                    <a:pt x="112891" y="19927"/>
                    <a:pt x="97645" y="37284"/>
                    <a:pt x="83174" y="57913"/>
                  </a:cubicBezTo>
                  <a:cubicBezTo>
                    <a:pt x="92037" y="65819"/>
                    <a:pt x="111314" y="71408"/>
                    <a:pt x="113511" y="80756"/>
                  </a:cubicBezTo>
                  <a:cubicBezTo>
                    <a:pt x="103330" y="79675"/>
                    <a:pt x="84053" y="76250"/>
                    <a:pt x="78445" y="65279"/>
                  </a:cubicBezTo>
                  <a:cubicBezTo>
                    <a:pt x="52501" y="97702"/>
                    <a:pt x="27255" y="133551"/>
                    <a:pt x="-32" y="160206"/>
                  </a:cubicBezTo>
                  <a:cubicBezTo>
                    <a:pt x="14206" y="204090"/>
                    <a:pt x="25886" y="248592"/>
                    <a:pt x="43612" y="291755"/>
                  </a:cubicBezTo>
                  <a:close/>
                </a:path>
              </a:pathLst>
            </a:custGeom>
            <a:grpFill/>
            <a:ln w="25598" cap="flat">
              <a:noFill/>
              <a:prstDash val="solid"/>
              <a:round/>
            </a:ln>
          </p:spPr>
          <p:txBody>
            <a:bodyPr rtlCol="0" anchor="ctr"/>
            <a:lstStyle/>
            <a:p>
              <a:endParaRPr lang="en-LT"/>
            </a:p>
          </p:txBody>
        </p:sp>
        <p:sp>
          <p:nvSpPr>
            <p:cNvPr id="346" name="Freeform 345">
              <a:extLst>
                <a:ext uri="{FF2B5EF4-FFF2-40B4-BE49-F238E27FC236}">
                  <a16:creationId xmlns:a16="http://schemas.microsoft.com/office/drawing/2014/main" id="{566A8986-5B66-C546-98B9-A52C4E497165}"/>
                </a:ext>
              </a:extLst>
            </p:cNvPr>
            <p:cNvSpPr/>
            <p:nvPr/>
          </p:nvSpPr>
          <p:spPr>
            <a:xfrm rot="-1917689">
              <a:off x="5422447" y="2809993"/>
              <a:ext cx="142071" cy="222502"/>
            </a:xfrm>
            <a:custGeom>
              <a:avLst/>
              <a:gdLst>
                <a:gd name="connsiteX0" fmla="*/ 90363 w 142071"/>
                <a:gd name="connsiteY0" fmla="*/ 35667 h 222502"/>
                <a:gd name="connsiteX1" fmla="*/ 46770 w 142071"/>
                <a:gd name="connsiteY1" fmla="*/ 87303 h 222502"/>
                <a:gd name="connsiteX2" fmla="*/ 86151 w 142071"/>
                <a:gd name="connsiteY2" fmla="*/ 26086 h 222502"/>
                <a:gd name="connsiteX3" fmla="*/ 61396 w 142071"/>
                <a:gd name="connsiteY3" fmla="*/ -79 h 222502"/>
                <a:gd name="connsiteX4" fmla="*/ -27 w 142071"/>
                <a:gd name="connsiteY4" fmla="*/ 95441 h 222502"/>
                <a:gd name="connsiteX5" fmla="*/ 74316 w 142071"/>
                <a:gd name="connsiteY5" fmla="*/ 222405 h 222502"/>
                <a:gd name="connsiteX6" fmla="*/ 142044 w 142071"/>
                <a:gd name="connsiteY6" fmla="*/ 117125 h 222502"/>
                <a:gd name="connsiteX7" fmla="*/ 90363 w 142071"/>
                <a:gd name="connsiteY7" fmla="*/ 35667 h 222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071" h="222502">
                  <a:moveTo>
                    <a:pt x="90363" y="35667"/>
                  </a:moveTo>
                  <a:cubicBezTo>
                    <a:pt x="74084" y="44784"/>
                    <a:pt x="64652" y="85448"/>
                    <a:pt x="46770" y="87303"/>
                  </a:cubicBezTo>
                  <a:cubicBezTo>
                    <a:pt x="60879" y="67241"/>
                    <a:pt x="76358" y="38577"/>
                    <a:pt x="86151" y="26086"/>
                  </a:cubicBezTo>
                  <a:cubicBezTo>
                    <a:pt x="76280" y="19030"/>
                    <a:pt x="74704" y="-775"/>
                    <a:pt x="61396" y="-79"/>
                  </a:cubicBezTo>
                  <a:cubicBezTo>
                    <a:pt x="47365" y="22532"/>
                    <a:pt x="19302" y="64794"/>
                    <a:pt x="-27" y="95441"/>
                  </a:cubicBezTo>
                  <a:cubicBezTo>
                    <a:pt x="24082" y="136518"/>
                    <a:pt x="46254" y="189080"/>
                    <a:pt x="74316" y="222405"/>
                  </a:cubicBezTo>
                  <a:cubicBezTo>
                    <a:pt x="96333" y="190986"/>
                    <a:pt x="132328" y="143677"/>
                    <a:pt x="142044" y="117125"/>
                  </a:cubicBezTo>
                  <a:cubicBezTo>
                    <a:pt x="126178" y="109116"/>
                    <a:pt x="122586" y="76692"/>
                    <a:pt x="90363" y="35667"/>
                  </a:cubicBezTo>
                  <a:close/>
                </a:path>
              </a:pathLst>
            </a:custGeom>
            <a:grpFill/>
            <a:ln w="25598" cap="flat">
              <a:noFill/>
              <a:prstDash val="solid"/>
              <a:round/>
            </a:ln>
          </p:spPr>
          <p:txBody>
            <a:bodyPr rtlCol="0" anchor="ctr"/>
            <a:lstStyle/>
            <a:p>
              <a:endParaRPr lang="en-LT"/>
            </a:p>
          </p:txBody>
        </p:sp>
        <p:sp>
          <p:nvSpPr>
            <p:cNvPr id="347" name="Freeform 346">
              <a:extLst>
                <a:ext uri="{FF2B5EF4-FFF2-40B4-BE49-F238E27FC236}">
                  <a16:creationId xmlns:a16="http://schemas.microsoft.com/office/drawing/2014/main" id="{F543DF1D-063A-9A44-A8B7-AB51E48457B6}"/>
                </a:ext>
              </a:extLst>
            </p:cNvPr>
            <p:cNvSpPr/>
            <p:nvPr/>
          </p:nvSpPr>
          <p:spPr>
            <a:xfrm rot="-1917689">
              <a:off x="5803477" y="3184122"/>
              <a:ext cx="111010" cy="234975"/>
            </a:xfrm>
            <a:custGeom>
              <a:avLst/>
              <a:gdLst>
                <a:gd name="connsiteX0" fmla="*/ 110994 w 111010"/>
                <a:gd name="connsiteY0" fmla="*/ 212879 h 234975"/>
                <a:gd name="connsiteX1" fmla="*/ 15772 w 111010"/>
                <a:gd name="connsiteY1" fmla="*/ -102 h 234975"/>
                <a:gd name="connsiteX2" fmla="*/ 25746 w 111010"/>
                <a:gd name="connsiteY2" fmla="*/ 65054 h 234975"/>
                <a:gd name="connsiteX3" fmla="*/ 54377 w 111010"/>
                <a:gd name="connsiteY3" fmla="*/ 128228 h 234975"/>
                <a:gd name="connsiteX4" fmla="*/ -17 w 111010"/>
                <a:gd name="connsiteY4" fmla="*/ 24415 h 234975"/>
                <a:gd name="connsiteX5" fmla="*/ 96833 w 111010"/>
                <a:gd name="connsiteY5" fmla="*/ 234873 h 234975"/>
                <a:gd name="connsiteX6" fmla="*/ 110994 w 111010"/>
                <a:gd name="connsiteY6" fmla="*/ 212879 h 2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010" h="234975">
                  <a:moveTo>
                    <a:pt x="110994" y="212879"/>
                  </a:moveTo>
                  <a:cubicBezTo>
                    <a:pt x="78849" y="141877"/>
                    <a:pt x="53344" y="69613"/>
                    <a:pt x="15772" y="-102"/>
                  </a:cubicBezTo>
                  <a:cubicBezTo>
                    <a:pt x="-3298" y="22921"/>
                    <a:pt x="17374" y="47568"/>
                    <a:pt x="25746" y="65054"/>
                  </a:cubicBezTo>
                  <a:cubicBezTo>
                    <a:pt x="36057" y="86661"/>
                    <a:pt x="49029" y="106955"/>
                    <a:pt x="54377" y="128228"/>
                  </a:cubicBezTo>
                  <a:cubicBezTo>
                    <a:pt x="34971" y="93898"/>
                    <a:pt x="22671" y="58024"/>
                    <a:pt x="-17" y="24415"/>
                  </a:cubicBezTo>
                  <a:cubicBezTo>
                    <a:pt x="23266" y="96473"/>
                    <a:pt x="66109" y="164308"/>
                    <a:pt x="96833" y="234873"/>
                  </a:cubicBezTo>
                  <a:cubicBezTo>
                    <a:pt x="101536" y="227507"/>
                    <a:pt x="106265" y="220193"/>
                    <a:pt x="110994" y="212879"/>
                  </a:cubicBezTo>
                  <a:close/>
                </a:path>
              </a:pathLst>
            </a:custGeom>
            <a:grpFill/>
            <a:ln w="25598" cap="flat">
              <a:noFill/>
              <a:prstDash val="solid"/>
              <a:round/>
            </a:ln>
          </p:spPr>
          <p:txBody>
            <a:bodyPr rtlCol="0" anchor="ctr"/>
            <a:lstStyle/>
            <a:p>
              <a:endParaRPr lang="en-LT"/>
            </a:p>
          </p:txBody>
        </p:sp>
      </p:grpSp>
      <p:grpSp>
        <p:nvGrpSpPr>
          <p:cNvPr id="348" name="Group 347">
            <a:extLst>
              <a:ext uri="{FF2B5EF4-FFF2-40B4-BE49-F238E27FC236}">
                <a16:creationId xmlns:a16="http://schemas.microsoft.com/office/drawing/2014/main" id="{AF8670AB-CE3F-3A41-BE84-655932AB3272}"/>
              </a:ext>
            </a:extLst>
          </p:cNvPr>
          <p:cNvGrpSpPr/>
          <p:nvPr/>
        </p:nvGrpSpPr>
        <p:grpSpPr>
          <a:xfrm>
            <a:off x="9248448" y="1173694"/>
            <a:ext cx="546081" cy="1285264"/>
            <a:chOff x="6136180" y="2021920"/>
            <a:chExt cx="1063695" cy="2503528"/>
          </a:xfrm>
        </p:grpSpPr>
        <p:sp>
          <p:nvSpPr>
            <p:cNvPr id="349" name="Freeform 348">
              <a:extLst>
                <a:ext uri="{FF2B5EF4-FFF2-40B4-BE49-F238E27FC236}">
                  <a16:creationId xmlns:a16="http://schemas.microsoft.com/office/drawing/2014/main" id="{FB7F500C-9F28-454C-A9B1-6720AC14D38E}"/>
                </a:ext>
              </a:extLst>
            </p:cNvPr>
            <p:cNvSpPr/>
            <p:nvPr/>
          </p:nvSpPr>
          <p:spPr>
            <a:xfrm>
              <a:off x="6220308" y="2674119"/>
              <a:ext cx="194530" cy="512316"/>
            </a:xfrm>
            <a:custGeom>
              <a:avLst/>
              <a:gdLst>
                <a:gd name="connsiteX0" fmla="*/ 70802 w 71393"/>
                <a:gd name="connsiteY0" fmla="*/ 138873 h 188021"/>
                <a:gd name="connsiteX1" fmla="*/ 64456 w 71393"/>
                <a:gd name="connsiteY1" fmla="*/ 87599 h 188021"/>
                <a:gd name="connsiteX2" fmla="*/ 47485 w 71393"/>
                <a:gd name="connsiteY2" fmla="*/ -12 h 188021"/>
                <a:gd name="connsiteX3" fmla="*/ 47485 w 71393"/>
                <a:gd name="connsiteY3" fmla="*/ 12797 h 188021"/>
                <a:gd name="connsiteX4" fmla="*/ 46433 w 71393"/>
                <a:gd name="connsiteY4" fmla="*/ 4254 h 188021"/>
                <a:gd name="connsiteX5" fmla="*/ 26279 w 71393"/>
                <a:gd name="connsiteY5" fmla="*/ 30960 h 188021"/>
                <a:gd name="connsiteX6" fmla="*/ 24158 w 71393"/>
                <a:gd name="connsiteY6" fmla="*/ 27772 h 188021"/>
                <a:gd name="connsiteX7" fmla="*/ -220 w 71393"/>
                <a:gd name="connsiteY7" fmla="*/ 100408 h 188021"/>
                <a:gd name="connsiteX8" fmla="*/ 50657 w 71393"/>
                <a:gd name="connsiteY8" fmla="*/ 188009 h 188021"/>
                <a:gd name="connsiteX9" fmla="*/ 70802 w 71393"/>
                <a:gd name="connsiteY9" fmla="*/ 138873 h 188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393" h="188021">
                  <a:moveTo>
                    <a:pt x="70802" y="138873"/>
                  </a:moveTo>
                  <a:cubicBezTo>
                    <a:pt x="72548" y="123699"/>
                    <a:pt x="67760" y="104126"/>
                    <a:pt x="64456" y="87599"/>
                  </a:cubicBezTo>
                  <a:cubicBezTo>
                    <a:pt x="58655" y="58792"/>
                    <a:pt x="51136" y="31178"/>
                    <a:pt x="47485" y="-12"/>
                  </a:cubicBezTo>
                  <a:cubicBezTo>
                    <a:pt x="46001" y="5087"/>
                    <a:pt x="50169" y="10025"/>
                    <a:pt x="47485" y="12797"/>
                  </a:cubicBezTo>
                  <a:cubicBezTo>
                    <a:pt x="47710" y="9372"/>
                    <a:pt x="45617" y="8275"/>
                    <a:pt x="46433" y="4254"/>
                  </a:cubicBezTo>
                  <a:cubicBezTo>
                    <a:pt x="36943" y="10356"/>
                    <a:pt x="32390" y="21443"/>
                    <a:pt x="26279" y="30960"/>
                  </a:cubicBezTo>
                  <a:cubicBezTo>
                    <a:pt x="26176" y="29305"/>
                    <a:pt x="26420" y="27271"/>
                    <a:pt x="24158" y="27772"/>
                  </a:cubicBezTo>
                  <a:cubicBezTo>
                    <a:pt x="23088" y="59067"/>
                    <a:pt x="2624" y="70873"/>
                    <a:pt x="-220" y="100408"/>
                  </a:cubicBezTo>
                  <a:cubicBezTo>
                    <a:pt x="16198" y="130141"/>
                    <a:pt x="34906" y="157595"/>
                    <a:pt x="50657" y="188009"/>
                  </a:cubicBezTo>
                  <a:cubicBezTo>
                    <a:pt x="50545" y="167471"/>
                    <a:pt x="68690" y="157235"/>
                    <a:pt x="70802" y="138873"/>
                  </a:cubicBezTo>
                  <a:close/>
                </a:path>
              </a:pathLst>
            </a:custGeom>
            <a:solidFill>
              <a:schemeClr val="bg1"/>
            </a:solidFill>
            <a:ln w="9318" cap="flat">
              <a:noFill/>
              <a:prstDash val="solid"/>
              <a:round/>
            </a:ln>
          </p:spPr>
          <p:txBody>
            <a:bodyPr rtlCol="0" anchor="ctr"/>
            <a:lstStyle/>
            <a:p>
              <a:endParaRPr lang="en-LT"/>
            </a:p>
          </p:txBody>
        </p:sp>
        <p:sp>
          <p:nvSpPr>
            <p:cNvPr id="350" name="Freeform 349">
              <a:extLst>
                <a:ext uri="{FF2B5EF4-FFF2-40B4-BE49-F238E27FC236}">
                  <a16:creationId xmlns:a16="http://schemas.microsoft.com/office/drawing/2014/main" id="{CA463B78-3C5E-084B-9389-0EAB42CFAE19}"/>
                </a:ext>
              </a:extLst>
            </p:cNvPr>
            <p:cNvSpPr/>
            <p:nvPr/>
          </p:nvSpPr>
          <p:spPr>
            <a:xfrm>
              <a:off x="6405359" y="3212650"/>
              <a:ext cx="10169" cy="72741"/>
            </a:xfrm>
            <a:custGeom>
              <a:avLst/>
              <a:gdLst>
                <a:gd name="connsiteX0" fmla="*/ 776 w 3732"/>
                <a:gd name="connsiteY0" fmla="*/ 26684 h 26696"/>
                <a:gd name="connsiteX1" fmla="*/ 2888 w 3732"/>
                <a:gd name="connsiteY1" fmla="*/ -12 h 26696"/>
                <a:gd name="connsiteX2" fmla="*/ 776 w 3732"/>
                <a:gd name="connsiteY2" fmla="*/ 26684 h 26696"/>
              </a:gdLst>
              <a:ahLst/>
              <a:cxnLst>
                <a:cxn ang="0">
                  <a:pos x="connsiteX0" y="connsiteY0"/>
                </a:cxn>
                <a:cxn ang="0">
                  <a:pos x="connsiteX1" y="connsiteY1"/>
                </a:cxn>
                <a:cxn ang="0">
                  <a:pos x="connsiteX2" y="connsiteY2"/>
                </a:cxn>
              </a:cxnLst>
              <a:rect l="l" t="t" r="r" b="b"/>
              <a:pathLst>
                <a:path w="3732" h="26696">
                  <a:moveTo>
                    <a:pt x="776" y="26684"/>
                  </a:moveTo>
                  <a:cubicBezTo>
                    <a:pt x="851" y="17839"/>
                    <a:pt x="5066" y="7528"/>
                    <a:pt x="2888" y="-12"/>
                  </a:cubicBezTo>
                  <a:cubicBezTo>
                    <a:pt x="2391" y="8379"/>
                    <a:pt x="-2199" y="18322"/>
                    <a:pt x="776" y="26684"/>
                  </a:cubicBezTo>
                  <a:close/>
                </a:path>
              </a:pathLst>
            </a:custGeom>
            <a:solidFill>
              <a:schemeClr val="bg1"/>
            </a:solidFill>
            <a:ln w="9318" cap="flat">
              <a:noFill/>
              <a:prstDash val="solid"/>
              <a:round/>
            </a:ln>
          </p:spPr>
          <p:txBody>
            <a:bodyPr rtlCol="0" anchor="ctr"/>
            <a:lstStyle/>
            <a:p>
              <a:endParaRPr lang="en-LT"/>
            </a:p>
          </p:txBody>
        </p:sp>
        <p:sp>
          <p:nvSpPr>
            <p:cNvPr id="351" name="Freeform 350">
              <a:extLst>
                <a:ext uri="{FF2B5EF4-FFF2-40B4-BE49-F238E27FC236}">
                  <a16:creationId xmlns:a16="http://schemas.microsoft.com/office/drawing/2014/main" id="{828ECCC1-D044-6A42-B8E6-10C22D1393B2}"/>
                </a:ext>
              </a:extLst>
            </p:cNvPr>
            <p:cNvSpPr/>
            <p:nvPr/>
          </p:nvSpPr>
          <p:spPr>
            <a:xfrm>
              <a:off x="6419609" y="3110765"/>
              <a:ext cx="219503" cy="47567"/>
            </a:xfrm>
            <a:custGeom>
              <a:avLst/>
              <a:gdLst>
                <a:gd name="connsiteX0" fmla="*/ 54910 w 80558"/>
                <a:gd name="connsiteY0" fmla="*/ 6389 h 17457"/>
                <a:gd name="connsiteX1" fmla="*/ 59134 w 80558"/>
                <a:gd name="connsiteY1" fmla="*/ 7458 h 17457"/>
                <a:gd name="connsiteX2" fmla="*/ 54910 w 80558"/>
                <a:gd name="connsiteY2" fmla="*/ 7458 h 17457"/>
                <a:gd name="connsiteX3" fmla="*/ 33695 w 80558"/>
                <a:gd name="connsiteY3" fmla="*/ 9596 h 17457"/>
                <a:gd name="connsiteX4" fmla="*/ 31583 w 80558"/>
                <a:gd name="connsiteY4" fmla="*/ 7458 h 17457"/>
                <a:gd name="connsiteX5" fmla="*/ 54910 w 80558"/>
                <a:gd name="connsiteY5" fmla="*/ 6389 h 17457"/>
                <a:gd name="connsiteX6" fmla="*/ 16733 w 80558"/>
                <a:gd name="connsiteY6" fmla="*/ 17069 h 17457"/>
                <a:gd name="connsiteX7" fmla="*/ 17794 w 80558"/>
                <a:gd name="connsiteY7" fmla="*/ 11734 h 17457"/>
                <a:gd name="connsiteX8" fmla="*/ 80339 w 80558"/>
                <a:gd name="connsiteY8" fmla="*/ 2122 h 17457"/>
                <a:gd name="connsiteX9" fmla="*/ 8266 w 80558"/>
                <a:gd name="connsiteY9" fmla="*/ 1053 h 17457"/>
                <a:gd name="connsiteX10" fmla="*/ 8266 w 80558"/>
                <a:gd name="connsiteY10" fmla="*/ 2122 h 17457"/>
                <a:gd name="connsiteX11" fmla="*/ 30503 w 80558"/>
                <a:gd name="connsiteY11" fmla="*/ 5329 h 17457"/>
                <a:gd name="connsiteX12" fmla="*/ 30503 w 80558"/>
                <a:gd name="connsiteY12" fmla="*/ 9596 h 17457"/>
                <a:gd name="connsiteX13" fmla="*/ 14621 w 80558"/>
                <a:gd name="connsiteY13" fmla="*/ 6389 h 17457"/>
                <a:gd name="connsiteX14" fmla="*/ -220 w 80558"/>
                <a:gd name="connsiteY14" fmla="*/ 7458 h 17457"/>
                <a:gd name="connsiteX15" fmla="*/ 11439 w 80558"/>
                <a:gd name="connsiteY15" fmla="*/ 11734 h 17457"/>
                <a:gd name="connsiteX16" fmla="*/ 16733 w 80558"/>
                <a:gd name="connsiteY16" fmla="*/ 17069 h 1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0558" h="17457">
                  <a:moveTo>
                    <a:pt x="54910" y="6389"/>
                  </a:moveTo>
                  <a:cubicBezTo>
                    <a:pt x="56580" y="6483"/>
                    <a:pt x="58927" y="5878"/>
                    <a:pt x="59134" y="7458"/>
                  </a:cubicBezTo>
                  <a:lnTo>
                    <a:pt x="54910" y="7458"/>
                  </a:lnTo>
                  <a:cubicBezTo>
                    <a:pt x="49503" y="9870"/>
                    <a:pt x="38839" y="6947"/>
                    <a:pt x="33695" y="9596"/>
                  </a:cubicBezTo>
                  <a:cubicBezTo>
                    <a:pt x="32766" y="9113"/>
                    <a:pt x="31818" y="8650"/>
                    <a:pt x="31583" y="7458"/>
                  </a:cubicBezTo>
                  <a:cubicBezTo>
                    <a:pt x="36352" y="1867"/>
                    <a:pt x="46630" y="8432"/>
                    <a:pt x="54910" y="6389"/>
                  </a:cubicBezTo>
                  <a:close/>
                  <a:moveTo>
                    <a:pt x="16733" y="17069"/>
                  </a:moveTo>
                  <a:cubicBezTo>
                    <a:pt x="20262" y="16729"/>
                    <a:pt x="13945" y="12405"/>
                    <a:pt x="17794" y="11734"/>
                  </a:cubicBezTo>
                  <a:cubicBezTo>
                    <a:pt x="42491" y="12405"/>
                    <a:pt x="62992" y="8848"/>
                    <a:pt x="80339" y="2122"/>
                  </a:cubicBezTo>
                  <a:cubicBezTo>
                    <a:pt x="63424" y="7562"/>
                    <a:pt x="30654" y="3570"/>
                    <a:pt x="8266" y="1053"/>
                  </a:cubicBezTo>
                  <a:cubicBezTo>
                    <a:pt x="6173" y="-1463"/>
                    <a:pt x="6173" y="1138"/>
                    <a:pt x="8266" y="2122"/>
                  </a:cubicBezTo>
                  <a:cubicBezTo>
                    <a:pt x="15944" y="2917"/>
                    <a:pt x="24430" y="2917"/>
                    <a:pt x="30503" y="5329"/>
                  </a:cubicBezTo>
                  <a:lnTo>
                    <a:pt x="30503" y="9596"/>
                  </a:lnTo>
                  <a:cubicBezTo>
                    <a:pt x="25097" y="8650"/>
                    <a:pt x="15278" y="12131"/>
                    <a:pt x="14621" y="6389"/>
                  </a:cubicBezTo>
                  <a:cubicBezTo>
                    <a:pt x="10791" y="13068"/>
                    <a:pt x="4558" y="4951"/>
                    <a:pt x="-220" y="7458"/>
                  </a:cubicBezTo>
                  <a:cubicBezTo>
                    <a:pt x="3563" y="8990"/>
                    <a:pt x="6604" y="11251"/>
                    <a:pt x="11439" y="11734"/>
                  </a:cubicBezTo>
                  <a:cubicBezTo>
                    <a:pt x="13025" y="13683"/>
                    <a:pt x="11410" y="18876"/>
                    <a:pt x="16733" y="17069"/>
                  </a:cubicBezTo>
                  <a:close/>
                </a:path>
              </a:pathLst>
            </a:custGeom>
            <a:solidFill>
              <a:schemeClr val="bg1"/>
            </a:solidFill>
            <a:ln w="9318" cap="flat">
              <a:noFill/>
              <a:prstDash val="solid"/>
              <a:round/>
            </a:ln>
          </p:spPr>
          <p:txBody>
            <a:bodyPr rtlCol="0" anchor="ctr"/>
            <a:lstStyle/>
            <a:p>
              <a:endParaRPr lang="en-LT"/>
            </a:p>
          </p:txBody>
        </p:sp>
        <p:sp>
          <p:nvSpPr>
            <p:cNvPr id="352" name="Freeform 351">
              <a:extLst>
                <a:ext uri="{FF2B5EF4-FFF2-40B4-BE49-F238E27FC236}">
                  <a16:creationId xmlns:a16="http://schemas.microsoft.com/office/drawing/2014/main" id="{18894AF0-38E4-7449-A285-4FFC1EF1BD2B}"/>
                </a:ext>
              </a:extLst>
            </p:cNvPr>
            <p:cNvSpPr/>
            <p:nvPr/>
          </p:nvSpPr>
          <p:spPr>
            <a:xfrm>
              <a:off x="6789253" y="2583847"/>
              <a:ext cx="15087" cy="142108"/>
            </a:xfrm>
            <a:custGeom>
              <a:avLst/>
              <a:gdLst>
                <a:gd name="connsiteX0" fmla="*/ -220 w 5537"/>
                <a:gd name="connsiteY0" fmla="*/ 52142 h 52154"/>
                <a:gd name="connsiteX1" fmla="*/ 5102 w 5537"/>
                <a:gd name="connsiteY1" fmla="*/ -12 h 52154"/>
                <a:gd name="connsiteX2" fmla="*/ -220 w 5537"/>
                <a:gd name="connsiteY2" fmla="*/ 52142 h 52154"/>
              </a:gdLst>
              <a:ahLst/>
              <a:cxnLst>
                <a:cxn ang="0">
                  <a:pos x="connsiteX0" y="connsiteY0"/>
                </a:cxn>
                <a:cxn ang="0">
                  <a:pos x="connsiteX1" y="connsiteY1"/>
                </a:cxn>
                <a:cxn ang="0">
                  <a:pos x="connsiteX2" y="connsiteY2"/>
                </a:cxn>
              </a:cxnLst>
              <a:rect l="l" t="t" r="r" b="b"/>
              <a:pathLst>
                <a:path w="5537" h="52154">
                  <a:moveTo>
                    <a:pt x="-220" y="52142"/>
                  </a:moveTo>
                  <a:cubicBezTo>
                    <a:pt x="1911" y="34924"/>
                    <a:pt x="6342" y="16988"/>
                    <a:pt x="5102" y="-12"/>
                  </a:cubicBezTo>
                  <a:cubicBezTo>
                    <a:pt x="2408" y="16449"/>
                    <a:pt x="794" y="33988"/>
                    <a:pt x="-220" y="52142"/>
                  </a:cubicBezTo>
                  <a:close/>
                </a:path>
              </a:pathLst>
            </a:custGeom>
            <a:solidFill>
              <a:schemeClr val="bg1"/>
            </a:solidFill>
            <a:ln w="9318" cap="flat">
              <a:noFill/>
              <a:prstDash val="solid"/>
              <a:round/>
            </a:ln>
          </p:spPr>
          <p:txBody>
            <a:bodyPr rtlCol="0" anchor="ctr"/>
            <a:lstStyle/>
            <a:p>
              <a:endParaRPr lang="en-LT"/>
            </a:p>
          </p:txBody>
        </p:sp>
        <p:sp>
          <p:nvSpPr>
            <p:cNvPr id="353" name="Freeform 352">
              <a:extLst>
                <a:ext uri="{FF2B5EF4-FFF2-40B4-BE49-F238E27FC236}">
                  <a16:creationId xmlns:a16="http://schemas.microsoft.com/office/drawing/2014/main" id="{CFC526FA-69FA-0743-B6DF-D21AA1649005}"/>
                </a:ext>
              </a:extLst>
            </p:cNvPr>
            <p:cNvSpPr/>
            <p:nvPr/>
          </p:nvSpPr>
          <p:spPr>
            <a:xfrm>
              <a:off x="6845280" y="3780260"/>
              <a:ext cx="8024" cy="20681"/>
            </a:xfrm>
            <a:custGeom>
              <a:avLst/>
              <a:gdLst>
                <a:gd name="connsiteX0" fmla="*/ 2554 w 2945"/>
                <a:gd name="connsiteY0" fmla="*/ -12 h 7590"/>
                <a:gd name="connsiteX1" fmla="*/ 2554 w 2945"/>
                <a:gd name="connsiteY1" fmla="*/ -12 h 7590"/>
              </a:gdLst>
              <a:ahLst/>
              <a:cxnLst>
                <a:cxn ang="0">
                  <a:pos x="connsiteX0" y="connsiteY0"/>
                </a:cxn>
                <a:cxn ang="0">
                  <a:pos x="connsiteX1" y="connsiteY1"/>
                </a:cxn>
              </a:cxnLst>
              <a:rect l="l" t="t" r="r" b="b"/>
              <a:pathLst>
                <a:path w="2945" h="7590">
                  <a:moveTo>
                    <a:pt x="2554" y="-12"/>
                  </a:moveTo>
                  <a:cubicBezTo>
                    <a:pt x="-4355" y="14121"/>
                    <a:pt x="3999" y="5144"/>
                    <a:pt x="2554" y="-12"/>
                  </a:cubicBezTo>
                  <a:close/>
                </a:path>
              </a:pathLst>
            </a:custGeom>
            <a:solidFill>
              <a:schemeClr val="bg1"/>
            </a:solidFill>
            <a:ln w="9318" cap="flat">
              <a:noFill/>
              <a:prstDash val="solid"/>
              <a:round/>
            </a:ln>
          </p:spPr>
          <p:txBody>
            <a:bodyPr rtlCol="0" anchor="ctr"/>
            <a:lstStyle/>
            <a:p>
              <a:endParaRPr lang="en-LT"/>
            </a:p>
          </p:txBody>
        </p:sp>
        <p:sp>
          <p:nvSpPr>
            <p:cNvPr id="354" name="Freeform 353">
              <a:extLst>
                <a:ext uri="{FF2B5EF4-FFF2-40B4-BE49-F238E27FC236}">
                  <a16:creationId xmlns:a16="http://schemas.microsoft.com/office/drawing/2014/main" id="{C9807F2F-9784-BE49-BF69-168B6B87DC99}"/>
                </a:ext>
              </a:extLst>
            </p:cNvPr>
            <p:cNvSpPr/>
            <p:nvPr/>
          </p:nvSpPr>
          <p:spPr>
            <a:xfrm>
              <a:off x="7024881" y="3853029"/>
              <a:ext cx="18608" cy="20338"/>
            </a:xfrm>
            <a:custGeom>
              <a:avLst/>
              <a:gdLst>
                <a:gd name="connsiteX0" fmla="*/ 245 w 6829"/>
                <a:gd name="connsiteY0" fmla="*/ 7452 h 7464"/>
                <a:gd name="connsiteX1" fmla="*/ 6610 w 6829"/>
                <a:gd name="connsiteY1" fmla="*/ -12 h 7464"/>
                <a:gd name="connsiteX2" fmla="*/ 245 w 6829"/>
                <a:gd name="connsiteY2" fmla="*/ 7452 h 7464"/>
              </a:gdLst>
              <a:ahLst/>
              <a:cxnLst>
                <a:cxn ang="0">
                  <a:pos x="connsiteX0" y="connsiteY0"/>
                </a:cxn>
                <a:cxn ang="0">
                  <a:pos x="connsiteX1" y="connsiteY1"/>
                </a:cxn>
                <a:cxn ang="0">
                  <a:pos x="connsiteX2" y="connsiteY2"/>
                </a:cxn>
              </a:cxnLst>
              <a:rect l="l" t="t" r="r" b="b"/>
              <a:pathLst>
                <a:path w="6829" h="7464">
                  <a:moveTo>
                    <a:pt x="245" y="7452"/>
                  </a:moveTo>
                  <a:cubicBezTo>
                    <a:pt x="1710" y="4311"/>
                    <a:pt x="5155" y="3138"/>
                    <a:pt x="6610" y="-12"/>
                  </a:cubicBezTo>
                  <a:cubicBezTo>
                    <a:pt x="3475" y="792"/>
                    <a:pt x="-1820" y="4945"/>
                    <a:pt x="245" y="7452"/>
                  </a:cubicBezTo>
                  <a:close/>
                </a:path>
              </a:pathLst>
            </a:custGeom>
            <a:solidFill>
              <a:schemeClr val="bg1"/>
            </a:solidFill>
            <a:ln w="9318" cap="flat">
              <a:noFill/>
              <a:prstDash val="solid"/>
              <a:round/>
            </a:ln>
          </p:spPr>
          <p:txBody>
            <a:bodyPr rtlCol="0" anchor="ctr"/>
            <a:lstStyle/>
            <a:p>
              <a:endParaRPr lang="en-LT"/>
            </a:p>
          </p:txBody>
        </p:sp>
        <p:sp>
          <p:nvSpPr>
            <p:cNvPr id="355" name="Freeform 354">
              <a:extLst>
                <a:ext uri="{FF2B5EF4-FFF2-40B4-BE49-F238E27FC236}">
                  <a16:creationId xmlns:a16="http://schemas.microsoft.com/office/drawing/2014/main" id="{ED7E5AAF-D557-B144-86D3-B79BAA40B974}"/>
                </a:ext>
              </a:extLst>
            </p:cNvPr>
            <p:cNvSpPr/>
            <p:nvPr/>
          </p:nvSpPr>
          <p:spPr>
            <a:xfrm>
              <a:off x="7080549" y="3786062"/>
              <a:ext cx="21594" cy="26471"/>
            </a:xfrm>
            <a:custGeom>
              <a:avLst/>
              <a:gdLst>
                <a:gd name="connsiteX0" fmla="*/ 7366 w 7925"/>
                <a:gd name="connsiteY0" fmla="*/ -12 h 9715"/>
                <a:gd name="connsiteX1" fmla="*/ -49 w 7925"/>
                <a:gd name="connsiteY1" fmla="*/ 9599 h 9715"/>
                <a:gd name="connsiteX2" fmla="*/ 7366 w 7925"/>
                <a:gd name="connsiteY2" fmla="*/ -12 h 9715"/>
              </a:gdLst>
              <a:ahLst/>
              <a:cxnLst>
                <a:cxn ang="0">
                  <a:pos x="connsiteX0" y="connsiteY0"/>
                </a:cxn>
                <a:cxn ang="0">
                  <a:pos x="connsiteX1" y="connsiteY1"/>
                </a:cxn>
                <a:cxn ang="0">
                  <a:pos x="connsiteX2" y="connsiteY2"/>
                </a:cxn>
              </a:cxnLst>
              <a:rect l="l" t="t" r="r" b="b"/>
              <a:pathLst>
                <a:path w="7925" h="9715">
                  <a:moveTo>
                    <a:pt x="7366" y="-12"/>
                  </a:moveTo>
                  <a:cubicBezTo>
                    <a:pt x="4175" y="1359"/>
                    <a:pt x="-1251" y="10791"/>
                    <a:pt x="-49" y="9599"/>
                  </a:cubicBezTo>
                  <a:cubicBezTo>
                    <a:pt x="2372" y="6998"/>
                    <a:pt x="9310" y="3403"/>
                    <a:pt x="7366" y="-12"/>
                  </a:cubicBezTo>
                  <a:close/>
                </a:path>
              </a:pathLst>
            </a:custGeom>
            <a:solidFill>
              <a:schemeClr val="bg1"/>
            </a:solidFill>
            <a:ln w="9318" cap="flat">
              <a:noFill/>
              <a:prstDash val="solid"/>
              <a:round/>
            </a:ln>
          </p:spPr>
          <p:txBody>
            <a:bodyPr rtlCol="0" anchor="ctr"/>
            <a:lstStyle/>
            <a:p>
              <a:endParaRPr lang="en-LT"/>
            </a:p>
          </p:txBody>
        </p:sp>
        <p:sp>
          <p:nvSpPr>
            <p:cNvPr id="356" name="Freeform 355">
              <a:extLst>
                <a:ext uri="{FF2B5EF4-FFF2-40B4-BE49-F238E27FC236}">
                  <a16:creationId xmlns:a16="http://schemas.microsoft.com/office/drawing/2014/main" id="{D5BEB7B0-69BD-2C40-B3F4-AC72A4EA3418}"/>
                </a:ext>
              </a:extLst>
            </p:cNvPr>
            <p:cNvSpPr/>
            <p:nvPr/>
          </p:nvSpPr>
          <p:spPr>
            <a:xfrm>
              <a:off x="6893002" y="3981115"/>
              <a:ext cx="14725" cy="11891"/>
            </a:xfrm>
            <a:custGeom>
              <a:avLst/>
              <a:gdLst>
                <a:gd name="connsiteX0" fmla="*/ 4133 w 5404"/>
                <a:gd name="connsiteY0" fmla="*/ 4254 h 4364"/>
                <a:gd name="connsiteX1" fmla="*/ 5184 w 5404"/>
                <a:gd name="connsiteY1" fmla="*/ 1057 h 4364"/>
                <a:gd name="connsiteX2" fmla="*/ -129 w 5404"/>
                <a:gd name="connsiteY2" fmla="*/ -12 h 4364"/>
                <a:gd name="connsiteX3" fmla="*/ 4133 w 5404"/>
                <a:gd name="connsiteY3" fmla="*/ 4254 h 4364"/>
              </a:gdLst>
              <a:ahLst/>
              <a:cxnLst>
                <a:cxn ang="0">
                  <a:pos x="connsiteX0" y="connsiteY0"/>
                </a:cxn>
                <a:cxn ang="0">
                  <a:pos x="connsiteX1" y="connsiteY1"/>
                </a:cxn>
                <a:cxn ang="0">
                  <a:pos x="connsiteX2" y="connsiteY2"/>
                </a:cxn>
                <a:cxn ang="0">
                  <a:pos x="connsiteX3" y="connsiteY3"/>
                </a:cxn>
              </a:cxnLst>
              <a:rect l="l" t="t" r="r" b="b"/>
              <a:pathLst>
                <a:path w="5404" h="4364">
                  <a:moveTo>
                    <a:pt x="4133" y="4254"/>
                  </a:moveTo>
                  <a:cubicBezTo>
                    <a:pt x="4076" y="2760"/>
                    <a:pt x="4630" y="1918"/>
                    <a:pt x="5184" y="1057"/>
                  </a:cubicBezTo>
                  <a:cubicBezTo>
                    <a:pt x="2725" y="1369"/>
                    <a:pt x="1110" y="877"/>
                    <a:pt x="-129" y="-12"/>
                  </a:cubicBezTo>
                  <a:cubicBezTo>
                    <a:pt x="-608" y="3327"/>
                    <a:pt x="800" y="4756"/>
                    <a:pt x="4133" y="4254"/>
                  </a:cubicBezTo>
                  <a:close/>
                </a:path>
              </a:pathLst>
            </a:custGeom>
            <a:solidFill>
              <a:schemeClr val="bg1"/>
            </a:solidFill>
            <a:ln w="9318" cap="flat">
              <a:noFill/>
              <a:prstDash val="solid"/>
              <a:round/>
            </a:ln>
          </p:spPr>
          <p:txBody>
            <a:bodyPr rtlCol="0" anchor="ctr"/>
            <a:lstStyle/>
            <a:p>
              <a:endParaRPr lang="en-LT"/>
            </a:p>
          </p:txBody>
        </p:sp>
        <p:sp>
          <p:nvSpPr>
            <p:cNvPr id="357" name="Freeform 356">
              <a:extLst>
                <a:ext uri="{FF2B5EF4-FFF2-40B4-BE49-F238E27FC236}">
                  <a16:creationId xmlns:a16="http://schemas.microsoft.com/office/drawing/2014/main" id="{30483A10-258B-974C-B598-E47A934C681C}"/>
                </a:ext>
              </a:extLst>
            </p:cNvPr>
            <p:cNvSpPr/>
            <p:nvPr/>
          </p:nvSpPr>
          <p:spPr>
            <a:xfrm>
              <a:off x="6883882" y="3835527"/>
              <a:ext cx="9232" cy="26240"/>
            </a:xfrm>
            <a:custGeom>
              <a:avLst/>
              <a:gdLst>
                <a:gd name="connsiteX0" fmla="*/ 2157 w 3388"/>
                <a:gd name="connsiteY0" fmla="*/ -12 h 9630"/>
                <a:gd name="connsiteX1" fmla="*/ 1106 w 3388"/>
                <a:gd name="connsiteY1" fmla="*/ 9618 h 9630"/>
                <a:gd name="connsiteX2" fmla="*/ 2157 w 3388"/>
                <a:gd name="connsiteY2" fmla="*/ -12 h 9630"/>
              </a:gdLst>
              <a:ahLst/>
              <a:cxnLst>
                <a:cxn ang="0">
                  <a:pos x="connsiteX0" y="connsiteY0"/>
                </a:cxn>
                <a:cxn ang="0">
                  <a:pos x="connsiteX1" y="connsiteY1"/>
                </a:cxn>
                <a:cxn ang="0">
                  <a:pos x="connsiteX2" y="connsiteY2"/>
                </a:cxn>
              </a:cxnLst>
              <a:rect l="l" t="t" r="r" b="b"/>
              <a:pathLst>
                <a:path w="3388" h="9630">
                  <a:moveTo>
                    <a:pt x="2157" y="-12"/>
                  </a:moveTo>
                  <a:cubicBezTo>
                    <a:pt x="1697" y="2438"/>
                    <a:pt x="-2217" y="6865"/>
                    <a:pt x="1106" y="9618"/>
                  </a:cubicBezTo>
                  <a:cubicBezTo>
                    <a:pt x="186" y="5749"/>
                    <a:pt x="5246" y="2485"/>
                    <a:pt x="2157" y="-12"/>
                  </a:cubicBezTo>
                  <a:close/>
                </a:path>
              </a:pathLst>
            </a:custGeom>
            <a:solidFill>
              <a:schemeClr val="bg1"/>
            </a:solidFill>
            <a:ln w="9318" cap="flat">
              <a:noFill/>
              <a:prstDash val="solid"/>
              <a:round/>
            </a:ln>
          </p:spPr>
          <p:txBody>
            <a:bodyPr rtlCol="0" anchor="ctr"/>
            <a:lstStyle/>
            <a:p>
              <a:endParaRPr lang="en-LT"/>
            </a:p>
          </p:txBody>
        </p:sp>
        <p:sp>
          <p:nvSpPr>
            <p:cNvPr id="358" name="Freeform 357">
              <a:extLst>
                <a:ext uri="{FF2B5EF4-FFF2-40B4-BE49-F238E27FC236}">
                  <a16:creationId xmlns:a16="http://schemas.microsoft.com/office/drawing/2014/main" id="{5B303A02-CC85-B940-8FF0-D3284EF0F50A}"/>
                </a:ext>
              </a:extLst>
            </p:cNvPr>
            <p:cNvSpPr/>
            <p:nvPr/>
          </p:nvSpPr>
          <p:spPr>
            <a:xfrm>
              <a:off x="6382571" y="3372366"/>
              <a:ext cx="26114" cy="26986"/>
            </a:xfrm>
            <a:custGeom>
              <a:avLst/>
              <a:gdLst>
                <a:gd name="connsiteX0" fmla="*/ -220 w 9584"/>
                <a:gd name="connsiteY0" fmla="*/ 9893 h 9904"/>
                <a:gd name="connsiteX1" fmla="*/ 9364 w 9584"/>
                <a:gd name="connsiteY1" fmla="*/ -12 h 9904"/>
                <a:gd name="connsiteX2" fmla="*/ -220 w 9584"/>
                <a:gd name="connsiteY2" fmla="*/ 9893 h 9904"/>
              </a:gdLst>
              <a:ahLst/>
              <a:cxnLst>
                <a:cxn ang="0">
                  <a:pos x="connsiteX0" y="connsiteY0"/>
                </a:cxn>
                <a:cxn ang="0">
                  <a:pos x="connsiteX1" y="connsiteY1"/>
                </a:cxn>
                <a:cxn ang="0">
                  <a:pos x="connsiteX2" y="connsiteY2"/>
                </a:cxn>
              </a:cxnLst>
              <a:rect l="l" t="t" r="r" b="b"/>
              <a:pathLst>
                <a:path w="9584" h="9904">
                  <a:moveTo>
                    <a:pt x="-220" y="9893"/>
                  </a:moveTo>
                  <a:cubicBezTo>
                    <a:pt x="3000" y="6563"/>
                    <a:pt x="6191" y="3233"/>
                    <a:pt x="9364" y="-12"/>
                  </a:cubicBezTo>
                  <a:cubicBezTo>
                    <a:pt x="5590" y="2958"/>
                    <a:pt x="2099" y="6118"/>
                    <a:pt x="-220" y="9893"/>
                  </a:cubicBezTo>
                  <a:close/>
                </a:path>
              </a:pathLst>
            </a:custGeom>
            <a:solidFill>
              <a:schemeClr val="bg1"/>
            </a:solidFill>
            <a:ln w="9318" cap="flat">
              <a:noFill/>
              <a:prstDash val="solid"/>
              <a:round/>
            </a:ln>
          </p:spPr>
          <p:txBody>
            <a:bodyPr rtlCol="0" anchor="ctr"/>
            <a:lstStyle/>
            <a:p>
              <a:endParaRPr lang="en-LT"/>
            </a:p>
          </p:txBody>
        </p:sp>
        <p:sp>
          <p:nvSpPr>
            <p:cNvPr id="359" name="Freeform 358">
              <a:extLst>
                <a:ext uri="{FF2B5EF4-FFF2-40B4-BE49-F238E27FC236}">
                  <a16:creationId xmlns:a16="http://schemas.microsoft.com/office/drawing/2014/main" id="{CB5BB6E8-498E-224B-ADDC-32B5589F5ACC}"/>
                </a:ext>
              </a:extLst>
            </p:cNvPr>
            <p:cNvSpPr/>
            <p:nvPr/>
          </p:nvSpPr>
          <p:spPr>
            <a:xfrm>
              <a:off x="6786468" y="2725955"/>
              <a:ext cx="2782" cy="54389"/>
            </a:xfrm>
            <a:custGeom>
              <a:avLst/>
              <a:gdLst>
                <a:gd name="connsiteX0" fmla="*/ -71 w 1021"/>
                <a:gd name="connsiteY0" fmla="*/ 19949 h 19961"/>
                <a:gd name="connsiteX1" fmla="*/ 802 w 1021"/>
                <a:gd name="connsiteY1" fmla="*/ -12 h 19961"/>
                <a:gd name="connsiteX2" fmla="*/ -71 w 1021"/>
                <a:gd name="connsiteY2" fmla="*/ 19949 h 19961"/>
              </a:gdLst>
              <a:ahLst/>
              <a:cxnLst>
                <a:cxn ang="0">
                  <a:pos x="connsiteX0" y="connsiteY0"/>
                </a:cxn>
                <a:cxn ang="0">
                  <a:pos x="connsiteX1" y="connsiteY1"/>
                </a:cxn>
                <a:cxn ang="0">
                  <a:pos x="connsiteX2" y="connsiteY2"/>
                </a:cxn>
              </a:cxnLst>
              <a:rect l="l" t="t" r="r" b="b"/>
              <a:pathLst>
                <a:path w="1021" h="19961">
                  <a:moveTo>
                    <a:pt x="-71" y="19949"/>
                  </a:moveTo>
                  <a:cubicBezTo>
                    <a:pt x="145" y="13213"/>
                    <a:pt x="436" y="6563"/>
                    <a:pt x="802" y="-12"/>
                  </a:cubicBezTo>
                  <a:cubicBezTo>
                    <a:pt x="-43" y="6790"/>
                    <a:pt x="-465" y="13469"/>
                    <a:pt x="-71" y="19949"/>
                  </a:cubicBezTo>
                  <a:close/>
                </a:path>
              </a:pathLst>
            </a:custGeom>
            <a:solidFill>
              <a:schemeClr val="bg1"/>
            </a:solidFill>
            <a:ln w="9318" cap="flat">
              <a:noFill/>
              <a:prstDash val="solid"/>
              <a:round/>
            </a:ln>
          </p:spPr>
          <p:txBody>
            <a:bodyPr rtlCol="0" anchor="ctr"/>
            <a:lstStyle/>
            <a:p>
              <a:endParaRPr lang="en-LT"/>
            </a:p>
          </p:txBody>
        </p:sp>
        <p:sp>
          <p:nvSpPr>
            <p:cNvPr id="360" name="Freeform 359">
              <a:extLst>
                <a:ext uri="{FF2B5EF4-FFF2-40B4-BE49-F238E27FC236}">
                  <a16:creationId xmlns:a16="http://schemas.microsoft.com/office/drawing/2014/main" id="{8CE9F017-28D9-B344-B9B3-0930FA74328B}"/>
                </a:ext>
              </a:extLst>
            </p:cNvPr>
            <p:cNvSpPr/>
            <p:nvPr/>
          </p:nvSpPr>
          <p:spPr>
            <a:xfrm>
              <a:off x="6552159" y="3547341"/>
              <a:ext cx="6101" cy="29101"/>
            </a:xfrm>
            <a:custGeom>
              <a:avLst/>
              <a:gdLst>
                <a:gd name="connsiteX0" fmla="*/ 2020 w 2239"/>
                <a:gd name="connsiteY0" fmla="*/ 10668 h 10680"/>
                <a:gd name="connsiteX1" fmla="*/ -101 w 2239"/>
                <a:gd name="connsiteY1" fmla="*/ -12 h 10680"/>
                <a:gd name="connsiteX2" fmla="*/ 2020 w 2239"/>
                <a:gd name="connsiteY2" fmla="*/ 10668 h 10680"/>
              </a:gdLst>
              <a:ahLst/>
              <a:cxnLst>
                <a:cxn ang="0">
                  <a:pos x="connsiteX0" y="connsiteY0"/>
                </a:cxn>
                <a:cxn ang="0">
                  <a:pos x="connsiteX1" y="connsiteY1"/>
                </a:cxn>
                <a:cxn ang="0">
                  <a:pos x="connsiteX2" y="connsiteY2"/>
                </a:cxn>
              </a:cxnLst>
              <a:rect l="l" t="t" r="r" b="b"/>
              <a:pathLst>
                <a:path w="2239" h="10680">
                  <a:moveTo>
                    <a:pt x="2020" y="10668"/>
                  </a:moveTo>
                  <a:cubicBezTo>
                    <a:pt x="1935" y="6487"/>
                    <a:pt x="1494" y="2646"/>
                    <a:pt x="-101" y="-12"/>
                  </a:cubicBezTo>
                  <a:cubicBezTo>
                    <a:pt x="452" y="3687"/>
                    <a:pt x="-1678" y="10139"/>
                    <a:pt x="2020" y="10668"/>
                  </a:cubicBezTo>
                  <a:close/>
                </a:path>
              </a:pathLst>
            </a:custGeom>
            <a:solidFill>
              <a:schemeClr val="bg1"/>
            </a:solidFill>
            <a:ln w="9318" cap="flat">
              <a:noFill/>
              <a:prstDash val="solid"/>
              <a:round/>
            </a:ln>
          </p:spPr>
          <p:txBody>
            <a:bodyPr rtlCol="0" anchor="ctr"/>
            <a:lstStyle/>
            <a:p>
              <a:endParaRPr lang="en-LT"/>
            </a:p>
          </p:txBody>
        </p:sp>
        <p:sp>
          <p:nvSpPr>
            <p:cNvPr id="361" name="Freeform 360">
              <a:extLst>
                <a:ext uri="{FF2B5EF4-FFF2-40B4-BE49-F238E27FC236}">
                  <a16:creationId xmlns:a16="http://schemas.microsoft.com/office/drawing/2014/main" id="{DD0AFBD0-3FB0-8C49-9F60-57D73AA340EE}"/>
                </a:ext>
              </a:extLst>
            </p:cNvPr>
            <p:cNvSpPr/>
            <p:nvPr/>
          </p:nvSpPr>
          <p:spPr>
            <a:xfrm>
              <a:off x="6612608" y="2639217"/>
              <a:ext cx="17858" cy="205669"/>
            </a:xfrm>
            <a:custGeom>
              <a:avLst/>
              <a:gdLst>
                <a:gd name="connsiteX0" fmla="*/ 1031 w 6554"/>
                <a:gd name="connsiteY0" fmla="*/ 72623 h 75481"/>
                <a:gd name="connsiteX1" fmla="*/ 6334 w 6554"/>
                <a:gd name="connsiteY1" fmla="*/ -12 h 75481"/>
                <a:gd name="connsiteX2" fmla="*/ -39 w 6554"/>
                <a:gd name="connsiteY2" fmla="*/ 71554 h 75481"/>
                <a:gd name="connsiteX3" fmla="*/ 1031 w 6554"/>
                <a:gd name="connsiteY3" fmla="*/ 72623 h 75481"/>
              </a:gdLst>
              <a:ahLst/>
              <a:cxnLst>
                <a:cxn ang="0">
                  <a:pos x="connsiteX0" y="connsiteY0"/>
                </a:cxn>
                <a:cxn ang="0">
                  <a:pos x="connsiteX1" y="connsiteY1"/>
                </a:cxn>
                <a:cxn ang="0">
                  <a:pos x="connsiteX2" y="connsiteY2"/>
                </a:cxn>
                <a:cxn ang="0">
                  <a:pos x="connsiteX3" y="connsiteY3"/>
                </a:cxn>
              </a:cxnLst>
              <a:rect l="l" t="t" r="r" b="b"/>
              <a:pathLst>
                <a:path w="6554" h="75481">
                  <a:moveTo>
                    <a:pt x="1031" y="72623"/>
                  </a:moveTo>
                  <a:cubicBezTo>
                    <a:pt x="26" y="46314"/>
                    <a:pt x="5856" y="21216"/>
                    <a:pt x="6334" y="-12"/>
                  </a:cubicBezTo>
                  <a:cubicBezTo>
                    <a:pt x="-1494" y="18104"/>
                    <a:pt x="-20" y="45558"/>
                    <a:pt x="-39" y="71554"/>
                  </a:cubicBezTo>
                  <a:cubicBezTo>
                    <a:pt x="-884" y="75206"/>
                    <a:pt x="1538" y="77647"/>
                    <a:pt x="1031" y="72623"/>
                  </a:cubicBezTo>
                  <a:close/>
                </a:path>
              </a:pathLst>
            </a:custGeom>
            <a:solidFill>
              <a:schemeClr val="bg1"/>
            </a:solidFill>
            <a:ln w="9318" cap="flat">
              <a:noFill/>
              <a:prstDash val="solid"/>
              <a:round/>
            </a:ln>
          </p:spPr>
          <p:txBody>
            <a:bodyPr rtlCol="0" anchor="ctr"/>
            <a:lstStyle/>
            <a:p>
              <a:endParaRPr lang="en-LT"/>
            </a:p>
          </p:txBody>
        </p:sp>
        <p:sp>
          <p:nvSpPr>
            <p:cNvPr id="362" name="Freeform 361">
              <a:extLst>
                <a:ext uri="{FF2B5EF4-FFF2-40B4-BE49-F238E27FC236}">
                  <a16:creationId xmlns:a16="http://schemas.microsoft.com/office/drawing/2014/main" id="{E0C8267B-822B-1B46-81D3-4F5E42FD6E42}"/>
                </a:ext>
              </a:extLst>
            </p:cNvPr>
            <p:cNvSpPr/>
            <p:nvPr/>
          </p:nvSpPr>
          <p:spPr>
            <a:xfrm>
              <a:off x="6657513" y="2586787"/>
              <a:ext cx="8150" cy="26188"/>
            </a:xfrm>
            <a:custGeom>
              <a:avLst/>
              <a:gdLst>
                <a:gd name="connsiteX0" fmla="*/ 1494 w 2991"/>
                <a:gd name="connsiteY0" fmla="*/ -12 h 9611"/>
                <a:gd name="connsiteX1" fmla="*/ 1494 w 2991"/>
                <a:gd name="connsiteY1" fmla="*/ 9599 h 9611"/>
                <a:gd name="connsiteX2" fmla="*/ 1494 w 2991"/>
                <a:gd name="connsiteY2" fmla="*/ -12 h 9611"/>
              </a:gdLst>
              <a:ahLst/>
              <a:cxnLst>
                <a:cxn ang="0">
                  <a:pos x="connsiteX0" y="connsiteY0"/>
                </a:cxn>
                <a:cxn ang="0">
                  <a:pos x="connsiteX1" y="connsiteY1"/>
                </a:cxn>
                <a:cxn ang="0">
                  <a:pos x="connsiteX2" y="connsiteY2"/>
                </a:cxn>
              </a:cxnLst>
              <a:rect l="l" t="t" r="r" b="b"/>
              <a:pathLst>
                <a:path w="2991" h="9611">
                  <a:moveTo>
                    <a:pt x="1494" y="-12"/>
                  </a:moveTo>
                  <a:cubicBezTo>
                    <a:pt x="-1312" y="1918"/>
                    <a:pt x="-205" y="6667"/>
                    <a:pt x="1494" y="9599"/>
                  </a:cubicBezTo>
                  <a:cubicBezTo>
                    <a:pt x="1936" y="7461"/>
                    <a:pt x="4132" y="1681"/>
                    <a:pt x="1494" y="-12"/>
                  </a:cubicBezTo>
                  <a:close/>
                </a:path>
              </a:pathLst>
            </a:custGeom>
            <a:solidFill>
              <a:schemeClr val="bg1"/>
            </a:solidFill>
            <a:ln w="9318" cap="flat">
              <a:noFill/>
              <a:prstDash val="solid"/>
              <a:round/>
            </a:ln>
          </p:spPr>
          <p:txBody>
            <a:bodyPr rtlCol="0" anchor="ctr"/>
            <a:lstStyle/>
            <a:p>
              <a:endParaRPr lang="en-LT"/>
            </a:p>
          </p:txBody>
        </p:sp>
        <p:sp>
          <p:nvSpPr>
            <p:cNvPr id="363" name="Freeform 362">
              <a:extLst>
                <a:ext uri="{FF2B5EF4-FFF2-40B4-BE49-F238E27FC236}">
                  <a16:creationId xmlns:a16="http://schemas.microsoft.com/office/drawing/2014/main" id="{6FBCB533-CB8A-1E47-BDD6-43694C664F95}"/>
                </a:ext>
              </a:extLst>
            </p:cNvPr>
            <p:cNvSpPr/>
            <p:nvPr/>
          </p:nvSpPr>
          <p:spPr>
            <a:xfrm>
              <a:off x="6679063" y="2755625"/>
              <a:ext cx="7561" cy="36231"/>
            </a:xfrm>
            <a:custGeom>
              <a:avLst/>
              <a:gdLst>
                <a:gd name="connsiteX0" fmla="*/ 2081 w 2775"/>
                <a:gd name="connsiteY0" fmla="*/ -12 h 13297"/>
                <a:gd name="connsiteX1" fmla="*/ -31 w 2775"/>
                <a:gd name="connsiteY1" fmla="*/ 5323 h 13297"/>
                <a:gd name="connsiteX2" fmla="*/ 2081 w 2775"/>
                <a:gd name="connsiteY2" fmla="*/ -12 h 13297"/>
              </a:gdLst>
              <a:ahLst/>
              <a:cxnLst>
                <a:cxn ang="0">
                  <a:pos x="connsiteX0" y="connsiteY0"/>
                </a:cxn>
                <a:cxn ang="0">
                  <a:pos x="connsiteX1" y="connsiteY1"/>
                </a:cxn>
                <a:cxn ang="0">
                  <a:pos x="connsiteX2" y="connsiteY2"/>
                </a:cxn>
              </a:cxnLst>
              <a:rect l="l" t="t" r="r" b="b"/>
              <a:pathLst>
                <a:path w="2775" h="13297">
                  <a:moveTo>
                    <a:pt x="2081" y="-12"/>
                  </a:moveTo>
                  <a:cubicBezTo>
                    <a:pt x="1490" y="1889"/>
                    <a:pt x="1518" y="4425"/>
                    <a:pt x="-31" y="5323"/>
                  </a:cubicBezTo>
                  <a:cubicBezTo>
                    <a:pt x="-1280" y="25956"/>
                    <a:pt x="4146" y="-31"/>
                    <a:pt x="2081" y="-12"/>
                  </a:cubicBezTo>
                  <a:close/>
                </a:path>
              </a:pathLst>
            </a:custGeom>
            <a:solidFill>
              <a:schemeClr val="bg1"/>
            </a:solidFill>
            <a:ln w="9318" cap="flat">
              <a:noFill/>
              <a:prstDash val="solid"/>
              <a:round/>
            </a:ln>
          </p:spPr>
          <p:txBody>
            <a:bodyPr rtlCol="0" anchor="ctr"/>
            <a:lstStyle/>
            <a:p>
              <a:endParaRPr lang="en-LT"/>
            </a:p>
          </p:txBody>
        </p:sp>
        <p:sp>
          <p:nvSpPr>
            <p:cNvPr id="364" name="Freeform 363">
              <a:extLst>
                <a:ext uri="{FF2B5EF4-FFF2-40B4-BE49-F238E27FC236}">
                  <a16:creationId xmlns:a16="http://schemas.microsoft.com/office/drawing/2014/main" id="{020065BF-EAC7-2D4C-B104-CE62330AE507}"/>
                </a:ext>
              </a:extLst>
            </p:cNvPr>
            <p:cNvSpPr/>
            <p:nvPr/>
          </p:nvSpPr>
          <p:spPr>
            <a:xfrm>
              <a:off x="6522933" y="2775276"/>
              <a:ext cx="29948" cy="44850"/>
            </a:xfrm>
            <a:custGeom>
              <a:avLst/>
              <a:gdLst>
                <a:gd name="connsiteX0" fmla="*/ 8503 w 10991"/>
                <a:gd name="connsiteY0" fmla="*/ 16294 h 16460"/>
                <a:gd name="connsiteX1" fmla="*/ 8503 w 10991"/>
                <a:gd name="connsiteY1" fmla="*/ 1318 h 16460"/>
                <a:gd name="connsiteX2" fmla="*/ 1087 w 10991"/>
                <a:gd name="connsiteY2" fmla="*/ 15215 h 16460"/>
                <a:gd name="connsiteX3" fmla="*/ 8503 w 10991"/>
                <a:gd name="connsiteY3" fmla="*/ 16294 h 16460"/>
              </a:gdLst>
              <a:ahLst/>
              <a:cxnLst>
                <a:cxn ang="0">
                  <a:pos x="connsiteX0" y="connsiteY0"/>
                </a:cxn>
                <a:cxn ang="0">
                  <a:pos x="connsiteX1" y="connsiteY1"/>
                </a:cxn>
                <a:cxn ang="0">
                  <a:pos x="connsiteX2" y="connsiteY2"/>
                </a:cxn>
                <a:cxn ang="0">
                  <a:pos x="connsiteX3" y="connsiteY3"/>
                </a:cxn>
              </a:cxnLst>
              <a:rect l="l" t="t" r="r" b="b"/>
              <a:pathLst>
                <a:path w="10991" h="16460">
                  <a:moveTo>
                    <a:pt x="8503" y="16294"/>
                  </a:moveTo>
                  <a:cubicBezTo>
                    <a:pt x="11901" y="13730"/>
                    <a:pt x="11131" y="4071"/>
                    <a:pt x="8503" y="1318"/>
                  </a:cubicBezTo>
                  <a:cubicBezTo>
                    <a:pt x="-405" y="-4235"/>
                    <a:pt x="-1691" y="9000"/>
                    <a:pt x="1087" y="15215"/>
                  </a:cubicBezTo>
                  <a:cubicBezTo>
                    <a:pt x="3575" y="15556"/>
                    <a:pt x="5058" y="16899"/>
                    <a:pt x="8503" y="16294"/>
                  </a:cubicBezTo>
                  <a:close/>
                </a:path>
              </a:pathLst>
            </a:custGeom>
            <a:solidFill>
              <a:schemeClr val="bg1"/>
            </a:solidFill>
            <a:ln w="9318" cap="flat">
              <a:noFill/>
              <a:prstDash val="solid"/>
              <a:round/>
            </a:ln>
          </p:spPr>
          <p:txBody>
            <a:bodyPr rtlCol="0" anchor="ctr"/>
            <a:lstStyle/>
            <a:p>
              <a:endParaRPr lang="en-LT"/>
            </a:p>
          </p:txBody>
        </p:sp>
        <p:sp>
          <p:nvSpPr>
            <p:cNvPr id="365" name="Freeform 364">
              <a:extLst>
                <a:ext uri="{FF2B5EF4-FFF2-40B4-BE49-F238E27FC236}">
                  <a16:creationId xmlns:a16="http://schemas.microsoft.com/office/drawing/2014/main" id="{7CCC8CF4-A82D-4B45-8703-8E88887F5C78}"/>
                </a:ext>
              </a:extLst>
            </p:cNvPr>
            <p:cNvSpPr/>
            <p:nvPr/>
          </p:nvSpPr>
          <p:spPr>
            <a:xfrm>
              <a:off x="6408686" y="3326148"/>
              <a:ext cx="51357" cy="46218"/>
            </a:xfrm>
            <a:custGeom>
              <a:avLst/>
              <a:gdLst>
                <a:gd name="connsiteX0" fmla="*/ 18629 w 18848"/>
                <a:gd name="connsiteY0" fmla="*/ -12 h 16962"/>
                <a:gd name="connsiteX1" fmla="*/ -220 w 18848"/>
                <a:gd name="connsiteY1" fmla="*/ 16950 h 16962"/>
                <a:gd name="connsiteX2" fmla="*/ 18629 w 18848"/>
                <a:gd name="connsiteY2" fmla="*/ -12 h 16962"/>
              </a:gdLst>
              <a:ahLst/>
              <a:cxnLst>
                <a:cxn ang="0">
                  <a:pos x="connsiteX0" y="connsiteY0"/>
                </a:cxn>
                <a:cxn ang="0">
                  <a:pos x="connsiteX1" y="connsiteY1"/>
                </a:cxn>
                <a:cxn ang="0">
                  <a:pos x="connsiteX2" y="connsiteY2"/>
                </a:cxn>
              </a:cxnLst>
              <a:rect l="l" t="t" r="r" b="b"/>
              <a:pathLst>
                <a:path w="18848" h="16962">
                  <a:moveTo>
                    <a:pt x="18629" y="-12"/>
                  </a:moveTo>
                  <a:cubicBezTo>
                    <a:pt x="12349" y="4491"/>
                    <a:pt x="6097" y="10507"/>
                    <a:pt x="-220" y="16950"/>
                  </a:cubicBezTo>
                  <a:cubicBezTo>
                    <a:pt x="6867" y="11397"/>
                    <a:pt x="14978" y="6553"/>
                    <a:pt x="18629" y="-12"/>
                  </a:cubicBezTo>
                  <a:close/>
                </a:path>
              </a:pathLst>
            </a:custGeom>
            <a:solidFill>
              <a:schemeClr val="bg1"/>
            </a:solidFill>
            <a:ln w="9318" cap="flat">
              <a:noFill/>
              <a:prstDash val="solid"/>
              <a:round/>
            </a:ln>
          </p:spPr>
          <p:txBody>
            <a:bodyPr rtlCol="0" anchor="ctr"/>
            <a:lstStyle/>
            <a:p>
              <a:endParaRPr lang="en-LT"/>
            </a:p>
          </p:txBody>
        </p:sp>
        <p:sp>
          <p:nvSpPr>
            <p:cNvPr id="366" name="Freeform 365">
              <a:extLst>
                <a:ext uri="{FF2B5EF4-FFF2-40B4-BE49-F238E27FC236}">
                  <a16:creationId xmlns:a16="http://schemas.microsoft.com/office/drawing/2014/main" id="{E6AA3F88-4DF2-C040-9F82-5B0FEA90FF99}"/>
                </a:ext>
              </a:extLst>
            </p:cNvPr>
            <p:cNvSpPr/>
            <p:nvPr/>
          </p:nvSpPr>
          <p:spPr>
            <a:xfrm>
              <a:off x="6382086" y="3136945"/>
              <a:ext cx="326315" cy="285274"/>
            </a:xfrm>
            <a:custGeom>
              <a:avLst/>
              <a:gdLst>
                <a:gd name="connsiteX0" fmla="*/ -220 w 119758"/>
                <a:gd name="connsiteY0" fmla="*/ 104684 h 104696"/>
                <a:gd name="connsiteX1" fmla="*/ 119539 w 119758"/>
                <a:gd name="connsiteY1" fmla="*/ -12 h 104696"/>
                <a:gd name="connsiteX2" fmla="*/ -220 w 119758"/>
                <a:gd name="connsiteY2" fmla="*/ 104684 h 104696"/>
              </a:gdLst>
              <a:ahLst/>
              <a:cxnLst>
                <a:cxn ang="0">
                  <a:pos x="connsiteX0" y="connsiteY0"/>
                </a:cxn>
                <a:cxn ang="0">
                  <a:pos x="connsiteX1" y="connsiteY1"/>
                </a:cxn>
                <a:cxn ang="0">
                  <a:pos x="connsiteX2" y="connsiteY2"/>
                </a:cxn>
              </a:cxnLst>
              <a:rect l="l" t="t" r="r" b="b"/>
              <a:pathLst>
                <a:path w="119758" h="104696">
                  <a:moveTo>
                    <a:pt x="-220" y="104684"/>
                  </a:moveTo>
                  <a:cubicBezTo>
                    <a:pt x="35910" y="66663"/>
                    <a:pt x="81465" y="32465"/>
                    <a:pt x="119539" y="-12"/>
                  </a:cubicBezTo>
                  <a:cubicBezTo>
                    <a:pt x="77542" y="32077"/>
                    <a:pt x="32550" y="66852"/>
                    <a:pt x="-220" y="104684"/>
                  </a:cubicBezTo>
                  <a:close/>
                </a:path>
              </a:pathLst>
            </a:custGeom>
            <a:solidFill>
              <a:schemeClr val="bg1"/>
            </a:solidFill>
            <a:ln w="9318" cap="flat">
              <a:noFill/>
              <a:prstDash val="solid"/>
              <a:round/>
            </a:ln>
          </p:spPr>
          <p:txBody>
            <a:bodyPr rtlCol="0" anchor="ctr"/>
            <a:lstStyle/>
            <a:p>
              <a:endParaRPr lang="en-LT"/>
            </a:p>
          </p:txBody>
        </p:sp>
        <p:sp>
          <p:nvSpPr>
            <p:cNvPr id="367" name="Freeform 366">
              <a:extLst>
                <a:ext uri="{FF2B5EF4-FFF2-40B4-BE49-F238E27FC236}">
                  <a16:creationId xmlns:a16="http://schemas.microsoft.com/office/drawing/2014/main" id="{3598A93C-259D-3F41-AEE5-942A11C16DB3}"/>
                </a:ext>
              </a:extLst>
            </p:cNvPr>
            <p:cNvSpPr/>
            <p:nvPr/>
          </p:nvSpPr>
          <p:spPr>
            <a:xfrm>
              <a:off x="6521759" y="2856090"/>
              <a:ext cx="36613" cy="48321"/>
            </a:xfrm>
            <a:custGeom>
              <a:avLst/>
              <a:gdLst>
                <a:gd name="connsiteX0" fmla="*/ 11056 w 13437"/>
                <a:gd name="connsiteY0" fmla="*/ 17580 h 17734"/>
                <a:gd name="connsiteX1" fmla="*/ 2570 w 13437"/>
                <a:gd name="connsiteY1" fmla="*/ 16520 h 17734"/>
                <a:gd name="connsiteX2" fmla="*/ 11056 w 13437"/>
                <a:gd name="connsiteY2" fmla="*/ 17580 h 17734"/>
              </a:gdLst>
              <a:ahLst/>
              <a:cxnLst>
                <a:cxn ang="0">
                  <a:pos x="connsiteX0" y="connsiteY0"/>
                </a:cxn>
                <a:cxn ang="0">
                  <a:pos x="connsiteX1" y="connsiteY1"/>
                </a:cxn>
                <a:cxn ang="0">
                  <a:pos x="connsiteX2" y="connsiteY2"/>
                </a:cxn>
              </a:cxnLst>
              <a:rect l="l" t="t" r="r" b="b"/>
              <a:pathLst>
                <a:path w="13437" h="17734">
                  <a:moveTo>
                    <a:pt x="11056" y="17580"/>
                  </a:moveTo>
                  <a:cubicBezTo>
                    <a:pt x="21391" y="-3753"/>
                    <a:pt x="-9342" y="-7518"/>
                    <a:pt x="2570" y="16520"/>
                  </a:cubicBezTo>
                  <a:cubicBezTo>
                    <a:pt x="5114" y="17182"/>
                    <a:pt x="7404" y="18072"/>
                    <a:pt x="11056" y="17580"/>
                  </a:cubicBezTo>
                  <a:close/>
                </a:path>
              </a:pathLst>
            </a:custGeom>
            <a:solidFill>
              <a:schemeClr val="bg1"/>
            </a:solidFill>
            <a:ln w="9318" cap="flat">
              <a:noFill/>
              <a:prstDash val="solid"/>
              <a:round/>
            </a:ln>
          </p:spPr>
          <p:txBody>
            <a:bodyPr rtlCol="0" anchor="ctr"/>
            <a:lstStyle/>
            <a:p>
              <a:endParaRPr lang="en-LT"/>
            </a:p>
          </p:txBody>
        </p:sp>
        <p:sp>
          <p:nvSpPr>
            <p:cNvPr id="368" name="Freeform 367">
              <a:extLst>
                <a:ext uri="{FF2B5EF4-FFF2-40B4-BE49-F238E27FC236}">
                  <a16:creationId xmlns:a16="http://schemas.microsoft.com/office/drawing/2014/main" id="{96F82179-D01A-F747-A5BB-E72B0DD4A7CF}"/>
                </a:ext>
              </a:extLst>
            </p:cNvPr>
            <p:cNvSpPr/>
            <p:nvPr/>
          </p:nvSpPr>
          <p:spPr>
            <a:xfrm>
              <a:off x="6706273" y="2473288"/>
              <a:ext cx="13477" cy="58177"/>
            </a:xfrm>
            <a:custGeom>
              <a:avLst/>
              <a:gdLst>
                <a:gd name="connsiteX0" fmla="*/ 2693 w 4946"/>
                <a:gd name="connsiteY0" fmla="*/ -12 h 21351"/>
                <a:gd name="connsiteX1" fmla="*/ 562 w 4946"/>
                <a:gd name="connsiteY1" fmla="*/ 21339 h 21351"/>
                <a:gd name="connsiteX2" fmla="*/ 2693 w 4946"/>
                <a:gd name="connsiteY2" fmla="*/ -12 h 21351"/>
              </a:gdLst>
              <a:ahLst/>
              <a:cxnLst>
                <a:cxn ang="0">
                  <a:pos x="connsiteX0" y="connsiteY0"/>
                </a:cxn>
                <a:cxn ang="0">
                  <a:pos x="connsiteX1" y="connsiteY1"/>
                </a:cxn>
                <a:cxn ang="0">
                  <a:pos x="connsiteX2" y="connsiteY2"/>
                </a:cxn>
              </a:cxnLst>
              <a:rect l="l" t="t" r="r" b="b"/>
              <a:pathLst>
                <a:path w="4946" h="21351">
                  <a:moveTo>
                    <a:pt x="2693" y="-12"/>
                  </a:moveTo>
                  <a:cubicBezTo>
                    <a:pt x="2852" y="7282"/>
                    <a:pt x="-2085" y="15096"/>
                    <a:pt x="562" y="21339"/>
                  </a:cubicBezTo>
                  <a:cubicBezTo>
                    <a:pt x="3068" y="15162"/>
                    <a:pt x="7255" y="4169"/>
                    <a:pt x="2693" y="-12"/>
                  </a:cubicBezTo>
                  <a:close/>
                </a:path>
              </a:pathLst>
            </a:custGeom>
            <a:solidFill>
              <a:schemeClr val="bg1"/>
            </a:solidFill>
            <a:ln w="9318" cap="flat">
              <a:noFill/>
              <a:prstDash val="solid"/>
              <a:round/>
            </a:ln>
          </p:spPr>
          <p:txBody>
            <a:bodyPr rtlCol="0" anchor="ctr"/>
            <a:lstStyle/>
            <a:p>
              <a:endParaRPr lang="en-LT"/>
            </a:p>
          </p:txBody>
        </p:sp>
        <p:sp>
          <p:nvSpPr>
            <p:cNvPr id="369" name="Freeform 368">
              <a:extLst>
                <a:ext uri="{FF2B5EF4-FFF2-40B4-BE49-F238E27FC236}">
                  <a16:creationId xmlns:a16="http://schemas.microsoft.com/office/drawing/2014/main" id="{75BFF3A1-69AF-194D-A07D-F2379A58E866}"/>
                </a:ext>
              </a:extLst>
            </p:cNvPr>
            <p:cNvSpPr/>
            <p:nvPr/>
          </p:nvSpPr>
          <p:spPr>
            <a:xfrm>
              <a:off x="6512020" y="3629169"/>
              <a:ext cx="71556" cy="11390"/>
            </a:xfrm>
            <a:custGeom>
              <a:avLst/>
              <a:gdLst>
                <a:gd name="connsiteX0" fmla="*/ 15691 w 26261"/>
                <a:gd name="connsiteY0" fmla="*/ 3086 h 4180"/>
                <a:gd name="connsiteX1" fmla="*/ -220 w 26261"/>
                <a:gd name="connsiteY1" fmla="*/ 4146 h 4180"/>
                <a:gd name="connsiteX2" fmla="*/ 19915 w 26261"/>
                <a:gd name="connsiteY2" fmla="*/ 4146 h 4180"/>
                <a:gd name="connsiteX3" fmla="*/ 15691 w 26261"/>
                <a:gd name="connsiteY3" fmla="*/ 3086 h 4180"/>
              </a:gdLst>
              <a:ahLst/>
              <a:cxnLst>
                <a:cxn ang="0">
                  <a:pos x="connsiteX0" y="connsiteY0"/>
                </a:cxn>
                <a:cxn ang="0">
                  <a:pos x="connsiteX1" y="connsiteY1"/>
                </a:cxn>
                <a:cxn ang="0">
                  <a:pos x="connsiteX2" y="connsiteY2"/>
                </a:cxn>
                <a:cxn ang="0">
                  <a:pos x="connsiteX3" y="connsiteY3"/>
                </a:cxn>
              </a:cxnLst>
              <a:rect l="l" t="t" r="r" b="b"/>
              <a:pathLst>
                <a:path w="26261" h="4180">
                  <a:moveTo>
                    <a:pt x="15691" y="3086"/>
                  </a:moveTo>
                  <a:cubicBezTo>
                    <a:pt x="11561" y="731"/>
                    <a:pt x="1526" y="-2997"/>
                    <a:pt x="-220" y="4146"/>
                  </a:cubicBezTo>
                  <a:lnTo>
                    <a:pt x="19915" y="4146"/>
                  </a:lnTo>
                  <a:cubicBezTo>
                    <a:pt x="32484" y="4411"/>
                    <a:pt x="22975" y="2263"/>
                    <a:pt x="15691" y="3086"/>
                  </a:cubicBezTo>
                  <a:close/>
                </a:path>
              </a:pathLst>
            </a:custGeom>
            <a:solidFill>
              <a:schemeClr val="bg1"/>
            </a:solidFill>
            <a:ln w="9318" cap="flat">
              <a:noFill/>
              <a:prstDash val="solid"/>
              <a:round/>
            </a:ln>
          </p:spPr>
          <p:txBody>
            <a:bodyPr rtlCol="0" anchor="ctr"/>
            <a:lstStyle/>
            <a:p>
              <a:endParaRPr lang="en-LT"/>
            </a:p>
          </p:txBody>
        </p:sp>
        <p:sp>
          <p:nvSpPr>
            <p:cNvPr id="370" name="Freeform 369">
              <a:extLst>
                <a:ext uri="{FF2B5EF4-FFF2-40B4-BE49-F238E27FC236}">
                  <a16:creationId xmlns:a16="http://schemas.microsoft.com/office/drawing/2014/main" id="{3477A1F8-D2A7-B847-8AFD-843B62FB2893}"/>
                </a:ext>
              </a:extLst>
            </p:cNvPr>
            <p:cNvSpPr/>
            <p:nvPr/>
          </p:nvSpPr>
          <p:spPr>
            <a:xfrm>
              <a:off x="6528723" y="2950044"/>
              <a:ext cx="29831" cy="42242"/>
            </a:xfrm>
            <a:custGeom>
              <a:avLst/>
              <a:gdLst>
                <a:gd name="connsiteX0" fmla="*/ 8499 w 10948"/>
                <a:gd name="connsiteY0" fmla="*/ 15158 h 15503"/>
                <a:gd name="connsiteX1" fmla="*/ 7429 w 10948"/>
                <a:gd name="connsiteY1" fmla="*/ 211 h 15503"/>
                <a:gd name="connsiteX2" fmla="*/ 8499 w 10948"/>
                <a:gd name="connsiteY2" fmla="*/ 15158 h 15503"/>
              </a:gdLst>
              <a:ahLst/>
              <a:cxnLst>
                <a:cxn ang="0">
                  <a:pos x="connsiteX0" y="connsiteY0"/>
                </a:cxn>
                <a:cxn ang="0">
                  <a:pos x="connsiteX1" y="connsiteY1"/>
                </a:cxn>
                <a:cxn ang="0">
                  <a:pos x="connsiteX2" y="connsiteY2"/>
                </a:cxn>
              </a:cxnLst>
              <a:rect l="l" t="t" r="r" b="b"/>
              <a:pathLst>
                <a:path w="10948" h="15503">
                  <a:moveTo>
                    <a:pt x="8499" y="15158"/>
                  </a:moveTo>
                  <a:cubicBezTo>
                    <a:pt x="12339" y="12027"/>
                    <a:pt x="10715" y="2529"/>
                    <a:pt x="7429" y="211"/>
                  </a:cubicBezTo>
                  <a:cubicBezTo>
                    <a:pt x="-3985" y="-2371"/>
                    <a:pt x="-1789" y="18337"/>
                    <a:pt x="8499" y="15158"/>
                  </a:cubicBezTo>
                  <a:close/>
                </a:path>
              </a:pathLst>
            </a:custGeom>
            <a:solidFill>
              <a:schemeClr val="bg1"/>
            </a:solidFill>
            <a:ln w="9318" cap="flat">
              <a:noFill/>
              <a:prstDash val="solid"/>
              <a:round/>
            </a:ln>
          </p:spPr>
          <p:txBody>
            <a:bodyPr rtlCol="0" anchor="ctr"/>
            <a:lstStyle/>
            <a:p>
              <a:endParaRPr lang="en-LT"/>
            </a:p>
          </p:txBody>
        </p:sp>
        <p:sp>
          <p:nvSpPr>
            <p:cNvPr id="371" name="Freeform 370">
              <a:extLst>
                <a:ext uri="{FF2B5EF4-FFF2-40B4-BE49-F238E27FC236}">
                  <a16:creationId xmlns:a16="http://schemas.microsoft.com/office/drawing/2014/main" id="{2B6274CA-73D8-8048-B700-F3C7323A3F6D}"/>
                </a:ext>
              </a:extLst>
            </p:cNvPr>
            <p:cNvSpPr/>
            <p:nvPr/>
          </p:nvSpPr>
          <p:spPr>
            <a:xfrm>
              <a:off x="6505595" y="3544428"/>
              <a:ext cx="8343" cy="29152"/>
            </a:xfrm>
            <a:custGeom>
              <a:avLst/>
              <a:gdLst>
                <a:gd name="connsiteX0" fmla="*/ 1086 w 3062"/>
                <a:gd name="connsiteY0" fmla="*/ -12 h 10699"/>
                <a:gd name="connsiteX1" fmla="*/ 2138 w 3062"/>
                <a:gd name="connsiteY1" fmla="*/ 10687 h 10699"/>
                <a:gd name="connsiteX2" fmla="*/ 1086 w 3062"/>
                <a:gd name="connsiteY2" fmla="*/ -12 h 10699"/>
              </a:gdLst>
              <a:ahLst/>
              <a:cxnLst>
                <a:cxn ang="0">
                  <a:pos x="connsiteX0" y="connsiteY0"/>
                </a:cxn>
                <a:cxn ang="0">
                  <a:pos x="connsiteX1" y="connsiteY1"/>
                </a:cxn>
                <a:cxn ang="0">
                  <a:pos x="connsiteX2" y="connsiteY2"/>
                </a:cxn>
              </a:cxnLst>
              <a:rect l="l" t="t" r="r" b="b"/>
              <a:pathLst>
                <a:path w="3062" h="10699">
                  <a:moveTo>
                    <a:pt x="1086" y="-12"/>
                  </a:moveTo>
                  <a:cubicBezTo>
                    <a:pt x="2063" y="3469"/>
                    <a:pt x="-3035" y="9845"/>
                    <a:pt x="2138" y="10687"/>
                  </a:cubicBezTo>
                  <a:cubicBezTo>
                    <a:pt x="3809" y="9259"/>
                    <a:pt x="2119" y="2230"/>
                    <a:pt x="1086" y="-12"/>
                  </a:cubicBezTo>
                  <a:close/>
                </a:path>
              </a:pathLst>
            </a:custGeom>
            <a:solidFill>
              <a:schemeClr val="bg1"/>
            </a:solidFill>
            <a:ln w="9318" cap="flat">
              <a:noFill/>
              <a:prstDash val="solid"/>
              <a:round/>
            </a:ln>
          </p:spPr>
          <p:txBody>
            <a:bodyPr rtlCol="0" anchor="ctr"/>
            <a:lstStyle/>
            <a:p>
              <a:endParaRPr lang="en-LT"/>
            </a:p>
          </p:txBody>
        </p:sp>
        <p:sp>
          <p:nvSpPr>
            <p:cNvPr id="372" name="Freeform 371">
              <a:extLst>
                <a:ext uri="{FF2B5EF4-FFF2-40B4-BE49-F238E27FC236}">
                  <a16:creationId xmlns:a16="http://schemas.microsoft.com/office/drawing/2014/main" id="{340A3B66-BD16-4148-BD1F-A6CA2066C7DA}"/>
                </a:ext>
              </a:extLst>
            </p:cNvPr>
            <p:cNvSpPr/>
            <p:nvPr/>
          </p:nvSpPr>
          <p:spPr>
            <a:xfrm>
              <a:off x="6676687" y="3340712"/>
              <a:ext cx="17313" cy="84419"/>
            </a:xfrm>
            <a:custGeom>
              <a:avLst/>
              <a:gdLst>
                <a:gd name="connsiteX0" fmla="*/ 6135 w 6354"/>
                <a:gd name="connsiteY0" fmla="*/ 30970 h 30982"/>
                <a:gd name="connsiteX1" fmla="*/ -220 w 6354"/>
                <a:gd name="connsiteY1" fmla="*/ -12 h 30982"/>
                <a:gd name="connsiteX2" fmla="*/ 6135 w 6354"/>
                <a:gd name="connsiteY2" fmla="*/ 30970 h 30982"/>
              </a:gdLst>
              <a:ahLst/>
              <a:cxnLst>
                <a:cxn ang="0">
                  <a:pos x="connsiteX0" y="connsiteY0"/>
                </a:cxn>
                <a:cxn ang="0">
                  <a:pos x="connsiteX1" y="connsiteY1"/>
                </a:cxn>
                <a:cxn ang="0">
                  <a:pos x="connsiteX2" y="connsiteY2"/>
                </a:cxn>
              </a:cxnLst>
              <a:rect l="l" t="t" r="r" b="b"/>
              <a:pathLst>
                <a:path w="6354" h="30982">
                  <a:moveTo>
                    <a:pt x="6135" y="30970"/>
                  </a:moveTo>
                  <a:cubicBezTo>
                    <a:pt x="4258" y="20393"/>
                    <a:pt x="3563" y="8615"/>
                    <a:pt x="-220" y="-12"/>
                  </a:cubicBezTo>
                  <a:cubicBezTo>
                    <a:pt x="784" y="10716"/>
                    <a:pt x="3366" y="25559"/>
                    <a:pt x="6135" y="30970"/>
                  </a:cubicBezTo>
                  <a:close/>
                </a:path>
              </a:pathLst>
            </a:custGeom>
            <a:solidFill>
              <a:schemeClr val="bg1"/>
            </a:solidFill>
            <a:ln w="9318" cap="flat">
              <a:noFill/>
              <a:prstDash val="solid"/>
              <a:round/>
            </a:ln>
          </p:spPr>
          <p:txBody>
            <a:bodyPr rtlCol="0" anchor="ctr"/>
            <a:lstStyle/>
            <a:p>
              <a:endParaRPr lang="en-LT"/>
            </a:p>
          </p:txBody>
        </p:sp>
        <p:sp>
          <p:nvSpPr>
            <p:cNvPr id="373" name="Freeform 372">
              <a:extLst>
                <a:ext uri="{FF2B5EF4-FFF2-40B4-BE49-F238E27FC236}">
                  <a16:creationId xmlns:a16="http://schemas.microsoft.com/office/drawing/2014/main" id="{3421CEDB-9EE9-5746-BE8C-4B8C8A9CE3FA}"/>
                </a:ext>
              </a:extLst>
            </p:cNvPr>
            <p:cNvSpPr/>
            <p:nvPr/>
          </p:nvSpPr>
          <p:spPr>
            <a:xfrm>
              <a:off x="6740068" y="3489161"/>
              <a:ext cx="9158" cy="69855"/>
            </a:xfrm>
            <a:custGeom>
              <a:avLst/>
              <a:gdLst>
                <a:gd name="connsiteX0" fmla="*/ 887 w 3361"/>
                <a:gd name="connsiteY0" fmla="*/ 25625 h 25637"/>
                <a:gd name="connsiteX1" fmla="*/ -174 w 3361"/>
                <a:gd name="connsiteY1" fmla="*/ -12 h 25637"/>
                <a:gd name="connsiteX2" fmla="*/ 887 w 3361"/>
                <a:gd name="connsiteY2" fmla="*/ 25625 h 25637"/>
              </a:gdLst>
              <a:ahLst/>
              <a:cxnLst>
                <a:cxn ang="0">
                  <a:pos x="connsiteX0" y="connsiteY0"/>
                </a:cxn>
                <a:cxn ang="0">
                  <a:pos x="connsiteX1" y="connsiteY1"/>
                </a:cxn>
                <a:cxn ang="0">
                  <a:pos x="connsiteX2" y="connsiteY2"/>
                </a:cxn>
              </a:cxnLst>
              <a:rect l="l" t="t" r="r" b="b"/>
              <a:pathLst>
                <a:path w="3361" h="25637">
                  <a:moveTo>
                    <a:pt x="887" y="25625"/>
                  </a:moveTo>
                  <a:cubicBezTo>
                    <a:pt x="6003" y="19883"/>
                    <a:pt x="972" y="6468"/>
                    <a:pt x="-174" y="-12"/>
                  </a:cubicBezTo>
                  <a:cubicBezTo>
                    <a:pt x="-568" y="9297"/>
                    <a:pt x="1704" y="15871"/>
                    <a:pt x="887" y="25625"/>
                  </a:cubicBezTo>
                  <a:close/>
                </a:path>
              </a:pathLst>
            </a:custGeom>
            <a:solidFill>
              <a:schemeClr val="bg1"/>
            </a:solidFill>
            <a:ln w="9318" cap="flat">
              <a:noFill/>
              <a:prstDash val="solid"/>
              <a:round/>
            </a:ln>
          </p:spPr>
          <p:txBody>
            <a:bodyPr rtlCol="0" anchor="ctr"/>
            <a:lstStyle/>
            <a:p>
              <a:endParaRPr lang="en-LT"/>
            </a:p>
          </p:txBody>
        </p:sp>
        <p:sp>
          <p:nvSpPr>
            <p:cNvPr id="374" name="Freeform 373">
              <a:extLst>
                <a:ext uri="{FF2B5EF4-FFF2-40B4-BE49-F238E27FC236}">
                  <a16:creationId xmlns:a16="http://schemas.microsoft.com/office/drawing/2014/main" id="{39F33E46-D991-4546-AB3E-B5F774E8668A}"/>
                </a:ext>
              </a:extLst>
            </p:cNvPr>
            <p:cNvSpPr/>
            <p:nvPr/>
          </p:nvSpPr>
          <p:spPr>
            <a:xfrm>
              <a:off x="6616017" y="2021920"/>
              <a:ext cx="29139" cy="125288"/>
            </a:xfrm>
            <a:custGeom>
              <a:avLst/>
              <a:gdLst>
                <a:gd name="connsiteX0" fmla="*/ 5084 w 10694"/>
                <a:gd name="connsiteY0" fmla="*/ 39565 h 45981"/>
                <a:gd name="connsiteX1" fmla="*/ 9317 w 10694"/>
                <a:gd name="connsiteY1" fmla="*/ 45969 h 45981"/>
                <a:gd name="connsiteX2" fmla="*/ 10368 w 10694"/>
                <a:gd name="connsiteY2" fmla="*/ 1118 h 45981"/>
                <a:gd name="connsiteX3" fmla="*/ -220 w 10694"/>
                <a:gd name="connsiteY3" fmla="*/ 49 h 45981"/>
                <a:gd name="connsiteX4" fmla="*/ 8256 w 10694"/>
                <a:gd name="connsiteY4" fmla="*/ 36367 h 45981"/>
                <a:gd name="connsiteX5" fmla="*/ 5084 w 10694"/>
                <a:gd name="connsiteY5" fmla="*/ 39565 h 4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94" h="45981">
                  <a:moveTo>
                    <a:pt x="5084" y="39565"/>
                  </a:moveTo>
                  <a:cubicBezTo>
                    <a:pt x="6341" y="41844"/>
                    <a:pt x="6370" y="45392"/>
                    <a:pt x="9317" y="45969"/>
                  </a:cubicBezTo>
                  <a:cubicBezTo>
                    <a:pt x="11410" y="32801"/>
                    <a:pt x="9937" y="15990"/>
                    <a:pt x="10368" y="1118"/>
                  </a:cubicBezTo>
                  <a:cubicBezTo>
                    <a:pt x="8378" y="-764"/>
                    <a:pt x="3366" y="343"/>
                    <a:pt x="-220" y="49"/>
                  </a:cubicBezTo>
                  <a:cubicBezTo>
                    <a:pt x="3103" y="11657"/>
                    <a:pt x="3563" y="26159"/>
                    <a:pt x="8256" y="36367"/>
                  </a:cubicBezTo>
                  <a:cubicBezTo>
                    <a:pt x="8679" y="38931"/>
                    <a:pt x="3422" y="35790"/>
                    <a:pt x="5084" y="39565"/>
                  </a:cubicBezTo>
                  <a:close/>
                </a:path>
              </a:pathLst>
            </a:custGeom>
            <a:solidFill>
              <a:schemeClr val="bg1"/>
            </a:solidFill>
            <a:ln w="9318" cap="flat">
              <a:noFill/>
              <a:prstDash val="solid"/>
              <a:round/>
            </a:ln>
          </p:spPr>
          <p:txBody>
            <a:bodyPr rtlCol="0" anchor="ctr"/>
            <a:lstStyle/>
            <a:p>
              <a:endParaRPr lang="en-LT"/>
            </a:p>
          </p:txBody>
        </p:sp>
        <p:sp>
          <p:nvSpPr>
            <p:cNvPr id="375" name="Freeform 374">
              <a:extLst>
                <a:ext uri="{FF2B5EF4-FFF2-40B4-BE49-F238E27FC236}">
                  <a16:creationId xmlns:a16="http://schemas.microsoft.com/office/drawing/2014/main" id="{329B40A5-2E62-AC43-A73A-B55F0C388190}"/>
                </a:ext>
              </a:extLst>
            </p:cNvPr>
            <p:cNvSpPr/>
            <p:nvPr/>
          </p:nvSpPr>
          <p:spPr>
            <a:xfrm>
              <a:off x="6605769" y="2025002"/>
              <a:ext cx="21809" cy="87332"/>
            </a:xfrm>
            <a:custGeom>
              <a:avLst/>
              <a:gdLst>
                <a:gd name="connsiteX0" fmla="*/ 1411 w 8004"/>
                <a:gd name="connsiteY0" fmla="*/ -12 h 32051"/>
                <a:gd name="connsiteX1" fmla="*/ 7784 w 8004"/>
                <a:gd name="connsiteY1" fmla="*/ 32039 h 32051"/>
                <a:gd name="connsiteX2" fmla="*/ 1411 w 8004"/>
                <a:gd name="connsiteY2" fmla="*/ -12 h 32051"/>
              </a:gdLst>
              <a:ahLst/>
              <a:cxnLst>
                <a:cxn ang="0">
                  <a:pos x="connsiteX0" y="connsiteY0"/>
                </a:cxn>
                <a:cxn ang="0">
                  <a:pos x="connsiteX1" y="connsiteY1"/>
                </a:cxn>
                <a:cxn ang="0">
                  <a:pos x="connsiteX2" y="connsiteY2"/>
                </a:cxn>
              </a:cxnLst>
              <a:rect l="l" t="t" r="r" b="b"/>
              <a:pathLst>
                <a:path w="8004" h="32051">
                  <a:moveTo>
                    <a:pt x="1411" y="-12"/>
                  </a:moveTo>
                  <a:cubicBezTo>
                    <a:pt x="-3058" y="9420"/>
                    <a:pt x="2518" y="25474"/>
                    <a:pt x="7784" y="32039"/>
                  </a:cubicBezTo>
                  <a:cubicBezTo>
                    <a:pt x="7521" y="19476"/>
                    <a:pt x="5024" y="9183"/>
                    <a:pt x="1411" y="-12"/>
                  </a:cubicBezTo>
                  <a:close/>
                </a:path>
              </a:pathLst>
            </a:custGeom>
            <a:solidFill>
              <a:schemeClr val="bg1"/>
            </a:solidFill>
            <a:ln w="9318" cap="flat">
              <a:noFill/>
              <a:prstDash val="solid"/>
              <a:round/>
            </a:ln>
          </p:spPr>
          <p:txBody>
            <a:bodyPr rtlCol="0" anchor="ctr"/>
            <a:lstStyle/>
            <a:p>
              <a:endParaRPr lang="en-LT"/>
            </a:p>
          </p:txBody>
        </p:sp>
        <p:sp>
          <p:nvSpPr>
            <p:cNvPr id="376" name="Freeform 375">
              <a:extLst>
                <a:ext uri="{FF2B5EF4-FFF2-40B4-BE49-F238E27FC236}">
                  <a16:creationId xmlns:a16="http://schemas.microsoft.com/office/drawing/2014/main" id="{81E436A4-5BD6-F745-BE8B-24E31F3BA187}"/>
                </a:ext>
              </a:extLst>
            </p:cNvPr>
            <p:cNvSpPr/>
            <p:nvPr/>
          </p:nvSpPr>
          <p:spPr>
            <a:xfrm>
              <a:off x="6393582" y="2031792"/>
              <a:ext cx="167569" cy="229015"/>
            </a:xfrm>
            <a:custGeom>
              <a:avLst/>
              <a:gdLst>
                <a:gd name="connsiteX0" fmla="*/ 44307 w 61498"/>
                <a:gd name="connsiteY0" fmla="*/ 22073 h 84049"/>
                <a:gd name="connsiteX1" fmla="*/ 26284 w 61498"/>
                <a:gd name="connsiteY1" fmla="*/ 28477 h 84049"/>
                <a:gd name="connsiteX2" fmla="*/ 47480 w 61498"/>
                <a:gd name="connsiteY2" fmla="*/ 19935 h 84049"/>
                <a:gd name="connsiteX3" fmla="*/ 61279 w 61498"/>
                <a:gd name="connsiteY3" fmla="*/ 3900 h 84049"/>
                <a:gd name="connsiteX4" fmla="*/ 2967 w 61498"/>
                <a:gd name="connsiteY4" fmla="*/ 84037 h 84049"/>
                <a:gd name="connsiteX5" fmla="*/ 44307 w 61498"/>
                <a:gd name="connsiteY5" fmla="*/ 22073 h 84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98" h="84049">
                  <a:moveTo>
                    <a:pt x="44307" y="22073"/>
                  </a:moveTo>
                  <a:cubicBezTo>
                    <a:pt x="37098" y="22281"/>
                    <a:pt x="28772" y="27058"/>
                    <a:pt x="26284" y="28477"/>
                  </a:cubicBezTo>
                  <a:cubicBezTo>
                    <a:pt x="31616" y="23870"/>
                    <a:pt x="36075" y="18383"/>
                    <a:pt x="47480" y="19935"/>
                  </a:cubicBezTo>
                  <a:cubicBezTo>
                    <a:pt x="50868" y="13370"/>
                    <a:pt x="57158" y="9737"/>
                    <a:pt x="61279" y="3900"/>
                  </a:cubicBezTo>
                  <a:cubicBezTo>
                    <a:pt x="17263" y="-15087"/>
                    <a:pt x="-9846" y="38827"/>
                    <a:pt x="2967" y="84037"/>
                  </a:cubicBezTo>
                  <a:cubicBezTo>
                    <a:pt x="16099" y="62704"/>
                    <a:pt x="28509" y="40681"/>
                    <a:pt x="44307" y="22073"/>
                  </a:cubicBezTo>
                  <a:close/>
                </a:path>
              </a:pathLst>
            </a:custGeom>
            <a:solidFill>
              <a:schemeClr val="bg1"/>
            </a:solidFill>
            <a:ln w="9318" cap="flat">
              <a:noFill/>
              <a:prstDash val="solid"/>
              <a:round/>
            </a:ln>
          </p:spPr>
          <p:txBody>
            <a:bodyPr rtlCol="0" anchor="ctr"/>
            <a:lstStyle/>
            <a:p>
              <a:endParaRPr lang="en-LT"/>
            </a:p>
          </p:txBody>
        </p:sp>
        <p:sp>
          <p:nvSpPr>
            <p:cNvPr id="377" name="Freeform 376">
              <a:extLst>
                <a:ext uri="{FF2B5EF4-FFF2-40B4-BE49-F238E27FC236}">
                  <a16:creationId xmlns:a16="http://schemas.microsoft.com/office/drawing/2014/main" id="{7A552414-CE09-2441-AC3D-60ED4D07151D}"/>
                </a:ext>
              </a:extLst>
            </p:cNvPr>
            <p:cNvSpPr/>
            <p:nvPr/>
          </p:nvSpPr>
          <p:spPr>
            <a:xfrm>
              <a:off x="6647785" y="2027915"/>
              <a:ext cx="48741" cy="142648"/>
            </a:xfrm>
            <a:custGeom>
              <a:avLst/>
              <a:gdLst>
                <a:gd name="connsiteX0" fmla="*/ 2962 w 17888"/>
                <a:gd name="connsiteY0" fmla="*/ 52341 h 52352"/>
                <a:gd name="connsiteX1" fmla="*/ 9317 w 17888"/>
                <a:gd name="connsiteY1" fmla="*/ 7461 h 52352"/>
                <a:gd name="connsiteX2" fmla="*/ 6154 w 17888"/>
                <a:gd name="connsiteY2" fmla="*/ 49133 h 52352"/>
                <a:gd name="connsiteX3" fmla="*/ -220 w 17888"/>
                <a:gd name="connsiteY3" fmla="*/ -12 h 52352"/>
                <a:gd name="connsiteX4" fmla="*/ 2962 w 17888"/>
                <a:gd name="connsiteY4" fmla="*/ 52341 h 52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88" h="52352">
                  <a:moveTo>
                    <a:pt x="2962" y="52341"/>
                  </a:moveTo>
                  <a:cubicBezTo>
                    <a:pt x="8069" y="40383"/>
                    <a:pt x="5572" y="20772"/>
                    <a:pt x="9317" y="7461"/>
                  </a:cubicBezTo>
                  <a:cubicBezTo>
                    <a:pt x="10040" y="23165"/>
                    <a:pt x="8735" y="36788"/>
                    <a:pt x="6154" y="49133"/>
                  </a:cubicBezTo>
                  <a:cubicBezTo>
                    <a:pt x="25378" y="41405"/>
                    <a:pt x="18657" y="2258"/>
                    <a:pt x="-220" y="-12"/>
                  </a:cubicBezTo>
                  <a:cubicBezTo>
                    <a:pt x="4624" y="15900"/>
                    <a:pt x="-4472" y="44120"/>
                    <a:pt x="2962" y="52341"/>
                  </a:cubicBezTo>
                  <a:close/>
                </a:path>
              </a:pathLst>
            </a:custGeom>
            <a:solidFill>
              <a:schemeClr val="bg1"/>
            </a:solidFill>
            <a:ln w="9318" cap="flat">
              <a:noFill/>
              <a:prstDash val="solid"/>
              <a:round/>
            </a:ln>
          </p:spPr>
          <p:txBody>
            <a:bodyPr rtlCol="0" anchor="ctr"/>
            <a:lstStyle/>
            <a:p>
              <a:endParaRPr lang="en-LT"/>
            </a:p>
          </p:txBody>
        </p:sp>
        <p:sp>
          <p:nvSpPr>
            <p:cNvPr id="378" name="Freeform 377">
              <a:extLst>
                <a:ext uri="{FF2B5EF4-FFF2-40B4-BE49-F238E27FC236}">
                  <a16:creationId xmlns:a16="http://schemas.microsoft.com/office/drawing/2014/main" id="{CB531337-EE4D-674E-92A3-3766D18F4DC9}"/>
                </a:ext>
              </a:extLst>
            </p:cNvPr>
            <p:cNvSpPr/>
            <p:nvPr/>
          </p:nvSpPr>
          <p:spPr>
            <a:xfrm>
              <a:off x="6593614" y="2033740"/>
              <a:ext cx="8390" cy="26215"/>
            </a:xfrm>
            <a:custGeom>
              <a:avLst/>
              <a:gdLst>
                <a:gd name="connsiteX0" fmla="*/ 1647 w 3079"/>
                <a:gd name="connsiteY0" fmla="*/ -12 h 9621"/>
                <a:gd name="connsiteX1" fmla="*/ 2698 w 3079"/>
                <a:gd name="connsiteY1" fmla="*/ 9609 h 9621"/>
                <a:gd name="connsiteX2" fmla="*/ 1647 w 3079"/>
                <a:gd name="connsiteY2" fmla="*/ -12 h 9621"/>
              </a:gdLst>
              <a:ahLst/>
              <a:cxnLst>
                <a:cxn ang="0">
                  <a:pos x="connsiteX0" y="connsiteY0"/>
                </a:cxn>
                <a:cxn ang="0">
                  <a:pos x="connsiteX1" y="connsiteY1"/>
                </a:cxn>
                <a:cxn ang="0">
                  <a:pos x="connsiteX2" y="connsiteY2"/>
                </a:cxn>
              </a:cxnLst>
              <a:rect l="l" t="t" r="r" b="b"/>
              <a:pathLst>
                <a:path w="3079" h="9621">
                  <a:moveTo>
                    <a:pt x="1647" y="-12"/>
                  </a:moveTo>
                  <a:cubicBezTo>
                    <a:pt x="-1788" y="2419"/>
                    <a:pt x="89" y="7452"/>
                    <a:pt x="2698" y="9609"/>
                  </a:cubicBezTo>
                  <a:cubicBezTo>
                    <a:pt x="2032" y="6704"/>
                    <a:pt x="4041" y="1123"/>
                    <a:pt x="1647" y="-12"/>
                  </a:cubicBezTo>
                  <a:close/>
                </a:path>
              </a:pathLst>
            </a:custGeom>
            <a:solidFill>
              <a:schemeClr val="bg1"/>
            </a:solidFill>
            <a:ln w="9318" cap="flat">
              <a:noFill/>
              <a:prstDash val="solid"/>
              <a:round/>
            </a:ln>
          </p:spPr>
          <p:txBody>
            <a:bodyPr rtlCol="0" anchor="ctr"/>
            <a:lstStyle/>
            <a:p>
              <a:endParaRPr lang="en-LT"/>
            </a:p>
          </p:txBody>
        </p:sp>
        <p:sp>
          <p:nvSpPr>
            <p:cNvPr id="379" name="Freeform 378">
              <a:extLst>
                <a:ext uri="{FF2B5EF4-FFF2-40B4-BE49-F238E27FC236}">
                  <a16:creationId xmlns:a16="http://schemas.microsoft.com/office/drawing/2014/main" id="{8E08DD7B-AB1E-3B49-A1E0-9191E9B8E7BE}"/>
                </a:ext>
              </a:extLst>
            </p:cNvPr>
            <p:cNvSpPr/>
            <p:nvPr/>
          </p:nvSpPr>
          <p:spPr>
            <a:xfrm>
              <a:off x="6409443" y="2045367"/>
              <a:ext cx="166135" cy="250345"/>
            </a:xfrm>
            <a:custGeom>
              <a:avLst/>
              <a:gdLst>
                <a:gd name="connsiteX0" fmla="*/ 10926 w 60972"/>
                <a:gd name="connsiteY0" fmla="*/ 59814 h 91877"/>
                <a:gd name="connsiteX1" fmla="*/ 4562 w 60972"/>
                <a:gd name="connsiteY1" fmla="*/ 91865 h 91877"/>
                <a:gd name="connsiteX2" fmla="*/ 60752 w 60972"/>
                <a:gd name="connsiteY2" fmla="*/ 3204 h 91877"/>
                <a:gd name="connsiteX3" fmla="*/ 55458 w 60972"/>
                <a:gd name="connsiteY3" fmla="*/ -12 h 91877"/>
                <a:gd name="connsiteX4" fmla="*/ 10926 w 60972"/>
                <a:gd name="connsiteY4" fmla="*/ 59814 h 918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72" h="91877">
                  <a:moveTo>
                    <a:pt x="10926" y="59814"/>
                  </a:moveTo>
                  <a:cubicBezTo>
                    <a:pt x="4121" y="71270"/>
                    <a:pt x="-6468" y="83408"/>
                    <a:pt x="4562" y="91865"/>
                  </a:cubicBezTo>
                  <a:cubicBezTo>
                    <a:pt x="19769" y="59474"/>
                    <a:pt x="45790" y="32285"/>
                    <a:pt x="60752" y="3204"/>
                  </a:cubicBezTo>
                  <a:cubicBezTo>
                    <a:pt x="60020" y="1085"/>
                    <a:pt x="57927" y="357"/>
                    <a:pt x="55458" y="-12"/>
                  </a:cubicBezTo>
                  <a:cubicBezTo>
                    <a:pt x="41218" y="15616"/>
                    <a:pt x="24378" y="37157"/>
                    <a:pt x="10926" y="59814"/>
                  </a:cubicBezTo>
                  <a:close/>
                </a:path>
              </a:pathLst>
            </a:custGeom>
            <a:solidFill>
              <a:schemeClr val="bg1"/>
            </a:solidFill>
            <a:ln w="9318" cap="flat">
              <a:noFill/>
              <a:prstDash val="solid"/>
              <a:round/>
            </a:ln>
          </p:spPr>
          <p:txBody>
            <a:bodyPr rtlCol="0" anchor="ctr"/>
            <a:lstStyle/>
            <a:p>
              <a:endParaRPr lang="en-LT"/>
            </a:p>
          </p:txBody>
        </p:sp>
        <p:sp>
          <p:nvSpPr>
            <p:cNvPr id="380" name="Freeform 379">
              <a:extLst>
                <a:ext uri="{FF2B5EF4-FFF2-40B4-BE49-F238E27FC236}">
                  <a16:creationId xmlns:a16="http://schemas.microsoft.com/office/drawing/2014/main" id="{0E2CCD30-B310-2242-A394-DE542E96C7D5}"/>
                </a:ext>
              </a:extLst>
            </p:cNvPr>
            <p:cNvSpPr/>
            <p:nvPr/>
          </p:nvSpPr>
          <p:spPr>
            <a:xfrm>
              <a:off x="6427939" y="2062893"/>
              <a:ext cx="209277" cy="346878"/>
            </a:xfrm>
            <a:custGeom>
              <a:avLst/>
              <a:gdLst>
                <a:gd name="connsiteX0" fmla="*/ -104 w 76805"/>
                <a:gd name="connsiteY0" fmla="*/ 90777 h 127305"/>
                <a:gd name="connsiteX1" fmla="*/ 60310 w 76805"/>
                <a:gd name="connsiteY1" fmla="*/ 10659 h 127305"/>
                <a:gd name="connsiteX2" fmla="*/ 13676 w 76805"/>
                <a:gd name="connsiteY2" fmla="*/ 77959 h 127305"/>
                <a:gd name="connsiteX3" fmla="*/ 11564 w 76805"/>
                <a:gd name="connsiteY3" fmla="*/ 76890 h 127305"/>
                <a:gd name="connsiteX4" fmla="*/ 2017 w 76805"/>
                <a:gd name="connsiteY4" fmla="*/ 98251 h 127305"/>
                <a:gd name="connsiteX5" fmla="*/ 15797 w 76805"/>
                <a:gd name="connsiteY5" fmla="*/ 79018 h 127305"/>
                <a:gd name="connsiteX6" fmla="*/ 17928 w 76805"/>
                <a:gd name="connsiteY6" fmla="*/ 80097 h 127305"/>
                <a:gd name="connsiteX7" fmla="*/ 60310 w 76805"/>
                <a:gd name="connsiteY7" fmla="*/ 22399 h 127305"/>
                <a:gd name="connsiteX8" fmla="*/ 56077 w 76805"/>
                <a:gd name="connsiteY8" fmla="*/ 32011 h 127305"/>
                <a:gd name="connsiteX9" fmla="*/ 59259 w 76805"/>
                <a:gd name="connsiteY9" fmla="*/ 33098 h 127305"/>
                <a:gd name="connsiteX10" fmla="*/ 7330 w 76805"/>
                <a:gd name="connsiteY10" fmla="*/ 110010 h 127305"/>
                <a:gd name="connsiteX11" fmla="*/ 29587 w 76805"/>
                <a:gd name="connsiteY11" fmla="*/ 127095 h 127305"/>
                <a:gd name="connsiteX12" fmla="*/ 67735 w 76805"/>
                <a:gd name="connsiteY12" fmla="*/ 29873 h 127305"/>
                <a:gd name="connsiteX13" fmla="*/ 57147 w 76805"/>
                <a:gd name="connsiteY13" fmla="*/ -12 h 127305"/>
                <a:gd name="connsiteX14" fmla="*/ 11564 w 76805"/>
                <a:gd name="connsiteY14" fmla="*/ 66209 h 127305"/>
                <a:gd name="connsiteX15" fmla="*/ -104 w 76805"/>
                <a:gd name="connsiteY15" fmla="*/ 90777 h 127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805" h="127305">
                  <a:moveTo>
                    <a:pt x="-104" y="90777"/>
                  </a:moveTo>
                  <a:cubicBezTo>
                    <a:pt x="19130" y="63154"/>
                    <a:pt x="37068" y="34215"/>
                    <a:pt x="60310" y="10659"/>
                  </a:cubicBezTo>
                  <a:cubicBezTo>
                    <a:pt x="45976" y="33647"/>
                    <a:pt x="22678" y="53116"/>
                    <a:pt x="13676" y="77959"/>
                  </a:cubicBezTo>
                  <a:cubicBezTo>
                    <a:pt x="13741" y="75963"/>
                    <a:pt x="12869" y="75698"/>
                    <a:pt x="11564" y="76890"/>
                  </a:cubicBezTo>
                  <a:cubicBezTo>
                    <a:pt x="9386" y="85026"/>
                    <a:pt x="2073" y="87977"/>
                    <a:pt x="2017" y="98251"/>
                  </a:cubicBezTo>
                  <a:cubicBezTo>
                    <a:pt x="8588" y="93975"/>
                    <a:pt x="14549" y="85309"/>
                    <a:pt x="15797" y="79018"/>
                  </a:cubicBezTo>
                  <a:cubicBezTo>
                    <a:pt x="15750" y="81014"/>
                    <a:pt x="16614" y="81289"/>
                    <a:pt x="17928" y="80097"/>
                  </a:cubicBezTo>
                  <a:cubicBezTo>
                    <a:pt x="29521" y="58319"/>
                    <a:pt x="47901" y="43363"/>
                    <a:pt x="60310" y="22399"/>
                  </a:cubicBezTo>
                  <a:cubicBezTo>
                    <a:pt x="59672" y="26363"/>
                    <a:pt x="57335" y="28662"/>
                    <a:pt x="56077" y="32011"/>
                  </a:cubicBezTo>
                  <a:cubicBezTo>
                    <a:pt x="55767" y="35359"/>
                    <a:pt x="59137" y="29305"/>
                    <a:pt x="59259" y="33098"/>
                  </a:cubicBezTo>
                  <a:cubicBezTo>
                    <a:pt x="43921" y="60713"/>
                    <a:pt x="20725" y="80428"/>
                    <a:pt x="7330" y="110010"/>
                  </a:cubicBezTo>
                  <a:cubicBezTo>
                    <a:pt x="13122" y="120170"/>
                    <a:pt x="18501" y="125913"/>
                    <a:pt x="29587" y="127095"/>
                  </a:cubicBezTo>
                  <a:cubicBezTo>
                    <a:pt x="70213" y="131466"/>
                    <a:pt x="89016" y="62378"/>
                    <a:pt x="67735" y="29873"/>
                  </a:cubicBezTo>
                  <a:cubicBezTo>
                    <a:pt x="66628" y="17470"/>
                    <a:pt x="61577" y="9041"/>
                    <a:pt x="57147" y="-12"/>
                  </a:cubicBezTo>
                  <a:cubicBezTo>
                    <a:pt x="39969" y="19627"/>
                    <a:pt x="25212" y="43770"/>
                    <a:pt x="11564" y="66209"/>
                  </a:cubicBezTo>
                  <a:cubicBezTo>
                    <a:pt x="6880" y="73900"/>
                    <a:pt x="-1287" y="81014"/>
                    <a:pt x="-104" y="90777"/>
                  </a:cubicBezTo>
                  <a:close/>
                </a:path>
              </a:pathLst>
            </a:custGeom>
            <a:solidFill>
              <a:schemeClr val="bg1"/>
            </a:solidFill>
            <a:ln w="9318" cap="flat">
              <a:noFill/>
              <a:prstDash val="solid"/>
              <a:round/>
            </a:ln>
          </p:spPr>
          <p:txBody>
            <a:bodyPr rtlCol="0" anchor="ctr"/>
            <a:lstStyle/>
            <a:p>
              <a:endParaRPr lang="en-LT"/>
            </a:p>
          </p:txBody>
        </p:sp>
        <p:sp>
          <p:nvSpPr>
            <p:cNvPr id="381" name="Freeform 380">
              <a:extLst>
                <a:ext uri="{FF2B5EF4-FFF2-40B4-BE49-F238E27FC236}">
                  <a16:creationId xmlns:a16="http://schemas.microsoft.com/office/drawing/2014/main" id="{27A7D9A3-2F88-CF49-9D9C-89E26F0A358A}"/>
                </a:ext>
              </a:extLst>
            </p:cNvPr>
            <p:cNvSpPr/>
            <p:nvPr/>
          </p:nvSpPr>
          <p:spPr>
            <a:xfrm>
              <a:off x="6517036" y="2470351"/>
              <a:ext cx="9060" cy="37815"/>
            </a:xfrm>
            <a:custGeom>
              <a:avLst/>
              <a:gdLst>
                <a:gd name="connsiteX0" fmla="*/ 2172 w 3325"/>
                <a:gd name="connsiteY0" fmla="*/ 13866 h 13878"/>
                <a:gd name="connsiteX1" fmla="*/ 50 w 3325"/>
                <a:gd name="connsiteY1" fmla="*/ -12 h 13878"/>
                <a:gd name="connsiteX2" fmla="*/ 2172 w 3325"/>
                <a:gd name="connsiteY2" fmla="*/ 13866 h 13878"/>
              </a:gdLst>
              <a:ahLst/>
              <a:cxnLst>
                <a:cxn ang="0">
                  <a:pos x="connsiteX0" y="connsiteY0"/>
                </a:cxn>
                <a:cxn ang="0">
                  <a:pos x="connsiteX1" y="connsiteY1"/>
                </a:cxn>
                <a:cxn ang="0">
                  <a:pos x="connsiteX2" y="connsiteY2"/>
                </a:cxn>
              </a:cxnLst>
              <a:rect l="l" t="t" r="r" b="b"/>
              <a:pathLst>
                <a:path w="3325" h="13878">
                  <a:moveTo>
                    <a:pt x="2172" y="13866"/>
                  </a:moveTo>
                  <a:cubicBezTo>
                    <a:pt x="4753" y="10176"/>
                    <a:pt x="1299" y="3412"/>
                    <a:pt x="50" y="-12"/>
                  </a:cubicBezTo>
                  <a:cubicBezTo>
                    <a:pt x="1205" y="4169"/>
                    <a:pt x="-2400" y="13137"/>
                    <a:pt x="2172" y="13866"/>
                  </a:cubicBezTo>
                  <a:close/>
                </a:path>
              </a:pathLst>
            </a:custGeom>
            <a:solidFill>
              <a:schemeClr val="bg1"/>
            </a:solidFill>
            <a:ln w="9318" cap="flat">
              <a:noFill/>
              <a:prstDash val="solid"/>
              <a:round/>
            </a:ln>
          </p:spPr>
          <p:txBody>
            <a:bodyPr rtlCol="0" anchor="ctr"/>
            <a:lstStyle/>
            <a:p>
              <a:endParaRPr lang="en-LT"/>
            </a:p>
          </p:txBody>
        </p:sp>
        <p:sp>
          <p:nvSpPr>
            <p:cNvPr id="382" name="Freeform 381">
              <a:extLst>
                <a:ext uri="{FF2B5EF4-FFF2-40B4-BE49-F238E27FC236}">
                  <a16:creationId xmlns:a16="http://schemas.microsoft.com/office/drawing/2014/main" id="{FE3A2C0C-2DA4-7A4B-A466-DE882BC56E6B}"/>
                </a:ext>
              </a:extLst>
            </p:cNvPr>
            <p:cNvSpPr/>
            <p:nvPr/>
          </p:nvSpPr>
          <p:spPr>
            <a:xfrm>
              <a:off x="6506265" y="3124814"/>
              <a:ext cx="75068" cy="12128"/>
            </a:xfrm>
            <a:custGeom>
              <a:avLst/>
              <a:gdLst>
                <a:gd name="connsiteX0" fmla="*/ 1892 w 27550"/>
                <a:gd name="connsiteY0" fmla="*/ 4440 h 4451"/>
                <a:gd name="connsiteX1" fmla="*/ 23107 w 27550"/>
                <a:gd name="connsiteY1" fmla="*/ 2302 h 4451"/>
                <a:gd name="connsiteX2" fmla="*/ 27331 w 27550"/>
                <a:gd name="connsiteY2" fmla="*/ 2302 h 4451"/>
                <a:gd name="connsiteX3" fmla="*/ 23107 w 27550"/>
                <a:gd name="connsiteY3" fmla="*/ 1233 h 4451"/>
                <a:gd name="connsiteX4" fmla="*/ -220 w 27550"/>
                <a:gd name="connsiteY4" fmla="*/ 2302 h 4451"/>
                <a:gd name="connsiteX5" fmla="*/ 1892 w 27550"/>
                <a:gd name="connsiteY5" fmla="*/ 4440 h 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50" h="4451">
                  <a:moveTo>
                    <a:pt x="1892" y="4440"/>
                  </a:moveTo>
                  <a:cubicBezTo>
                    <a:pt x="7036" y="1791"/>
                    <a:pt x="17700" y="4714"/>
                    <a:pt x="23107" y="2302"/>
                  </a:cubicBezTo>
                  <a:lnTo>
                    <a:pt x="27331" y="2302"/>
                  </a:lnTo>
                  <a:cubicBezTo>
                    <a:pt x="27124" y="722"/>
                    <a:pt x="24777" y="1327"/>
                    <a:pt x="23107" y="1233"/>
                  </a:cubicBezTo>
                  <a:cubicBezTo>
                    <a:pt x="14827" y="3276"/>
                    <a:pt x="4549" y="-3289"/>
                    <a:pt x="-220" y="2302"/>
                  </a:cubicBezTo>
                  <a:cubicBezTo>
                    <a:pt x="15" y="3494"/>
                    <a:pt x="963" y="3957"/>
                    <a:pt x="1892" y="4440"/>
                  </a:cubicBezTo>
                  <a:close/>
                </a:path>
              </a:pathLst>
            </a:custGeom>
            <a:solidFill>
              <a:schemeClr val="bg1"/>
            </a:solidFill>
            <a:ln w="9318" cap="flat">
              <a:noFill/>
              <a:prstDash val="solid"/>
              <a:round/>
            </a:ln>
          </p:spPr>
          <p:txBody>
            <a:bodyPr rtlCol="0" anchor="ctr"/>
            <a:lstStyle/>
            <a:p>
              <a:endParaRPr lang="en-LT"/>
            </a:p>
          </p:txBody>
        </p:sp>
        <p:sp>
          <p:nvSpPr>
            <p:cNvPr id="383" name="Freeform 382">
              <a:extLst>
                <a:ext uri="{FF2B5EF4-FFF2-40B4-BE49-F238E27FC236}">
                  <a16:creationId xmlns:a16="http://schemas.microsoft.com/office/drawing/2014/main" id="{861B9ADF-3F16-D246-BAFA-6BC601A9DE86}"/>
                </a:ext>
              </a:extLst>
            </p:cNvPr>
            <p:cNvSpPr/>
            <p:nvPr/>
          </p:nvSpPr>
          <p:spPr>
            <a:xfrm>
              <a:off x="6939495" y="3564714"/>
              <a:ext cx="60643" cy="433851"/>
            </a:xfrm>
            <a:custGeom>
              <a:avLst/>
              <a:gdLst>
                <a:gd name="connsiteX0" fmla="*/ 22037 w 22256"/>
                <a:gd name="connsiteY0" fmla="*/ 1085 h 159224"/>
                <a:gd name="connsiteX1" fmla="*/ 20976 w 22256"/>
                <a:gd name="connsiteY1" fmla="*/ 25 h 159224"/>
                <a:gd name="connsiteX2" fmla="*/ 15682 w 22256"/>
                <a:gd name="connsiteY2" fmla="*/ 8587 h 159224"/>
                <a:gd name="connsiteX3" fmla="*/ 8266 w 22256"/>
                <a:gd name="connsiteY3" fmla="*/ 84429 h 159224"/>
                <a:gd name="connsiteX4" fmla="*/ -220 w 22256"/>
                <a:gd name="connsiteY4" fmla="*/ 159212 h 159224"/>
                <a:gd name="connsiteX5" fmla="*/ 9317 w 22256"/>
                <a:gd name="connsiteY5" fmla="*/ 126082 h 159224"/>
                <a:gd name="connsiteX6" fmla="*/ 22037 w 22256"/>
                <a:gd name="connsiteY6" fmla="*/ 1085 h 15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56" h="159224">
                  <a:moveTo>
                    <a:pt x="22037" y="1085"/>
                  </a:moveTo>
                  <a:cubicBezTo>
                    <a:pt x="21980" y="451"/>
                    <a:pt x="21886" y="-173"/>
                    <a:pt x="20976" y="25"/>
                  </a:cubicBezTo>
                  <a:cubicBezTo>
                    <a:pt x="19098" y="3005"/>
                    <a:pt x="16414" y="5209"/>
                    <a:pt x="15682" y="8587"/>
                  </a:cubicBezTo>
                  <a:cubicBezTo>
                    <a:pt x="11129" y="29636"/>
                    <a:pt x="10735" y="57761"/>
                    <a:pt x="8266" y="84429"/>
                  </a:cubicBezTo>
                  <a:cubicBezTo>
                    <a:pt x="5788" y="110833"/>
                    <a:pt x="2305" y="137151"/>
                    <a:pt x="-220" y="159212"/>
                  </a:cubicBezTo>
                  <a:cubicBezTo>
                    <a:pt x="9317" y="153877"/>
                    <a:pt x="7543" y="138513"/>
                    <a:pt x="9317" y="126082"/>
                  </a:cubicBezTo>
                  <a:cubicBezTo>
                    <a:pt x="15062" y="85877"/>
                    <a:pt x="15503" y="37904"/>
                    <a:pt x="22037" y="1085"/>
                  </a:cubicBezTo>
                  <a:close/>
                </a:path>
              </a:pathLst>
            </a:custGeom>
            <a:solidFill>
              <a:schemeClr val="bg1"/>
            </a:solidFill>
            <a:ln w="9318" cap="flat">
              <a:noFill/>
              <a:prstDash val="solid"/>
              <a:round/>
            </a:ln>
          </p:spPr>
          <p:txBody>
            <a:bodyPr rtlCol="0" anchor="ctr"/>
            <a:lstStyle/>
            <a:p>
              <a:endParaRPr lang="en-LT"/>
            </a:p>
          </p:txBody>
        </p:sp>
        <p:sp>
          <p:nvSpPr>
            <p:cNvPr id="384" name="Freeform 383">
              <a:extLst>
                <a:ext uri="{FF2B5EF4-FFF2-40B4-BE49-F238E27FC236}">
                  <a16:creationId xmlns:a16="http://schemas.microsoft.com/office/drawing/2014/main" id="{E429FA83-92BC-2746-A5CB-A6EDBF82B126}"/>
                </a:ext>
              </a:extLst>
            </p:cNvPr>
            <p:cNvSpPr/>
            <p:nvPr/>
          </p:nvSpPr>
          <p:spPr>
            <a:xfrm>
              <a:off x="6425364" y="3803410"/>
              <a:ext cx="106861" cy="116509"/>
            </a:xfrm>
            <a:custGeom>
              <a:avLst/>
              <a:gdLst>
                <a:gd name="connsiteX0" fmla="*/ 36896 w 39218"/>
                <a:gd name="connsiteY0" fmla="*/ 25 h 42759"/>
                <a:gd name="connsiteX1" fmla="*/ 16742 w 39218"/>
                <a:gd name="connsiteY1" fmla="*/ 19258 h 42759"/>
                <a:gd name="connsiteX2" fmla="*/ -220 w 39218"/>
                <a:gd name="connsiteY2" fmla="*/ 42748 h 42759"/>
                <a:gd name="connsiteX3" fmla="*/ 19925 w 39218"/>
                <a:gd name="connsiteY3" fmla="*/ 23534 h 42759"/>
                <a:gd name="connsiteX4" fmla="*/ 38999 w 39218"/>
                <a:gd name="connsiteY4" fmla="*/ 1094 h 42759"/>
                <a:gd name="connsiteX5" fmla="*/ 36896 w 39218"/>
                <a:gd name="connsiteY5" fmla="*/ 25 h 4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218" h="42759">
                  <a:moveTo>
                    <a:pt x="36896" y="25"/>
                  </a:moveTo>
                  <a:cubicBezTo>
                    <a:pt x="31208" y="7452"/>
                    <a:pt x="23623" y="12967"/>
                    <a:pt x="16742" y="19258"/>
                  </a:cubicBezTo>
                  <a:cubicBezTo>
                    <a:pt x="10209" y="25256"/>
                    <a:pt x="-4" y="30970"/>
                    <a:pt x="-220" y="42748"/>
                  </a:cubicBezTo>
                  <a:cubicBezTo>
                    <a:pt x="6942" y="39087"/>
                    <a:pt x="13081" y="30431"/>
                    <a:pt x="19925" y="23534"/>
                  </a:cubicBezTo>
                  <a:cubicBezTo>
                    <a:pt x="26561" y="16827"/>
                    <a:pt x="37121" y="11198"/>
                    <a:pt x="38999" y="1094"/>
                  </a:cubicBezTo>
                  <a:cubicBezTo>
                    <a:pt x="38774" y="271"/>
                    <a:pt x="38126" y="-145"/>
                    <a:pt x="36896" y="25"/>
                  </a:cubicBezTo>
                  <a:close/>
                </a:path>
              </a:pathLst>
            </a:custGeom>
            <a:solidFill>
              <a:schemeClr val="bg1"/>
            </a:solidFill>
            <a:ln w="9318" cap="flat">
              <a:noFill/>
              <a:prstDash val="solid"/>
              <a:round/>
            </a:ln>
          </p:spPr>
          <p:txBody>
            <a:bodyPr rtlCol="0" anchor="ctr"/>
            <a:lstStyle/>
            <a:p>
              <a:endParaRPr lang="en-LT"/>
            </a:p>
          </p:txBody>
        </p:sp>
        <p:sp>
          <p:nvSpPr>
            <p:cNvPr id="385" name="Freeform 384">
              <a:extLst>
                <a:ext uri="{FF2B5EF4-FFF2-40B4-BE49-F238E27FC236}">
                  <a16:creationId xmlns:a16="http://schemas.microsoft.com/office/drawing/2014/main" id="{5805B93C-B096-FE43-A531-8C92669626B0}"/>
                </a:ext>
              </a:extLst>
            </p:cNvPr>
            <p:cNvSpPr/>
            <p:nvPr/>
          </p:nvSpPr>
          <p:spPr>
            <a:xfrm>
              <a:off x="6427601" y="3832614"/>
              <a:ext cx="100149" cy="133961"/>
            </a:xfrm>
            <a:custGeom>
              <a:avLst/>
              <a:gdLst>
                <a:gd name="connsiteX0" fmla="*/ 36075 w 36755"/>
                <a:gd name="connsiteY0" fmla="*/ -12 h 49164"/>
                <a:gd name="connsiteX1" fmla="*/ 18052 w 36755"/>
                <a:gd name="connsiteY1" fmla="*/ 18161 h 49164"/>
                <a:gd name="connsiteX2" fmla="*/ 1080 w 36755"/>
                <a:gd name="connsiteY2" fmla="*/ 49152 h 49164"/>
                <a:gd name="connsiteX3" fmla="*/ 36075 w 36755"/>
                <a:gd name="connsiteY3" fmla="*/ -12 h 49164"/>
              </a:gdLst>
              <a:ahLst/>
              <a:cxnLst>
                <a:cxn ang="0">
                  <a:pos x="connsiteX0" y="connsiteY0"/>
                </a:cxn>
                <a:cxn ang="0">
                  <a:pos x="connsiteX1" y="connsiteY1"/>
                </a:cxn>
                <a:cxn ang="0">
                  <a:pos x="connsiteX2" y="connsiteY2"/>
                </a:cxn>
                <a:cxn ang="0">
                  <a:pos x="connsiteX3" y="connsiteY3"/>
                </a:cxn>
              </a:cxnLst>
              <a:rect l="l" t="t" r="r" b="b"/>
              <a:pathLst>
                <a:path w="36755" h="49164">
                  <a:moveTo>
                    <a:pt x="36075" y="-12"/>
                  </a:moveTo>
                  <a:cubicBezTo>
                    <a:pt x="30499" y="4311"/>
                    <a:pt x="24970" y="11170"/>
                    <a:pt x="18052" y="18161"/>
                  </a:cubicBezTo>
                  <a:cubicBezTo>
                    <a:pt x="9519" y="26713"/>
                    <a:pt x="-4571" y="33212"/>
                    <a:pt x="1080" y="49152"/>
                  </a:cubicBezTo>
                  <a:cubicBezTo>
                    <a:pt x="10711" y="35690"/>
                    <a:pt x="40590" y="27706"/>
                    <a:pt x="36075" y="-12"/>
                  </a:cubicBezTo>
                  <a:close/>
                </a:path>
              </a:pathLst>
            </a:custGeom>
            <a:solidFill>
              <a:schemeClr val="bg1"/>
            </a:solidFill>
            <a:ln w="9318" cap="flat">
              <a:noFill/>
              <a:prstDash val="solid"/>
              <a:round/>
            </a:ln>
          </p:spPr>
          <p:txBody>
            <a:bodyPr rtlCol="0" anchor="ctr"/>
            <a:lstStyle/>
            <a:p>
              <a:endParaRPr lang="en-LT"/>
            </a:p>
          </p:txBody>
        </p:sp>
        <p:sp>
          <p:nvSpPr>
            <p:cNvPr id="386" name="Freeform 385">
              <a:extLst>
                <a:ext uri="{FF2B5EF4-FFF2-40B4-BE49-F238E27FC236}">
                  <a16:creationId xmlns:a16="http://schemas.microsoft.com/office/drawing/2014/main" id="{78069A0F-26C3-7B4F-B932-78AA334C3CCD}"/>
                </a:ext>
              </a:extLst>
            </p:cNvPr>
            <p:cNvSpPr/>
            <p:nvPr/>
          </p:nvSpPr>
          <p:spPr>
            <a:xfrm>
              <a:off x="6431143" y="3887958"/>
              <a:ext cx="95757" cy="110607"/>
            </a:xfrm>
            <a:custGeom>
              <a:avLst/>
              <a:gdLst>
                <a:gd name="connsiteX0" fmla="*/ 33695 w 35143"/>
                <a:gd name="connsiteY0" fmla="*/ -12 h 40593"/>
                <a:gd name="connsiteX1" fmla="*/ 14621 w 35143"/>
                <a:gd name="connsiteY1" fmla="*/ 18132 h 40593"/>
                <a:gd name="connsiteX2" fmla="*/ -220 w 35143"/>
                <a:gd name="connsiteY2" fmla="*/ 40581 h 40593"/>
                <a:gd name="connsiteX3" fmla="*/ 34775 w 35143"/>
                <a:gd name="connsiteY3" fmla="*/ 10649 h 40593"/>
                <a:gd name="connsiteX4" fmla="*/ 33695 w 35143"/>
                <a:gd name="connsiteY4" fmla="*/ -12 h 40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3" h="40593">
                  <a:moveTo>
                    <a:pt x="33695" y="-12"/>
                  </a:moveTo>
                  <a:cubicBezTo>
                    <a:pt x="28551" y="7253"/>
                    <a:pt x="20957" y="12002"/>
                    <a:pt x="14621" y="18132"/>
                  </a:cubicBezTo>
                  <a:cubicBezTo>
                    <a:pt x="8810" y="23771"/>
                    <a:pt x="-41" y="29863"/>
                    <a:pt x="-220" y="40581"/>
                  </a:cubicBezTo>
                  <a:cubicBezTo>
                    <a:pt x="10875" y="34281"/>
                    <a:pt x="23623" y="20441"/>
                    <a:pt x="34775" y="10649"/>
                  </a:cubicBezTo>
                  <a:cubicBezTo>
                    <a:pt x="34089" y="7395"/>
                    <a:pt x="36117" y="1464"/>
                    <a:pt x="33695" y="-12"/>
                  </a:cubicBezTo>
                  <a:close/>
                </a:path>
              </a:pathLst>
            </a:custGeom>
            <a:solidFill>
              <a:schemeClr val="bg1"/>
            </a:solidFill>
            <a:ln w="9318" cap="flat">
              <a:noFill/>
              <a:prstDash val="solid"/>
              <a:round/>
            </a:ln>
          </p:spPr>
          <p:txBody>
            <a:bodyPr rtlCol="0" anchor="ctr"/>
            <a:lstStyle/>
            <a:p>
              <a:endParaRPr lang="en-LT"/>
            </a:p>
          </p:txBody>
        </p:sp>
        <p:sp>
          <p:nvSpPr>
            <p:cNvPr id="387" name="Freeform 386">
              <a:extLst>
                <a:ext uri="{FF2B5EF4-FFF2-40B4-BE49-F238E27FC236}">
                  <a16:creationId xmlns:a16="http://schemas.microsoft.com/office/drawing/2014/main" id="{57956BBD-FD3A-C249-8C8B-AE84C5D31AFD}"/>
                </a:ext>
              </a:extLst>
            </p:cNvPr>
            <p:cNvSpPr/>
            <p:nvPr/>
          </p:nvSpPr>
          <p:spPr>
            <a:xfrm>
              <a:off x="6434034" y="3928633"/>
              <a:ext cx="90024" cy="116484"/>
            </a:xfrm>
            <a:custGeom>
              <a:avLst/>
              <a:gdLst>
                <a:gd name="connsiteX0" fmla="*/ 31583 w 33039"/>
                <a:gd name="connsiteY0" fmla="*/ -12 h 42750"/>
                <a:gd name="connsiteX1" fmla="*/ -220 w 33039"/>
                <a:gd name="connsiteY1" fmla="*/ 28851 h 42750"/>
                <a:gd name="connsiteX2" fmla="*/ -220 w 33039"/>
                <a:gd name="connsiteY2" fmla="*/ 42738 h 42750"/>
                <a:gd name="connsiteX3" fmla="*/ 32634 w 33039"/>
                <a:gd name="connsiteY3" fmla="*/ 13913 h 42750"/>
                <a:gd name="connsiteX4" fmla="*/ 31583 w 33039"/>
                <a:gd name="connsiteY4" fmla="*/ -12 h 42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39" h="42750">
                  <a:moveTo>
                    <a:pt x="31583" y="-12"/>
                  </a:moveTo>
                  <a:cubicBezTo>
                    <a:pt x="21483" y="10110"/>
                    <a:pt x="10829" y="19665"/>
                    <a:pt x="-220" y="28851"/>
                  </a:cubicBezTo>
                  <a:lnTo>
                    <a:pt x="-220" y="42738"/>
                  </a:lnTo>
                  <a:cubicBezTo>
                    <a:pt x="11880" y="34262"/>
                    <a:pt x="20807" y="22588"/>
                    <a:pt x="32634" y="13913"/>
                  </a:cubicBezTo>
                  <a:cubicBezTo>
                    <a:pt x="31968" y="9599"/>
                    <a:pt x="34033" y="2523"/>
                    <a:pt x="31583" y="-12"/>
                  </a:cubicBezTo>
                  <a:close/>
                </a:path>
              </a:pathLst>
            </a:custGeom>
            <a:solidFill>
              <a:schemeClr val="bg1"/>
            </a:solidFill>
            <a:ln w="9318" cap="flat">
              <a:noFill/>
              <a:prstDash val="solid"/>
              <a:round/>
            </a:ln>
          </p:spPr>
          <p:txBody>
            <a:bodyPr rtlCol="0" anchor="ctr"/>
            <a:lstStyle/>
            <a:p>
              <a:endParaRPr lang="en-LT"/>
            </a:p>
          </p:txBody>
        </p:sp>
        <p:sp>
          <p:nvSpPr>
            <p:cNvPr id="388" name="Freeform 387">
              <a:extLst>
                <a:ext uri="{FF2B5EF4-FFF2-40B4-BE49-F238E27FC236}">
                  <a16:creationId xmlns:a16="http://schemas.microsoft.com/office/drawing/2014/main" id="{E2464D5D-AE86-0E4F-A200-3A211DF20E31}"/>
                </a:ext>
              </a:extLst>
            </p:cNvPr>
            <p:cNvSpPr/>
            <p:nvPr/>
          </p:nvSpPr>
          <p:spPr>
            <a:xfrm>
              <a:off x="6436925" y="3975290"/>
              <a:ext cx="89572" cy="98931"/>
            </a:xfrm>
            <a:custGeom>
              <a:avLst/>
              <a:gdLst>
                <a:gd name="connsiteX0" fmla="*/ 32653 w 32873"/>
                <a:gd name="connsiteY0" fmla="*/ 2126 h 36308"/>
                <a:gd name="connsiteX1" fmla="*/ 30522 w 32873"/>
                <a:gd name="connsiteY1" fmla="*/ -12 h 36308"/>
                <a:gd name="connsiteX2" fmla="*/ -220 w 32873"/>
                <a:gd name="connsiteY2" fmla="*/ 36296 h 36308"/>
                <a:gd name="connsiteX3" fmla="*/ 32653 w 32873"/>
                <a:gd name="connsiteY3" fmla="*/ 2126 h 36308"/>
              </a:gdLst>
              <a:ahLst/>
              <a:cxnLst>
                <a:cxn ang="0">
                  <a:pos x="connsiteX0" y="connsiteY0"/>
                </a:cxn>
                <a:cxn ang="0">
                  <a:pos x="connsiteX1" y="connsiteY1"/>
                </a:cxn>
                <a:cxn ang="0">
                  <a:pos x="connsiteX2" y="connsiteY2"/>
                </a:cxn>
                <a:cxn ang="0">
                  <a:pos x="connsiteX3" y="connsiteY3"/>
                </a:cxn>
              </a:cxnLst>
              <a:rect l="l" t="t" r="r" b="b"/>
              <a:pathLst>
                <a:path w="32873" h="36308">
                  <a:moveTo>
                    <a:pt x="32653" y="2126"/>
                  </a:moveTo>
                  <a:cubicBezTo>
                    <a:pt x="31245" y="2088"/>
                    <a:pt x="31667" y="234"/>
                    <a:pt x="30522" y="-12"/>
                  </a:cubicBezTo>
                  <a:cubicBezTo>
                    <a:pt x="21698" y="13516"/>
                    <a:pt x="3037" y="17139"/>
                    <a:pt x="-220" y="36296"/>
                  </a:cubicBezTo>
                  <a:cubicBezTo>
                    <a:pt x="11936" y="26117"/>
                    <a:pt x="24017" y="15824"/>
                    <a:pt x="32653" y="2126"/>
                  </a:cubicBezTo>
                  <a:close/>
                </a:path>
              </a:pathLst>
            </a:custGeom>
            <a:solidFill>
              <a:schemeClr val="bg1"/>
            </a:solidFill>
            <a:ln w="9318" cap="flat">
              <a:noFill/>
              <a:prstDash val="solid"/>
              <a:round/>
            </a:ln>
          </p:spPr>
          <p:txBody>
            <a:bodyPr rtlCol="0" anchor="ctr"/>
            <a:lstStyle/>
            <a:p>
              <a:endParaRPr lang="en-LT"/>
            </a:p>
          </p:txBody>
        </p:sp>
        <p:sp>
          <p:nvSpPr>
            <p:cNvPr id="389" name="Freeform 388">
              <a:extLst>
                <a:ext uri="{FF2B5EF4-FFF2-40B4-BE49-F238E27FC236}">
                  <a16:creationId xmlns:a16="http://schemas.microsoft.com/office/drawing/2014/main" id="{44CD2427-8279-F74A-AD23-CCC70E72500C}"/>
                </a:ext>
              </a:extLst>
            </p:cNvPr>
            <p:cNvSpPr/>
            <p:nvPr/>
          </p:nvSpPr>
          <p:spPr>
            <a:xfrm>
              <a:off x="6437985" y="4004393"/>
              <a:ext cx="94348" cy="521055"/>
            </a:xfrm>
            <a:custGeom>
              <a:avLst/>
              <a:gdLst>
                <a:gd name="connsiteX0" fmla="*/ 32264 w 34626"/>
                <a:gd name="connsiteY0" fmla="*/ -12 h 191228"/>
                <a:gd name="connsiteX1" fmla="*/ 30133 w 34626"/>
                <a:gd name="connsiteY1" fmla="*/ -12 h 191228"/>
                <a:gd name="connsiteX2" fmla="*/ 452 w 34626"/>
                <a:gd name="connsiteY2" fmla="*/ 30951 h 191228"/>
                <a:gd name="connsiteX3" fmla="*/ 5746 w 34626"/>
                <a:gd name="connsiteY3" fmla="*/ 86511 h 191228"/>
                <a:gd name="connsiteX4" fmla="*/ 11050 w 34626"/>
                <a:gd name="connsiteY4" fmla="*/ 142042 h 191228"/>
                <a:gd name="connsiteX5" fmla="*/ 24839 w 34626"/>
                <a:gd name="connsiteY5" fmla="*/ 191207 h 191228"/>
                <a:gd name="connsiteX6" fmla="*/ 32264 w 34626"/>
                <a:gd name="connsiteY6" fmla="*/ 163413 h 191228"/>
                <a:gd name="connsiteX7" fmla="*/ 32264 w 34626"/>
                <a:gd name="connsiteY7" fmla="*/ -12 h 19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26" h="191228">
                  <a:moveTo>
                    <a:pt x="32264" y="-12"/>
                  </a:moveTo>
                  <a:lnTo>
                    <a:pt x="30133" y="-12"/>
                  </a:lnTo>
                  <a:cubicBezTo>
                    <a:pt x="23910" y="11009"/>
                    <a:pt x="3624" y="17849"/>
                    <a:pt x="452" y="30951"/>
                  </a:cubicBezTo>
                  <a:cubicBezTo>
                    <a:pt x="-2374" y="42701"/>
                    <a:pt x="4554" y="66540"/>
                    <a:pt x="5746" y="86511"/>
                  </a:cubicBezTo>
                  <a:cubicBezTo>
                    <a:pt x="6994" y="107333"/>
                    <a:pt x="9773" y="128297"/>
                    <a:pt x="11050" y="142042"/>
                  </a:cubicBezTo>
                  <a:cubicBezTo>
                    <a:pt x="12627" y="159023"/>
                    <a:pt x="10308" y="191841"/>
                    <a:pt x="24839" y="191207"/>
                  </a:cubicBezTo>
                  <a:cubicBezTo>
                    <a:pt x="34188" y="190791"/>
                    <a:pt x="32602" y="173743"/>
                    <a:pt x="32264" y="163413"/>
                  </a:cubicBezTo>
                  <a:cubicBezTo>
                    <a:pt x="30527" y="113368"/>
                    <a:pt x="37859" y="51972"/>
                    <a:pt x="32264" y="-12"/>
                  </a:cubicBezTo>
                  <a:close/>
                </a:path>
              </a:pathLst>
            </a:custGeom>
            <a:solidFill>
              <a:schemeClr val="bg1"/>
            </a:solidFill>
            <a:ln w="9318" cap="flat">
              <a:noFill/>
              <a:prstDash val="solid"/>
              <a:round/>
            </a:ln>
          </p:spPr>
          <p:txBody>
            <a:bodyPr rtlCol="0" anchor="ctr"/>
            <a:lstStyle/>
            <a:p>
              <a:endParaRPr lang="en-LT"/>
            </a:p>
          </p:txBody>
        </p:sp>
        <p:sp>
          <p:nvSpPr>
            <p:cNvPr id="390" name="Freeform 389">
              <a:extLst>
                <a:ext uri="{FF2B5EF4-FFF2-40B4-BE49-F238E27FC236}">
                  <a16:creationId xmlns:a16="http://schemas.microsoft.com/office/drawing/2014/main" id="{65DC1DC5-E554-A247-922D-45DECC8E7457}"/>
                </a:ext>
              </a:extLst>
            </p:cNvPr>
            <p:cNvSpPr/>
            <p:nvPr/>
          </p:nvSpPr>
          <p:spPr>
            <a:xfrm>
              <a:off x="6512020" y="2156001"/>
              <a:ext cx="72229" cy="96070"/>
            </a:xfrm>
            <a:custGeom>
              <a:avLst/>
              <a:gdLst>
                <a:gd name="connsiteX0" fmla="*/ -220 w 26508"/>
                <a:gd name="connsiteY0" fmla="*/ 35246 h 35258"/>
                <a:gd name="connsiteX1" fmla="*/ 26289 w 26508"/>
                <a:gd name="connsiteY1" fmla="*/ -12 h 35258"/>
                <a:gd name="connsiteX2" fmla="*/ -220 w 26508"/>
                <a:gd name="connsiteY2" fmla="*/ 35246 h 35258"/>
              </a:gdLst>
              <a:ahLst/>
              <a:cxnLst>
                <a:cxn ang="0">
                  <a:pos x="connsiteX0" y="connsiteY0"/>
                </a:cxn>
                <a:cxn ang="0">
                  <a:pos x="connsiteX1" y="connsiteY1"/>
                </a:cxn>
                <a:cxn ang="0">
                  <a:pos x="connsiteX2" y="connsiteY2"/>
                </a:cxn>
              </a:cxnLst>
              <a:rect l="l" t="t" r="r" b="b"/>
              <a:pathLst>
                <a:path w="26508" h="35258">
                  <a:moveTo>
                    <a:pt x="-220" y="35246"/>
                  </a:moveTo>
                  <a:cubicBezTo>
                    <a:pt x="8256" y="23137"/>
                    <a:pt x="18432" y="12731"/>
                    <a:pt x="26289" y="-12"/>
                  </a:cubicBezTo>
                  <a:cubicBezTo>
                    <a:pt x="15287" y="8814"/>
                    <a:pt x="5281" y="24395"/>
                    <a:pt x="-220" y="35246"/>
                  </a:cubicBezTo>
                  <a:close/>
                </a:path>
              </a:pathLst>
            </a:custGeom>
            <a:solidFill>
              <a:schemeClr val="bg1"/>
            </a:solidFill>
            <a:ln w="9318" cap="flat">
              <a:noFill/>
              <a:prstDash val="solid"/>
              <a:round/>
            </a:ln>
          </p:spPr>
          <p:txBody>
            <a:bodyPr rtlCol="0" anchor="ctr"/>
            <a:lstStyle/>
            <a:p>
              <a:endParaRPr lang="en-LT"/>
            </a:p>
          </p:txBody>
        </p:sp>
        <p:sp>
          <p:nvSpPr>
            <p:cNvPr id="391" name="Freeform 390">
              <a:extLst>
                <a:ext uri="{FF2B5EF4-FFF2-40B4-BE49-F238E27FC236}">
                  <a16:creationId xmlns:a16="http://schemas.microsoft.com/office/drawing/2014/main" id="{249392CF-2074-5F44-AB4D-CFACD8D61294}"/>
                </a:ext>
              </a:extLst>
            </p:cNvPr>
            <p:cNvSpPr/>
            <p:nvPr/>
          </p:nvSpPr>
          <p:spPr>
            <a:xfrm>
              <a:off x="6439813" y="2304477"/>
              <a:ext cx="25986" cy="43640"/>
            </a:xfrm>
            <a:custGeom>
              <a:avLst/>
              <a:gdLst>
                <a:gd name="connsiteX0" fmla="*/ 9317 w 9537"/>
                <a:gd name="connsiteY0" fmla="*/ -12 h 16016"/>
                <a:gd name="connsiteX1" fmla="*/ -220 w 9537"/>
                <a:gd name="connsiteY1" fmla="*/ 16004 h 16016"/>
                <a:gd name="connsiteX2" fmla="*/ 9317 w 9537"/>
                <a:gd name="connsiteY2" fmla="*/ -12 h 16016"/>
              </a:gdLst>
              <a:ahLst/>
              <a:cxnLst>
                <a:cxn ang="0">
                  <a:pos x="connsiteX0" y="connsiteY0"/>
                </a:cxn>
                <a:cxn ang="0">
                  <a:pos x="connsiteX1" y="connsiteY1"/>
                </a:cxn>
                <a:cxn ang="0">
                  <a:pos x="connsiteX2" y="connsiteY2"/>
                </a:cxn>
              </a:cxnLst>
              <a:rect l="l" t="t" r="r" b="b"/>
              <a:pathLst>
                <a:path w="9537" h="16016">
                  <a:moveTo>
                    <a:pt x="9317" y="-12"/>
                  </a:moveTo>
                  <a:cubicBezTo>
                    <a:pt x="6501" y="5664"/>
                    <a:pt x="1038" y="8738"/>
                    <a:pt x="-220" y="16004"/>
                  </a:cubicBezTo>
                  <a:cubicBezTo>
                    <a:pt x="4173" y="12589"/>
                    <a:pt x="9101" y="4046"/>
                    <a:pt x="9317" y="-12"/>
                  </a:cubicBezTo>
                  <a:close/>
                </a:path>
              </a:pathLst>
            </a:custGeom>
            <a:solidFill>
              <a:schemeClr val="bg1"/>
            </a:solidFill>
            <a:ln w="9318" cap="flat">
              <a:noFill/>
              <a:prstDash val="solid"/>
              <a:round/>
            </a:ln>
          </p:spPr>
          <p:txBody>
            <a:bodyPr rtlCol="0" anchor="ctr"/>
            <a:lstStyle/>
            <a:p>
              <a:endParaRPr lang="en-LT"/>
            </a:p>
          </p:txBody>
        </p:sp>
        <p:sp>
          <p:nvSpPr>
            <p:cNvPr id="392" name="Freeform 391">
              <a:extLst>
                <a:ext uri="{FF2B5EF4-FFF2-40B4-BE49-F238E27FC236}">
                  <a16:creationId xmlns:a16="http://schemas.microsoft.com/office/drawing/2014/main" id="{1577F503-CFFB-9343-A67E-891DF4A39448}"/>
                </a:ext>
              </a:extLst>
            </p:cNvPr>
            <p:cNvSpPr/>
            <p:nvPr/>
          </p:nvSpPr>
          <p:spPr>
            <a:xfrm>
              <a:off x="6745975" y="2476201"/>
              <a:ext cx="453900" cy="1564093"/>
            </a:xfrm>
            <a:custGeom>
              <a:avLst/>
              <a:gdLst>
                <a:gd name="connsiteX0" fmla="*/ 52769 w 166582"/>
                <a:gd name="connsiteY0" fmla="*/ 498862 h 574025"/>
                <a:gd name="connsiteX1" fmla="*/ 51718 w 166582"/>
                <a:gd name="connsiteY1" fmla="*/ 508493 h 574025"/>
                <a:gd name="connsiteX2" fmla="*/ 52769 w 166582"/>
                <a:gd name="connsiteY2" fmla="*/ 498862 h 574025"/>
                <a:gd name="connsiteX3" fmla="*/ 53830 w 166582"/>
                <a:gd name="connsiteY3" fmla="*/ 552293 h 574025"/>
                <a:gd name="connsiteX4" fmla="*/ 59143 w 166582"/>
                <a:gd name="connsiteY4" fmla="*/ 553362 h 574025"/>
                <a:gd name="connsiteX5" fmla="*/ 58092 w 166582"/>
                <a:gd name="connsiteY5" fmla="*/ 556560 h 574025"/>
                <a:gd name="connsiteX6" fmla="*/ 53830 w 166582"/>
                <a:gd name="connsiteY6" fmla="*/ 552293 h 574025"/>
                <a:gd name="connsiteX7" fmla="*/ 102605 w 166582"/>
                <a:gd name="connsiteY7" fmla="*/ 512750 h 574025"/>
                <a:gd name="connsiteX8" fmla="*/ 108969 w 166582"/>
                <a:gd name="connsiteY8" fmla="*/ 505286 h 574025"/>
                <a:gd name="connsiteX9" fmla="*/ 102605 w 166582"/>
                <a:gd name="connsiteY9" fmla="*/ 512750 h 574025"/>
                <a:gd name="connsiteX10" fmla="*/ 130156 w 166582"/>
                <a:gd name="connsiteY10" fmla="*/ 480708 h 574025"/>
                <a:gd name="connsiteX11" fmla="*/ 122740 w 166582"/>
                <a:gd name="connsiteY11" fmla="*/ 490320 h 574025"/>
                <a:gd name="connsiteX12" fmla="*/ 130156 w 166582"/>
                <a:gd name="connsiteY12" fmla="*/ 480708 h 574025"/>
                <a:gd name="connsiteX13" fmla="*/ 38999 w 166582"/>
                <a:gd name="connsiteY13" fmla="*/ 478579 h 574025"/>
                <a:gd name="connsiteX14" fmla="*/ 38999 w 166582"/>
                <a:gd name="connsiteY14" fmla="*/ 478579 h 574025"/>
                <a:gd name="connsiteX15" fmla="*/ 14611 w 166582"/>
                <a:gd name="connsiteY15" fmla="*/ 116424 h 574025"/>
                <a:gd name="connsiteX16" fmla="*/ 14790 w 166582"/>
                <a:gd name="connsiteY16" fmla="*/ 111609 h 574025"/>
                <a:gd name="connsiteX17" fmla="*/ 15663 w 166582"/>
                <a:gd name="connsiteY17" fmla="*/ 91648 h 574025"/>
                <a:gd name="connsiteX18" fmla="*/ 20985 w 166582"/>
                <a:gd name="connsiteY18" fmla="*/ 39494 h 574025"/>
                <a:gd name="connsiteX19" fmla="*/ 15663 w 166582"/>
                <a:gd name="connsiteY19" fmla="*/ 91648 h 574025"/>
                <a:gd name="connsiteX20" fmla="*/ 14790 w 166582"/>
                <a:gd name="connsiteY20" fmla="*/ 111609 h 574025"/>
                <a:gd name="connsiteX21" fmla="*/ 15682 w 166582"/>
                <a:gd name="connsiteY21" fmla="*/ 119631 h 574025"/>
                <a:gd name="connsiteX22" fmla="*/ 34765 w 166582"/>
                <a:gd name="connsiteY22" fmla="*/ 163432 h 574025"/>
                <a:gd name="connsiteX23" fmla="*/ 37957 w 166582"/>
                <a:gd name="connsiteY23" fmla="*/ 200818 h 574025"/>
                <a:gd name="connsiteX24" fmla="*/ 33695 w 166582"/>
                <a:gd name="connsiteY24" fmla="*/ 318333 h 574025"/>
                <a:gd name="connsiteX25" fmla="*/ 46424 w 166582"/>
                <a:gd name="connsiteY25" fmla="*/ 347177 h 574025"/>
                <a:gd name="connsiteX26" fmla="*/ 48536 w 166582"/>
                <a:gd name="connsiteY26" fmla="*/ 445459 h 574025"/>
                <a:gd name="connsiteX27" fmla="*/ 18864 w 166582"/>
                <a:gd name="connsiteY27" fmla="*/ 477510 h 574025"/>
                <a:gd name="connsiteX28" fmla="*/ 32653 w 166582"/>
                <a:gd name="connsiteY28" fmla="*/ 526637 h 574025"/>
                <a:gd name="connsiteX29" fmla="*/ 51718 w 166582"/>
                <a:gd name="connsiteY29" fmla="*/ 573655 h 574025"/>
                <a:gd name="connsiteX30" fmla="*/ 72914 w 166582"/>
                <a:gd name="connsiteY30" fmla="*/ 523430 h 574025"/>
                <a:gd name="connsiteX31" fmla="*/ 85652 w 166582"/>
                <a:gd name="connsiteY31" fmla="*/ 410192 h 574025"/>
                <a:gd name="connsiteX32" fmla="*/ 75035 w 166582"/>
                <a:gd name="connsiteY32" fmla="*/ 440124 h 574025"/>
                <a:gd name="connsiteX33" fmla="*/ 62325 w 166582"/>
                <a:gd name="connsiteY33" fmla="*/ 561895 h 574025"/>
                <a:gd name="connsiteX34" fmla="*/ 70802 w 166582"/>
                <a:gd name="connsiteY34" fmla="*/ 457190 h 574025"/>
                <a:gd name="connsiteX35" fmla="*/ 64428 w 166582"/>
                <a:gd name="connsiteY35" fmla="*/ 461466 h 574025"/>
                <a:gd name="connsiteX36" fmla="*/ 76115 w 166582"/>
                <a:gd name="connsiteY36" fmla="*/ 419813 h 574025"/>
                <a:gd name="connsiteX37" fmla="*/ 66550 w 166582"/>
                <a:gd name="connsiteY37" fmla="*/ 425167 h 574025"/>
                <a:gd name="connsiteX38" fmla="*/ 61274 w 166582"/>
                <a:gd name="connsiteY38" fmla="*/ 357858 h 574025"/>
                <a:gd name="connsiteX39" fmla="*/ 86703 w 166582"/>
                <a:gd name="connsiteY39" fmla="*/ 352503 h 574025"/>
                <a:gd name="connsiteX40" fmla="*/ 95180 w 166582"/>
                <a:gd name="connsiteY40" fmla="*/ 380288 h 574025"/>
                <a:gd name="connsiteX41" fmla="*/ 98371 w 166582"/>
                <a:gd name="connsiteY41" fmla="*/ 379238 h 574025"/>
                <a:gd name="connsiteX42" fmla="*/ 100483 w 166582"/>
                <a:gd name="connsiteY42" fmla="*/ 392028 h 574025"/>
                <a:gd name="connsiteX43" fmla="*/ 95180 w 166582"/>
                <a:gd name="connsiteY43" fmla="*/ 398461 h 574025"/>
                <a:gd name="connsiteX44" fmla="*/ 79288 w 166582"/>
                <a:gd name="connsiteY44" fmla="*/ 551234 h 574025"/>
                <a:gd name="connsiteX45" fmla="*/ 87764 w 166582"/>
                <a:gd name="connsiteY45" fmla="*/ 517026 h 574025"/>
                <a:gd name="connsiteX46" fmla="*/ 99432 w 166582"/>
                <a:gd name="connsiteY46" fmla="*/ 394176 h 574025"/>
                <a:gd name="connsiteX47" fmla="*/ 86703 w 166582"/>
                <a:gd name="connsiteY47" fmla="*/ 544810 h 574025"/>
                <a:gd name="connsiteX48" fmla="*/ 96250 w 166582"/>
                <a:gd name="connsiteY48" fmla="*/ 511681 h 574025"/>
                <a:gd name="connsiteX49" fmla="*/ 106838 w 166582"/>
                <a:gd name="connsiteY49" fmla="*/ 390959 h 574025"/>
                <a:gd name="connsiteX50" fmla="*/ 95180 w 166582"/>
                <a:gd name="connsiteY50" fmla="*/ 536249 h 574025"/>
                <a:gd name="connsiteX51" fmla="*/ 130156 w 166582"/>
                <a:gd name="connsiteY51" fmla="*/ 502060 h 574025"/>
                <a:gd name="connsiteX52" fmla="*/ 166211 w 166582"/>
                <a:gd name="connsiteY52" fmla="*/ 465761 h 574025"/>
                <a:gd name="connsiteX53" fmla="*/ 159818 w 166582"/>
                <a:gd name="connsiteY53" fmla="*/ 437976 h 574025"/>
                <a:gd name="connsiteX54" fmla="*/ 139712 w 166582"/>
                <a:gd name="connsiteY54" fmla="*/ 353572 h 574025"/>
                <a:gd name="connsiteX55" fmla="*/ 112142 w 166582"/>
                <a:gd name="connsiteY55" fmla="*/ 378169 h 574025"/>
                <a:gd name="connsiteX56" fmla="*/ 76115 w 166582"/>
                <a:gd name="connsiteY56" fmla="*/ 330073 h 574025"/>
                <a:gd name="connsiteX57" fmla="*/ 59143 w 166582"/>
                <a:gd name="connsiteY57" fmla="*/ 324738 h 574025"/>
                <a:gd name="connsiteX58" fmla="*/ 68680 w 166582"/>
                <a:gd name="connsiteY58" fmla="*/ 320462 h 574025"/>
                <a:gd name="connsiteX59" fmla="*/ 72914 w 166582"/>
                <a:gd name="connsiteY59" fmla="*/ 204025 h 574025"/>
                <a:gd name="connsiteX60" fmla="*/ 66550 w 166582"/>
                <a:gd name="connsiteY60" fmla="*/ 174112 h 574025"/>
                <a:gd name="connsiteX61" fmla="*/ 22027 w 166582"/>
                <a:gd name="connsiteY61" fmla="*/ 30970 h 574025"/>
                <a:gd name="connsiteX62" fmla="*/ 20985 w 166582"/>
                <a:gd name="connsiteY62" fmla="*/ 37365 h 574025"/>
                <a:gd name="connsiteX63" fmla="*/ 6144 w 166582"/>
                <a:gd name="connsiteY63" fmla="*/ -12 h 574025"/>
                <a:gd name="connsiteX64" fmla="*/ -220 w 166582"/>
                <a:gd name="connsiteY64" fmla="*/ 96132 h 574025"/>
                <a:gd name="connsiteX65" fmla="*/ 14611 w 166582"/>
                <a:gd name="connsiteY65" fmla="*/ 116424 h 57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66582" h="574025">
                  <a:moveTo>
                    <a:pt x="52769" y="498862"/>
                  </a:moveTo>
                  <a:cubicBezTo>
                    <a:pt x="55858" y="501360"/>
                    <a:pt x="50798" y="504623"/>
                    <a:pt x="51718" y="508493"/>
                  </a:cubicBezTo>
                  <a:cubicBezTo>
                    <a:pt x="48395" y="505740"/>
                    <a:pt x="52309" y="501312"/>
                    <a:pt x="52769" y="498862"/>
                  </a:cubicBezTo>
                  <a:close/>
                  <a:moveTo>
                    <a:pt x="53830" y="552293"/>
                  </a:moveTo>
                  <a:cubicBezTo>
                    <a:pt x="55069" y="553183"/>
                    <a:pt x="56684" y="553675"/>
                    <a:pt x="59143" y="553362"/>
                  </a:cubicBezTo>
                  <a:cubicBezTo>
                    <a:pt x="58589" y="554223"/>
                    <a:pt x="58035" y="555065"/>
                    <a:pt x="58092" y="556560"/>
                  </a:cubicBezTo>
                  <a:cubicBezTo>
                    <a:pt x="54759" y="557061"/>
                    <a:pt x="53351" y="555633"/>
                    <a:pt x="53830" y="552293"/>
                  </a:cubicBezTo>
                  <a:close/>
                  <a:moveTo>
                    <a:pt x="102605" y="512750"/>
                  </a:moveTo>
                  <a:cubicBezTo>
                    <a:pt x="100540" y="510243"/>
                    <a:pt x="105834" y="506090"/>
                    <a:pt x="108969" y="505286"/>
                  </a:cubicBezTo>
                  <a:cubicBezTo>
                    <a:pt x="107514" y="508436"/>
                    <a:pt x="104069" y="509609"/>
                    <a:pt x="102605" y="512750"/>
                  </a:cubicBezTo>
                  <a:close/>
                  <a:moveTo>
                    <a:pt x="130156" y="480708"/>
                  </a:moveTo>
                  <a:cubicBezTo>
                    <a:pt x="132099" y="484123"/>
                    <a:pt x="125162" y="487718"/>
                    <a:pt x="122740" y="490320"/>
                  </a:cubicBezTo>
                  <a:cubicBezTo>
                    <a:pt x="121538" y="491512"/>
                    <a:pt x="126964" y="482080"/>
                    <a:pt x="130156" y="480708"/>
                  </a:cubicBezTo>
                  <a:close/>
                  <a:moveTo>
                    <a:pt x="38999" y="478579"/>
                  </a:moveTo>
                  <a:cubicBezTo>
                    <a:pt x="40444" y="483735"/>
                    <a:pt x="32090" y="492713"/>
                    <a:pt x="38999" y="478579"/>
                  </a:cubicBezTo>
                  <a:close/>
                  <a:moveTo>
                    <a:pt x="14611" y="116424"/>
                  </a:moveTo>
                  <a:cubicBezTo>
                    <a:pt x="14658" y="114797"/>
                    <a:pt x="14733" y="113217"/>
                    <a:pt x="14790" y="111609"/>
                  </a:cubicBezTo>
                  <a:cubicBezTo>
                    <a:pt x="14396" y="105128"/>
                    <a:pt x="14818" y="98450"/>
                    <a:pt x="15663" y="91648"/>
                  </a:cubicBezTo>
                  <a:cubicBezTo>
                    <a:pt x="16677" y="73494"/>
                    <a:pt x="18291" y="55954"/>
                    <a:pt x="20985" y="39494"/>
                  </a:cubicBezTo>
                  <a:cubicBezTo>
                    <a:pt x="22224" y="56494"/>
                    <a:pt x="17794" y="74430"/>
                    <a:pt x="15663" y="91648"/>
                  </a:cubicBezTo>
                  <a:cubicBezTo>
                    <a:pt x="15297" y="98223"/>
                    <a:pt x="15006" y="104873"/>
                    <a:pt x="14790" y="111609"/>
                  </a:cubicBezTo>
                  <a:cubicBezTo>
                    <a:pt x="14959" y="114314"/>
                    <a:pt x="15175" y="117001"/>
                    <a:pt x="15682" y="119631"/>
                  </a:cubicBezTo>
                  <a:cubicBezTo>
                    <a:pt x="18282" y="133197"/>
                    <a:pt x="30250" y="147434"/>
                    <a:pt x="34765" y="163432"/>
                  </a:cubicBezTo>
                  <a:cubicBezTo>
                    <a:pt x="38445" y="176468"/>
                    <a:pt x="38802" y="187990"/>
                    <a:pt x="37957" y="200818"/>
                  </a:cubicBezTo>
                  <a:cubicBezTo>
                    <a:pt x="35441" y="237865"/>
                    <a:pt x="36934" y="274570"/>
                    <a:pt x="33695" y="318333"/>
                  </a:cubicBezTo>
                  <a:cubicBezTo>
                    <a:pt x="43429" y="322410"/>
                    <a:pt x="40210" y="339543"/>
                    <a:pt x="46424" y="347177"/>
                  </a:cubicBezTo>
                  <a:cubicBezTo>
                    <a:pt x="32897" y="371755"/>
                    <a:pt x="39365" y="421165"/>
                    <a:pt x="48536" y="445459"/>
                  </a:cubicBezTo>
                  <a:cubicBezTo>
                    <a:pt x="40576" y="455345"/>
                    <a:pt x="21558" y="463472"/>
                    <a:pt x="18864" y="477510"/>
                  </a:cubicBezTo>
                  <a:cubicBezTo>
                    <a:pt x="16207" y="491322"/>
                    <a:pt x="27528" y="512598"/>
                    <a:pt x="32653" y="526637"/>
                  </a:cubicBezTo>
                  <a:cubicBezTo>
                    <a:pt x="37206" y="539163"/>
                    <a:pt x="42613" y="571592"/>
                    <a:pt x="51718" y="573655"/>
                  </a:cubicBezTo>
                  <a:cubicBezTo>
                    <a:pt x="71412" y="578101"/>
                    <a:pt x="70886" y="540090"/>
                    <a:pt x="72914" y="523430"/>
                  </a:cubicBezTo>
                  <a:cubicBezTo>
                    <a:pt x="77495" y="486148"/>
                    <a:pt x="80132" y="444088"/>
                    <a:pt x="85652" y="410192"/>
                  </a:cubicBezTo>
                  <a:cubicBezTo>
                    <a:pt x="76246" y="409350"/>
                    <a:pt x="76500" y="428147"/>
                    <a:pt x="75035" y="440124"/>
                  </a:cubicBezTo>
                  <a:cubicBezTo>
                    <a:pt x="70145" y="480263"/>
                    <a:pt x="67188" y="525180"/>
                    <a:pt x="62325" y="561895"/>
                  </a:cubicBezTo>
                  <a:cubicBezTo>
                    <a:pt x="63330" y="525180"/>
                    <a:pt x="67385" y="491512"/>
                    <a:pt x="70802" y="457190"/>
                  </a:cubicBezTo>
                  <a:cubicBezTo>
                    <a:pt x="68774" y="453860"/>
                    <a:pt x="66099" y="464437"/>
                    <a:pt x="64428" y="461466"/>
                  </a:cubicBezTo>
                  <a:cubicBezTo>
                    <a:pt x="75354" y="454683"/>
                    <a:pt x="71712" y="433189"/>
                    <a:pt x="76115" y="419813"/>
                  </a:cubicBezTo>
                  <a:cubicBezTo>
                    <a:pt x="74228" y="414922"/>
                    <a:pt x="71046" y="425744"/>
                    <a:pt x="66550" y="425167"/>
                  </a:cubicBezTo>
                  <a:cubicBezTo>
                    <a:pt x="60185" y="408252"/>
                    <a:pt x="54196" y="378216"/>
                    <a:pt x="61274" y="357858"/>
                  </a:cubicBezTo>
                  <a:cubicBezTo>
                    <a:pt x="69863" y="364035"/>
                    <a:pt x="83418" y="360753"/>
                    <a:pt x="86703" y="352503"/>
                  </a:cubicBezTo>
                  <a:cubicBezTo>
                    <a:pt x="91153" y="360138"/>
                    <a:pt x="93734" y="369626"/>
                    <a:pt x="95180" y="380288"/>
                  </a:cubicBezTo>
                  <a:cubicBezTo>
                    <a:pt x="98024" y="382208"/>
                    <a:pt x="97235" y="375577"/>
                    <a:pt x="98371" y="379238"/>
                  </a:cubicBezTo>
                  <a:cubicBezTo>
                    <a:pt x="97470" y="385094"/>
                    <a:pt x="101028" y="386513"/>
                    <a:pt x="100483" y="392028"/>
                  </a:cubicBezTo>
                  <a:cubicBezTo>
                    <a:pt x="98897" y="394346"/>
                    <a:pt x="95170" y="394535"/>
                    <a:pt x="95180" y="398461"/>
                  </a:cubicBezTo>
                  <a:cubicBezTo>
                    <a:pt x="87642" y="447115"/>
                    <a:pt x="88290" y="504037"/>
                    <a:pt x="79288" y="551234"/>
                  </a:cubicBezTo>
                  <a:cubicBezTo>
                    <a:pt x="88599" y="544782"/>
                    <a:pt x="86722" y="529400"/>
                    <a:pt x="87764" y="517026"/>
                  </a:cubicBezTo>
                  <a:cubicBezTo>
                    <a:pt x="91106" y="476536"/>
                    <a:pt x="91537" y="429292"/>
                    <a:pt x="99432" y="394176"/>
                  </a:cubicBezTo>
                  <a:cubicBezTo>
                    <a:pt x="93415" y="442612"/>
                    <a:pt x="93068" y="496743"/>
                    <a:pt x="86703" y="544810"/>
                  </a:cubicBezTo>
                  <a:cubicBezTo>
                    <a:pt x="96954" y="539503"/>
                    <a:pt x="95170" y="523856"/>
                    <a:pt x="96250" y="511681"/>
                  </a:cubicBezTo>
                  <a:cubicBezTo>
                    <a:pt x="99676" y="472345"/>
                    <a:pt x="100052" y="425091"/>
                    <a:pt x="106838" y="390959"/>
                  </a:cubicBezTo>
                  <a:cubicBezTo>
                    <a:pt x="101788" y="438222"/>
                    <a:pt x="101112" y="489856"/>
                    <a:pt x="95180" y="536249"/>
                  </a:cubicBezTo>
                  <a:cubicBezTo>
                    <a:pt x="106716" y="527271"/>
                    <a:pt x="116263" y="517215"/>
                    <a:pt x="130156" y="502060"/>
                  </a:cubicBezTo>
                  <a:cubicBezTo>
                    <a:pt x="136501" y="495173"/>
                    <a:pt x="164840" y="473660"/>
                    <a:pt x="166211" y="465761"/>
                  </a:cubicBezTo>
                  <a:cubicBezTo>
                    <a:pt x="167375" y="458874"/>
                    <a:pt x="161498" y="447380"/>
                    <a:pt x="159818" y="437976"/>
                  </a:cubicBezTo>
                  <a:cubicBezTo>
                    <a:pt x="155998" y="416208"/>
                    <a:pt x="159274" y="355956"/>
                    <a:pt x="139712" y="353572"/>
                  </a:cubicBezTo>
                  <a:cubicBezTo>
                    <a:pt x="123247" y="351576"/>
                    <a:pt x="122993" y="375634"/>
                    <a:pt x="112142" y="378169"/>
                  </a:cubicBezTo>
                  <a:cubicBezTo>
                    <a:pt x="105993" y="356760"/>
                    <a:pt x="98418" y="333630"/>
                    <a:pt x="76115" y="330073"/>
                  </a:cubicBezTo>
                  <a:cubicBezTo>
                    <a:pt x="69356" y="329004"/>
                    <a:pt x="59894" y="334529"/>
                    <a:pt x="59143" y="324738"/>
                  </a:cubicBezTo>
                  <a:cubicBezTo>
                    <a:pt x="60645" y="321635"/>
                    <a:pt x="69957" y="326374"/>
                    <a:pt x="68680" y="320462"/>
                  </a:cubicBezTo>
                  <a:cubicBezTo>
                    <a:pt x="61340" y="285024"/>
                    <a:pt x="70942" y="240031"/>
                    <a:pt x="72914" y="204025"/>
                  </a:cubicBezTo>
                  <a:cubicBezTo>
                    <a:pt x="73740" y="189305"/>
                    <a:pt x="68652" y="183572"/>
                    <a:pt x="66550" y="174112"/>
                  </a:cubicBezTo>
                  <a:cubicBezTo>
                    <a:pt x="55426" y="123718"/>
                    <a:pt x="42585" y="72481"/>
                    <a:pt x="22027" y="30970"/>
                  </a:cubicBezTo>
                  <a:cubicBezTo>
                    <a:pt x="21445" y="32834"/>
                    <a:pt x="23322" y="37251"/>
                    <a:pt x="20985" y="37365"/>
                  </a:cubicBezTo>
                  <a:cubicBezTo>
                    <a:pt x="23238" y="20838"/>
                    <a:pt x="12997" y="10574"/>
                    <a:pt x="6144" y="-12"/>
                  </a:cubicBezTo>
                  <a:cubicBezTo>
                    <a:pt x="-558" y="26798"/>
                    <a:pt x="1967" y="68262"/>
                    <a:pt x="-220" y="96132"/>
                  </a:cubicBezTo>
                  <a:cubicBezTo>
                    <a:pt x="5102" y="102499"/>
                    <a:pt x="8209" y="111136"/>
                    <a:pt x="14611" y="116424"/>
                  </a:cubicBezTo>
                  <a:close/>
                </a:path>
              </a:pathLst>
            </a:custGeom>
            <a:solidFill>
              <a:schemeClr val="bg1"/>
            </a:solidFill>
            <a:ln w="9318" cap="flat">
              <a:noFill/>
              <a:prstDash val="solid"/>
              <a:round/>
            </a:ln>
          </p:spPr>
          <p:txBody>
            <a:bodyPr rtlCol="0" anchor="ctr"/>
            <a:lstStyle/>
            <a:p>
              <a:endParaRPr lang="en-LT"/>
            </a:p>
          </p:txBody>
        </p:sp>
        <p:sp>
          <p:nvSpPr>
            <p:cNvPr id="393" name="Freeform 392">
              <a:extLst>
                <a:ext uri="{FF2B5EF4-FFF2-40B4-BE49-F238E27FC236}">
                  <a16:creationId xmlns:a16="http://schemas.microsoft.com/office/drawing/2014/main" id="{1908AD3F-0B49-4944-912F-BDCC357E0C0B}"/>
                </a:ext>
              </a:extLst>
            </p:cNvPr>
            <p:cNvSpPr/>
            <p:nvPr/>
          </p:nvSpPr>
          <p:spPr>
            <a:xfrm>
              <a:off x="6616017" y="3812249"/>
              <a:ext cx="127544" cy="707345"/>
            </a:xfrm>
            <a:custGeom>
              <a:avLst/>
              <a:gdLst>
                <a:gd name="connsiteX0" fmla="*/ 841 w 46809"/>
                <a:gd name="connsiteY0" fmla="*/ 39503 h 259597"/>
                <a:gd name="connsiteX1" fmla="*/ 5084 w 46809"/>
                <a:gd name="connsiteY1" fmla="*/ 63031 h 259597"/>
                <a:gd name="connsiteX2" fmla="*/ 15672 w 46809"/>
                <a:gd name="connsiteY2" fmla="*/ 136744 h 259597"/>
                <a:gd name="connsiteX3" fmla="*/ 31564 w 46809"/>
                <a:gd name="connsiteY3" fmla="*/ 246738 h 259597"/>
                <a:gd name="connsiteX4" fmla="*/ 38989 w 46809"/>
                <a:gd name="connsiteY4" fmla="*/ 259585 h 259597"/>
                <a:gd name="connsiteX5" fmla="*/ 43232 w 46809"/>
                <a:gd name="connsiteY5" fmla="*/ 194423 h 259597"/>
                <a:gd name="connsiteX6" fmla="*/ 36877 w 46809"/>
                <a:gd name="connsiteY6" fmla="*/ -12 h 259597"/>
                <a:gd name="connsiteX7" fmla="*/ 16723 w 46809"/>
                <a:gd name="connsiteY7" fmla="*/ 14954 h 259597"/>
                <a:gd name="connsiteX8" fmla="*/ -220 w 46809"/>
                <a:gd name="connsiteY8" fmla="*/ 33098 h 259597"/>
                <a:gd name="connsiteX9" fmla="*/ 12499 w 46809"/>
                <a:gd name="connsiteY9" fmla="*/ 21349 h 259597"/>
                <a:gd name="connsiteX10" fmla="*/ 22046 w 46809"/>
                <a:gd name="connsiteY10" fmla="*/ 17082 h 259597"/>
                <a:gd name="connsiteX11" fmla="*/ 841 w 46809"/>
                <a:gd name="connsiteY11" fmla="*/ 39503 h 259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809" h="259597">
                  <a:moveTo>
                    <a:pt x="841" y="39503"/>
                  </a:moveTo>
                  <a:cubicBezTo>
                    <a:pt x="-51" y="43798"/>
                    <a:pt x="3816" y="54355"/>
                    <a:pt x="5084" y="63031"/>
                  </a:cubicBezTo>
                  <a:cubicBezTo>
                    <a:pt x="8876" y="89339"/>
                    <a:pt x="12574" y="112242"/>
                    <a:pt x="15672" y="136744"/>
                  </a:cubicBezTo>
                  <a:cubicBezTo>
                    <a:pt x="20056" y="171104"/>
                    <a:pt x="22243" y="220666"/>
                    <a:pt x="31564" y="246738"/>
                  </a:cubicBezTo>
                  <a:cubicBezTo>
                    <a:pt x="33179" y="251913"/>
                    <a:pt x="32212" y="259632"/>
                    <a:pt x="38989" y="259585"/>
                  </a:cubicBezTo>
                  <a:cubicBezTo>
                    <a:pt x="52347" y="246294"/>
                    <a:pt x="44246" y="217563"/>
                    <a:pt x="43232" y="194423"/>
                  </a:cubicBezTo>
                  <a:cubicBezTo>
                    <a:pt x="40369" y="128836"/>
                    <a:pt x="38107" y="63570"/>
                    <a:pt x="36877" y="-12"/>
                  </a:cubicBezTo>
                  <a:cubicBezTo>
                    <a:pt x="31085" y="5910"/>
                    <a:pt x="23426" y="9722"/>
                    <a:pt x="16723" y="14954"/>
                  </a:cubicBezTo>
                  <a:cubicBezTo>
                    <a:pt x="10594" y="19741"/>
                    <a:pt x="2746" y="25209"/>
                    <a:pt x="-220" y="33098"/>
                  </a:cubicBezTo>
                  <a:cubicBezTo>
                    <a:pt x="2943" y="33411"/>
                    <a:pt x="16620" y="21689"/>
                    <a:pt x="12499" y="21349"/>
                  </a:cubicBezTo>
                  <a:cubicBezTo>
                    <a:pt x="15484" y="19741"/>
                    <a:pt x="17399" y="17044"/>
                    <a:pt x="22046" y="17082"/>
                  </a:cubicBezTo>
                  <a:cubicBezTo>
                    <a:pt x="20610" y="25502"/>
                    <a:pt x="2953" y="29154"/>
                    <a:pt x="841" y="39503"/>
                  </a:cubicBezTo>
                  <a:close/>
                </a:path>
              </a:pathLst>
            </a:custGeom>
            <a:solidFill>
              <a:schemeClr val="bg1"/>
            </a:solidFill>
            <a:ln w="9318" cap="flat">
              <a:noFill/>
              <a:prstDash val="solid"/>
              <a:round/>
            </a:ln>
          </p:spPr>
          <p:txBody>
            <a:bodyPr rtlCol="0" anchor="ctr"/>
            <a:lstStyle/>
            <a:p>
              <a:endParaRPr lang="en-LT"/>
            </a:p>
          </p:txBody>
        </p:sp>
        <p:sp>
          <p:nvSpPr>
            <p:cNvPr id="394" name="Freeform 393">
              <a:extLst>
                <a:ext uri="{FF2B5EF4-FFF2-40B4-BE49-F238E27FC236}">
                  <a16:creationId xmlns:a16="http://schemas.microsoft.com/office/drawing/2014/main" id="{C5A56C91-8032-8E41-8DDB-E9861C2752EB}"/>
                </a:ext>
              </a:extLst>
            </p:cNvPr>
            <p:cNvSpPr/>
            <p:nvPr/>
          </p:nvSpPr>
          <p:spPr>
            <a:xfrm>
              <a:off x="6136180" y="2432509"/>
              <a:ext cx="664765" cy="1461271"/>
            </a:xfrm>
            <a:custGeom>
              <a:avLst/>
              <a:gdLst>
                <a:gd name="connsiteX0" fmla="*/ 55033 w 243970"/>
                <a:gd name="connsiteY0" fmla="*/ 116443 h 536289"/>
                <a:gd name="connsiteX1" fmla="*/ 57155 w 243970"/>
                <a:gd name="connsiteY1" fmla="*/ 119631 h 536289"/>
                <a:gd name="connsiteX2" fmla="*/ 77308 w 243970"/>
                <a:gd name="connsiteY2" fmla="*/ 92925 h 536289"/>
                <a:gd name="connsiteX3" fmla="*/ 78360 w 243970"/>
                <a:gd name="connsiteY3" fmla="*/ 101467 h 536289"/>
                <a:gd name="connsiteX4" fmla="*/ 78360 w 243970"/>
                <a:gd name="connsiteY4" fmla="*/ 88658 h 536289"/>
                <a:gd name="connsiteX5" fmla="*/ 95331 w 243970"/>
                <a:gd name="connsiteY5" fmla="*/ 176269 h 536289"/>
                <a:gd name="connsiteX6" fmla="*/ 101677 w 243970"/>
                <a:gd name="connsiteY6" fmla="*/ 227543 h 536289"/>
                <a:gd name="connsiteX7" fmla="*/ 81533 w 243970"/>
                <a:gd name="connsiteY7" fmla="*/ 276680 h 536289"/>
                <a:gd name="connsiteX8" fmla="*/ 30655 w 243970"/>
                <a:gd name="connsiteY8" fmla="*/ 189078 h 536289"/>
                <a:gd name="connsiteX9" fmla="*/ 55033 w 243970"/>
                <a:gd name="connsiteY9" fmla="*/ 116443 h 536289"/>
                <a:gd name="connsiteX10" fmla="*/ 99565 w 243970"/>
                <a:gd name="connsiteY10" fmla="*/ 312998 h 536289"/>
                <a:gd name="connsiteX11" fmla="*/ 101677 w 243970"/>
                <a:gd name="connsiteY11" fmla="*/ 286301 h 536289"/>
                <a:gd name="connsiteX12" fmla="*/ 99565 w 243970"/>
                <a:gd name="connsiteY12" fmla="*/ 312998 h 536289"/>
                <a:gd name="connsiteX13" fmla="*/ 118639 w 243970"/>
                <a:gd name="connsiteY13" fmla="*/ 255309 h 536289"/>
                <a:gd name="connsiteX14" fmla="*/ 134522 w 243970"/>
                <a:gd name="connsiteY14" fmla="*/ 258516 h 536289"/>
                <a:gd name="connsiteX15" fmla="*/ 134522 w 243970"/>
                <a:gd name="connsiteY15" fmla="*/ 254250 h 536289"/>
                <a:gd name="connsiteX16" fmla="*/ 112284 w 243970"/>
                <a:gd name="connsiteY16" fmla="*/ 251043 h 536289"/>
                <a:gd name="connsiteX17" fmla="*/ 112284 w 243970"/>
                <a:gd name="connsiteY17" fmla="*/ 249974 h 536289"/>
                <a:gd name="connsiteX18" fmla="*/ 184357 w 243970"/>
                <a:gd name="connsiteY18" fmla="*/ 251043 h 536289"/>
                <a:gd name="connsiteX19" fmla="*/ 121812 w 243970"/>
                <a:gd name="connsiteY19" fmla="*/ 260654 h 536289"/>
                <a:gd name="connsiteX20" fmla="*/ 120751 w 243970"/>
                <a:gd name="connsiteY20" fmla="*/ 265990 h 536289"/>
                <a:gd name="connsiteX21" fmla="*/ 115457 w 243970"/>
                <a:gd name="connsiteY21" fmla="*/ 260654 h 536289"/>
                <a:gd name="connsiteX22" fmla="*/ 103799 w 243970"/>
                <a:gd name="connsiteY22" fmla="*/ 256378 h 536289"/>
                <a:gd name="connsiteX23" fmla="*/ 118639 w 243970"/>
                <a:gd name="connsiteY23" fmla="*/ 255309 h 536289"/>
                <a:gd name="connsiteX24" fmla="*/ 152564 w 243970"/>
                <a:gd name="connsiteY24" fmla="*/ 205094 h 536289"/>
                <a:gd name="connsiteX25" fmla="*/ 151494 w 243970"/>
                <a:gd name="connsiteY25" fmla="*/ 190147 h 536289"/>
                <a:gd name="connsiteX26" fmla="*/ 152564 w 243970"/>
                <a:gd name="connsiteY26" fmla="*/ 205094 h 536289"/>
                <a:gd name="connsiteX27" fmla="*/ 152564 w 243970"/>
                <a:gd name="connsiteY27" fmla="*/ 173034 h 536289"/>
                <a:gd name="connsiteX28" fmla="*/ 144078 w 243970"/>
                <a:gd name="connsiteY28" fmla="*/ 171974 h 536289"/>
                <a:gd name="connsiteX29" fmla="*/ 152564 w 243970"/>
                <a:gd name="connsiteY29" fmla="*/ 173034 h 536289"/>
                <a:gd name="connsiteX30" fmla="*/ 150442 w 243970"/>
                <a:gd name="connsiteY30" fmla="*/ 127114 h 536289"/>
                <a:gd name="connsiteX31" fmla="*/ 150442 w 243970"/>
                <a:gd name="connsiteY31" fmla="*/ 142089 h 536289"/>
                <a:gd name="connsiteX32" fmla="*/ 143027 w 243970"/>
                <a:gd name="connsiteY32" fmla="*/ 141011 h 536289"/>
                <a:gd name="connsiteX33" fmla="*/ 150442 w 243970"/>
                <a:gd name="connsiteY33" fmla="*/ 127114 h 536289"/>
                <a:gd name="connsiteX34" fmla="*/ 181184 w 243970"/>
                <a:gd name="connsiteY34" fmla="*/ 75849 h 536289"/>
                <a:gd name="connsiteX35" fmla="*/ 175881 w 243970"/>
                <a:gd name="connsiteY35" fmla="*/ 148485 h 536289"/>
                <a:gd name="connsiteX36" fmla="*/ 174811 w 243970"/>
                <a:gd name="connsiteY36" fmla="*/ 147416 h 536289"/>
                <a:gd name="connsiteX37" fmla="*/ 181184 w 243970"/>
                <a:gd name="connsiteY37" fmla="*/ 75849 h 536289"/>
                <a:gd name="connsiteX38" fmla="*/ 192824 w 243970"/>
                <a:gd name="connsiteY38" fmla="*/ 56607 h 536289"/>
                <a:gd name="connsiteX39" fmla="*/ 192824 w 243970"/>
                <a:gd name="connsiteY39" fmla="*/ 66219 h 536289"/>
                <a:gd name="connsiteX40" fmla="*/ 192824 w 243970"/>
                <a:gd name="connsiteY40" fmla="*/ 56607 h 536289"/>
                <a:gd name="connsiteX41" fmla="*/ 199208 w 243970"/>
                <a:gd name="connsiteY41" fmla="*/ 123907 h 536289"/>
                <a:gd name="connsiteX42" fmla="*/ 201320 w 243970"/>
                <a:gd name="connsiteY42" fmla="*/ 118571 h 536289"/>
                <a:gd name="connsiteX43" fmla="*/ 199208 w 243970"/>
                <a:gd name="connsiteY43" fmla="*/ 123907 h 536289"/>
                <a:gd name="connsiteX44" fmla="*/ 209787 w 243970"/>
                <a:gd name="connsiteY44" fmla="*/ 258516 h 536289"/>
                <a:gd name="connsiteX45" fmla="*/ 90028 w 243970"/>
                <a:gd name="connsiteY45" fmla="*/ 363212 h 536289"/>
                <a:gd name="connsiteX46" fmla="*/ 209787 w 243970"/>
                <a:gd name="connsiteY46" fmla="*/ 258516 h 536289"/>
                <a:gd name="connsiteX47" fmla="*/ 211917 w 243970"/>
                <a:gd name="connsiteY47" fmla="*/ 14954 h 536289"/>
                <a:gd name="connsiteX48" fmla="*/ 209787 w 243970"/>
                <a:gd name="connsiteY48" fmla="*/ 36305 h 536289"/>
                <a:gd name="connsiteX49" fmla="*/ 211917 w 243970"/>
                <a:gd name="connsiteY49" fmla="*/ 14954 h 536289"/>
                <a:gd name="connsiteX50" fmla="*/ 222515 w 243970"/>
                <a:gd name="connsiteY50" fmla="*/ 413418 h 536289"/>
                <a:gd name="connsiteX51" fmla="*/ 221455 w 243970"/>
                <a:gd name="connsiteY51" fmla="*/ 387780 h 536289"/>
                <a:gd name="connsiteX52" fmla="*/ 222515 w 243970"/>
                <a:gd name="connsiteY52" fmla="*/ 413418 h 536289"/>
                <a:gd name="connsiteX53" fmla="*/ 198147 w 243970"/>
                <a:gd name="connsiteY53" fmla="*/ 333299 h 536289"/>
                <a:gd name="connsiteX54" fmla="*/ 204502 w 243970"/>
                <a:gd name="connsiteY54" fmla="*/ 364281 h 536289"/>
                <a:gd name="connsiteX55" fmla="*/ 198147 w 243970"/>
                <a:gd name="connsiteY55" fmla="*/ 333299 h 536289"/>
                <a:gd name="connsiteX56" fmla="*/ 157849 w 243970"/>
                <a:gd name="connsiteY56" fmla="*/ 443321 h 536289"/>
                <a:gd name="connsiteX57" fmla="*/ 137714 w 243970"/>
                <a:gd name="connsiteY57" fmla="*/ 443321 h 536289"/>
                <a:gd name="connsiteX58" fmla="*/ 153624 w 243970"/>
                <a:gd name="connsiteY58" fmla="*/ 442262 h 536289"/>
                <a:gd name="connsiteX59" fmla="*/ 157849 w 243970"/>
                <a:gd name="connsiteY59" fmla="*/ 443321 h 536289"/>
                <a:gd name="connsiteX60" fmla="*/ 136662 w 243970"/>
                <a:gd name="connsiteY60" fmla="*/ 408063 h 536289"/>
                <a:gd name="connsiteX61" fmla="*/ 137714 w 243970"/>
                <a:gd name="connsiteY61" fmla="*/ 418763 h 536289"/>
                <a:gd name="connsiteX62" fmla="*/ 136662 w 243970"/>
                <a:gd name="connsiteY62" fmla="*/ 408063 h 536289"/>
                <a:gd name="connsiteX63" fmla="*/ 152564 w 243970"/>
                <a:gd name="connsiteY63" fmla="*/ 409132 h 536289"/>
                <a:gd name="connsiteX64" fmla="*/ 154685 w 243970"/>
                <a:gd name="connsiteY64" fmla="*/ 419813 h 536289"/>
                <a:gd name="connsiteX65" fmla="*/ 152564 w 243970"/>
                <a:gd name="connsiteY65" fmla="*/ 409132 h 536289"/>
                <a:gd name="connsiteX66" fmla="*/ 50800 w 243970"/>
                <a:gd name="connsiteY66" fmla="*/ 283094 h 536289"/>
                <a:gd name="connsiteX67" fmla="*/ 65641 w 243970"/>
                <a:gd name="connsiteY67" fmla="*/ 312998 h 536289"/>
                <a:gd name="connsiteX68" fmla="*/ 40183 w 243970"/>
                <a:gd name="connsiteY68" fmla="*/ 338616 h 536289"/>
                <a:gd name="connsiteX69" fmla="*/ 69874 w 243970"/>
                <a:gd name="connsiteY69" fmla="*/ 358927 h 536289"/>
                <a:gd name="connsiteX70" fmla="*/ 69874 w 243970"/>
                <a:gd name="connsiteY70" fmla="*/ 373893 h 536289"/>
                <a:gd name="connsiteX71" fmla="*/ 90206 w 243970"/>
                <a:gd name="connsiteY71" fmla="*/ 354821 h 536289"/>
                <a:gd name="connsiteX72" fmla="*/ 99790 w 243970"/>
                <a:gd name="connsiteY72" fmla="*/ 344916 h 536289"/>
                <a:gd name="connsiteX73" fmla="*/ 118639 w 243970"/>
                <a:gd name="connsiteY73" fmla="*/ 327954 h 536289"/>
                <a:gd name="connsiteX74" fmla="*/ 99790 w 243970"/>
                <a:gd name="connsiteY74" fmla="*/ 344916 h 536289"/>
                <a:gd name="connsiteX75" fmla="*/ 90206 w 243970"/>
                <a:gd name="connsiteY75" fmla="*/ 354821 h 536289"/>
                <a:gd name="connsiteX76" fmla="*/ 87906 w 243970"/>
                <a:gd name="connsiteY76" fmla="*/ 360005 h 536289"/>
                <a:gd name="connsiteX77" fmla="*/ 85776 w 243970"/>
                <a:gd name="connsiteY77" fmla="*/ 379219 h 536289"/>
                <a:gd name="connsiteX78" fmla="*/ 86836 w 243970"/>
                <a:gd name="connsiteY78" fmla="*/ 361065 h 536289"/>
                <a:gd name="connsiteX79" fmla="*/ 71995 w 243970"/>
                <a:gd name="connsiteY79" fmla="*/ 397383 h 536289"/>
                <a:gd name="connsiteX80" fmla="*/ 214030 w 243970"/>
                <a:gd name="connsiteY80" fmla="*/ 269197 h 536289"/>
                <a:gd name="connsiteX81" fmla="*/ 87906 w 243970"/>
                <a:gd name="connsiteY81" fmla="*/ 384564 h 536289"/>
                <a:gd name="connsiteX82" fmla="*/ 73056 w 243970"/>
                <a:gd name="connsiteY82" fmla="*/ 404866 h 536289"/>
                <a:gd name="connsiteX83" fmla="*/ 218282 w 243970"/>
                <a:gd name="connsiteY83" fmla="*/ 280965 h 536289"/>
                <a:gd name="connsiteX84" fmla="*/ 91079 w 243970"/>
                <a:gd name="connsiteY84" fmla="*/ 392047 h 536289"/>
                <a:gd name="connsiteX85" fmla="*/ 75178 w 243970"/>
                <a:gd name="connsiteY85" fmla="*/ 420910 h 536289"/>
                <a:gd name="connsiteX86" fmla="*/ 225688 w 243970"/>
                <a:gd name="connsiteY86" fmla="*/ 289498 h 536289"/>
                <a:gd name="connsiteX87" fmla="*/ 147260 w 243970"/>
                <a:gd name="connsiteY87" fmla="*/ 356808 h 536289"/>
                <a:gd name="connsiteX88" fmla="*/ 144078 w 243970"/>
                <a:gd name="connsiteY88" fmla="*/ 355748 h 536289"/>
                <a:gd name="connsiteX89" fmla="*/ 76248 w 243970"/>
                <a:gd name="connsiteY89" fmla="*/ 426227 h 536289"/>
                <a:gd name="connsiteX90" fmla="*/ 79411 w 243970"/>
                <a:gd name="connsiteY90" fmla="*/ 454011 h 536289"/>
                <a:gd name="connsiteX91" fmla="*/ 92149 w 243970"/>
                <a:gd name="connsiteY91" fmla="*/ 459366 h 536289"/>
                <a:gd name="connsiteX92" fmla="*/ 104850 w 243970"/>
                <a:gd name="connsiteY92" fmla="*/ 536277 h 536289"/>
                <a:gd name="connsiteX93" fmla="*/ 145129 w 243970"/>
                <a:gd name="connsiteY93" fmla="*/ 499950 h 536289"/>
                <a:gd name="connsiteX94" fmla="*/ 144078 w 243970"/>
                <a:gd name="connsiteY94" fmla="*/ 460425 h 536289"/>
                <a:gd name="connsiteX95" fmla="*/ 166334 w 243970"/>
                <a:gd name="connsiteY95" fmla="*/ 461494 h 536289"/>
                <a:gd name="connsiteX96" fmla="*/ 169526 w 243970"/>
                <a:gd name="connsiteY96" fmla="*/ 486072 h 536289"/>
                <a:gd name="connsiteX97" fmla="*/ 209787 w 243970"/>
                <a:gd name="connsiteY97" fmla="*/ 457218 h 536289"/>
                <a:gd name="connsiteX98" fmla="*/ 188600 w 243970"/>
                <a:gd name="connsiteY98" fmla="*/ 473225 h 536289"/>
                <a:gd name="connsiteX99" fmla="*/ 171629 w 243970"/>
                <a:gd name="connsiteY99" fmla="*/ 505286 h 536289"/>
                <a:gd name="connsiteX100" fmla="*/ 214030 w 243970"/>
                <a:gd name="connsiteY100" fmla="*/ 472156 h 536289"/>
                <a:gd name="connsiteX101" fmla="*/ 212978 w 243970"/>
                <a:gd name="connsiteY101" fmla="*/ 456159 h 536289"/>
                <a:gd name="connsiteX102" fmla="*/ 236286 w 243970"/>
                <a:gd name="connsiteY102" fmla="*/ 451873 h 536289"/>
                <a:gd name="connsiteX103" fmla="*/ 242660 w 243970"/>
                <a:gd name="connsiteY103" fmla="*/ 390987 h 536289"/>
                <a:gd name="connsiteX104" fmla="*/ 242660 w 243970"/>
                <a:gd name="connsiteY104" fmla="*/ 340773 h 536289"/>
                <a:gd name="connsiteX105" fmla="*/ 237356 w 243970"/>
                <a:gd name="connsiteY105" fmla="*/ 319412 h 536289"/>
                <a:gd name="connsiteX106" fmla="*/ 226758 w 243970"/>
                <a:gd name="connsiteY106" fmla="*/ 265990 h 536289"/>
                <a:gd name="connsiteX107" fmla="*/ 208726 w 243970"/>
                <a:gd name="connsiteY107" fmla="*/ 218991 h 536289"/>
                <a:gd name="connsiteX108" fmla="*/ 211917 w 243970"/>
                <a:gd name="connsiteY108" fmla="*/ 95063 h 536289"/>
                <a:gd name="connsiteX109" fmla="*/ 222515 w 243970"/>
                <a:gd name="connsiteY109" fmla="*/ 110029 h 536289"/>
                <a:gd name="connsiteX110" fmla="*/ 228880 w 243970"/>
                <a:gd name="connsiteY110" fmla="*/ 13875 h 536289"/>
                <a:gd name="connsiteX111" fmla="*/ 206614 w 243970"/>
                <a:gd name="connsiteY111" fmla="*/ -12 h 536289"/>
                <a:gd name="connsiteX112" fmla="*/ 167386 w 243970"/>
                <a:gd name="connsiteY112" fmla="*/ 3214 h 536289"/>
                <a:gd name="connsiteX113" fmla="*/ 159979 w 243970"/>
                <a:gd name="connsiteY113" fmla="*/ 105762 h 536289"/>
                <a:gd name="connsiteX114" fmla="*/ 147260 w 243970"/>
                <a:gd name="connsiteY114" fmla="*/ 47005 h 536289"/>
                <a:gd name="connsiteX115" fmla="*/ 140896 w 243970"/>
                <a:gd name="connsiteY115" fmla="*/ 28832 h 536289"/>
                <a:gd name="connsiteX116" fmla="*/ 141947 w 243970"/>
                <a:gd name="connsiteY116" fmla="*/ 102536 h 536289"/>
                <a:gd name="connsiteX117" fmla="*/ 114406 w 243970"/>
                <a:gd name="connsiteY117" fmla="*/ 7471 h 536289"/>
                <a:gd name="connsiteX118" fmla="*/ 64570 w 243970"/>
                <a:gd name="connsiteY118" fmla="*/ 9609 h 536289"/>
                <a:gd name="connsiteX119" fmla="*/ 75178 w 243970"/>
                <a:gd name="connsiteY119" fmla="*/ 72642 h 536289"/>
                <a:gd name="connsiteX120" fmla="*/ 63519 w 243970"/>
                <a:gd name="connsiteY120" fmla="*/ 21358 h 536289"/>
                <a:gd name="connsiteX121" fmla="*/ 67752 w 243970"/>
                <a:gd name="connsiteY121" fmla="*/ 82254 h 536289"/>
                <a:gd name="connsiteX122" fmla="*/ 60337 w 243970"/>
                <a:gd name="connsiteY122" fmla="*/ 16023 h 536289"/>
                <a:gd name="connsiteX123" fmla="*/ 55033 w 243970"/>
                <a:gd name="connsiteY123" fmla="*/ 102536 h 536289"/>
                <a:gd name="connsiteX124" fmla="*/ 50800 w 243970"/>
                <a:gd name="connsiteY124" fmla="*/ 33098 h 536289"/>
                <a:gd name="connsiteX125" fmla="*/ 48669 w 243970"/>
                <a:gd name="connsiteY125" fmla="*/ 111098 h 536289"/>
                <a:gd name="connsiteX126" fmla="*/ 42314 w 243970"/>
                <a:gd name="connsiteY126" fmla="*/ 55529 h 536289"/>
                <a:gd name="connsiteX127" fmla="*/ -96 w 243970"/>
                <a:gd name="connsiteY127" fmla="*/ 185890 h 536289"/>
                <a:gd name="connsiteX128" fmla="*/ 14763 w 243970"/>
                <a:gd name="connsiteY128" fmla="*/ 229672 h 536289"/>
                <a:gd name="connsiteX129" fmla="*/ 50800 w 243970"/>
                <a:gd name="connsiteY129" fmla="*/ 283094 h 53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43970" h="536289">
                  <a:moveTo>
                    <a:pt x="55033" y="116443"/>
                  </a:moveTo>
                  <a:cubicBezTo>
                    <a:pt x="57295" y="115941"/>
                    <a:pt x="57051" y="117975"/>
                    <a:pt x="57155" y="119631"/>
                  </a:cubicBezTo>
                  <a:cubicBezTo>
                    <a:pt x="63266" y="110114"/>
                    <a:pt x="67818" y="99027"/>
                    <a:pt x="77308" y="92925"/>
                  </a:cubicBezTo>
                  <a:cubicBezTo>
                    <a:pt x="76492" y="96945"/>
                    <a:pt x="78585" y="98043"/>
                    <a:pt x="78360" y="101467"/>
                  </a:cubicBezTo>
                  <a:cubicBezTo>
                    <a:pt x="81044" y="98696"/>
                    <a:pt x="76877" y="93757"/>
                    <a:pt x="78360" y="88658"/>
                  </a:cubicBezTo>
                  <a:cubicBezTo>
                    <a:pt x="82011" y="119849"/>
                    <a:pt x="89530" y="147463"/>
                    <a:pt x="95331" y="176269"/>
                  </a:cubicBezTo>
                  <a:cubicBezTo>
                    <a:pt x="98636" y="192796"/>
                    <a:pt x="103423" y="212369"/>
                    <a:pt x="101677" y="227543"/>
                  </a:cubicBezTo>
                  <a:cubicBezTo>
                    <a:pt x="99565" y="245906"/>
                    <a:pt x="81420" y="256142"/>
                    <a:pt x="81533" y="276680"/>
                  </a:cubicBezTo>
                  <a:cubicBezTo>
                    <a:pt x="65781" y="246265"/>
                    <a:pt x="47073" y="218812"/>
                    <a:pt x="30655" y="189078"/>
                  </a:cubicBezTo>
                  <a:cubicBezTo>
                    <a:pt x="33500" y="159544"/>
                    <a:pt x="53963" y="147737"/>
                    <a:pt x="55033" y="116443"/>
                  </a:cubicBezTo>
                  <a:close/>
                  <a:moveTo>
                    <a:pt x="99565" y="312998"/>
                  </a:moveTo>
                  <a:cubicBezTo>
                    <a:pt x="96589" y="304635"/>
                    <a:pt x="101179" y="294692"/>
                    <a:pt x="101677" y="286301"/>
                  </a:cubicBezTo>
                  <a:cubicBezTo>
                    <a:pt x="103855" y="293841"/>
                    <a:pt x="99640" y="304152"/>
                    <a:pt x="99565" y="312998"/>
                  </a:cubicBezTo>
                  <a:close/>
                  <a:moveTo>
                    <a:pt x="118639" y="255309"/>
                  </a:moveTo>
                  <a:cubicBezTo>
                    <a:pt x="119296" y="261052"/>
                    <a:pt x="129115" y="257570"/>
                    <a:pt x="134522" y="258516"/>
                  </a:cubicBezTo>
                  <a:lnTo>
                    <a:pt x="134522" y="254250"/>
                  </a:lnTo>
                  <a:cubicBezTo>
                    <a:pt x="128449" y="251837"/>
                    <a:pt x="119963" y="251837"/>
                    <a:pt x="112284" y="251043"/>
                  </a:cubicBezTo>
                  <a:cubicBezTo>
                    <a:pt x="110191" y="250059"/>
                    <a:pt x="110191" y="247457"/>
                    <a:pt x="112284" y="249974"/>
                  </a:cubicBezTo>
                  <a:cubicBezTo>
                    <a:pt x="134672" y="252490"/>
                    <a:pt x="167442" y="256482"/>
                    <a:pt x="184357" y="251043"/>
                  </a:cubicBezTo>
                  <a:cubicBezTo>
                    <a:pt x="167010" y="257769"/>
                    <a:pt x="146509" y="261326"/>
                    <a:pt x="121812" y="260654"/>
                  </a:cubicBezTo>
                  <a:cubicBezTo>
                    <a:pt x="117963" y="261326"/>
                    <a:pt x="124281" y="265649"/>
                    <a:pt x="120751" y="265990"/>
                  </a:cubicBezTo>
                  <a:cubicBezTo>
                    <a:pt x="115429" y="267797"/>
                    <a:pt x="117043" y="262603"/>
                    <a:pt x="115457" y="260654"/>
                  </a:cubicBezTo>
                  <a:cubicBezTo>
                    <a:pt x="110623" y="260172"/>
                    <a:pt x="107581" y="257911"/>
                    <a:pt x="103799" y="256378"/>
                  </a:cubicBezTo>
                  <a:cubicBezTo>
                    <a:pt x="108576" y="253871"/>
                    <a:pt x="114809" y="261988"/>
                    <a:pt x="118639" y="255309"/>
                  </a:cubicBezTo>
                  <a:close/>
                  <a:moveTo>
                    <a:pt x="152564" y="205094"/>
                  </a:moveTo>
                  <a:cubicBezTo>
                    <a:pt x="142276" y="208273"/>
                    <a:pt x="140079" y="187565"/>
                    <a:pt x="151494" y="190147"/>
                  </a:cubicBezTo>
                  <a:cubicBezTo>
                    <a:pt x="154779" y="192465"/>
                    <a:pt x="156403" y="201963"/>
                    <a:pt x="152564" y="205094"/>
                  </a:cubicBezTo>
                  <a:close/>
                  <a:moveTo>
                    <a:pt x="152564" y="173034"/>
                  </a:moveTo>
                  <a:cubicBezTo>
                    <a:pt x="148912" y="173526"/>
                    <a:pt x="146622" y="172636"/>
                    <a:pt x="144078" y="171974"/>
                  </a:cubicBezTo>
                  <a:cubicBezTo>
                    <a:pt x="132166" y="147936"/>
                    <a:pt x="162899" y="151701"/>
                    <a:pt x="152564" y="173034"/>
                  </a:cubicBezTo>
                  <a:close/>
                  <a:moveTo>
                    <a:pt x="150442" y="127114"/>
                  </a:moveTo>
                  <a:cubicBezTo>
                    <a:pt x="153071" y="129867"/>
                    <a:pt x="153840" y="139526"/>
                    <a:pt x="150442" y="142089"/>
                  </a:cubicBezTo>
                  <a:cubicBezTo>
                    <a:pt x="146997" y="142695"/>
                    <a:pt x="145514" y="141352"/>
                    <a:pt x="143027" y="141011"/>
                  </a:cubicBezTo>
                  <a:cubicBezTo>
                    <a:pt x="140248" y="134796"/>
                    <a:pt x="141534" y="121561"/>
                    <a:pt x="150442" y="127114"/>
                  </a:cubicBezTo>
                  <a:close/>
                  <a:moveTo>
                    <a:pt x="181184" y="75849"/>
                  </a:moveTo>
                  <a:cubicBezTo>
                    <a:pt x="180706" y="97078"/>
                    <a:pt x="174876" y="122176"/>
                    <a:pt x="175881" y="148485"/>
                  </a:cubicBezTo>
                  <a:cubicBezTo>
                    <a:pt x="176388" y="153508"/>
                    <a:pt x="173966" y="151067"/>
                    <a:pt x="174811" y="147416"/>
                  </a:cubicBezTo>
                  <a:cubicBezTo>
                    <a:pt x="174830" y="121419"/>
                    <a:pt x="173356" y="93965"/>
                    <a:pt x="181184" y="75849"/>
                  </a:cubicBezTo>
                  <a:close/>
                  <a:moveTo>
                    <a:pt x="192824" y="56607"/>
                  </a:moveTo>
                  <a:cubicBezTo>
                    <a:pt x="195462" y="58300"/>
                    <a:pt x="193266" y="64081"/>
                    <a:pt x="192824" y="66219"/>
                  </a:cubicBezTo>
                  <a:cubicBezTo>
                    <a:pt x="191125" y="63286"/>
                    <a:pt x="190018" y="58537"/>
                    <a:pt x="192824" y="56607"/>
                  </a:cubicBezTo>
                  <a:close/>
                  <a:moveTo>
                    <a:pt x="199208" y="123907"/>
                  </a:moveTo>
                  <a:cubicBezTo>
                    <a:pt x="200756" y="123008"/>
                    <a:pt x="200728" y="120473"/>
                    <a:pt x="201320" y="118571"/>
                  </a:cubicBezTo>
                  <a:cubicBezTo>
                    <a:pt x="203385" y="118552"/>
                    <a:pt x="197959" y="144540"/>
                    <a:pt x="199208" y="123907"/>
                  </a:cubicBezTo>
                  <a:close/>
                  <a:moveTo>
                    <a:pt x="209787" y="258516"/>
                  </a:moveTo>
                  <a:cubicBezTo>
                    <a:pt x="171713" y="290993"/>
                    <a:pt x="126158" y="325192"/>
                    <a:pt x="90028" y="363212"/>
                  </a:cubicBezTo>
                  <a:cubicBezTo>
                    <a:pt x="122798" y="325381"/>
                    <a:pt x="167789" y="290605"/>
                    <a:pt x="209787" y="258516"/>
                  </a:cubicBezTo>
                  <a:close/>
                  <a:moveTo>
                    <a:pt x="211917" y="14954"/>
                  </a:moveTo>
                  <a:cubicBezTo>
                    <a:pt x="216480" y="19135"/>
                    <a:pt x="212293" y="30128"/>
                    <a:pt x="209787" y="36305"/>
                  </a:cubicBezTo>
                  <a:cubicBezTo>
                    <a:pt x="207139" y="30062"/>
                    <a:pt x="212077" y="22248"/>
                    <a:pt x="211917" y="14954"/>
                  </a:cubicBezTo>
                  <a:close/>
                  <a:moveTo>
                    <a:pt x="222515" y="413418"/>
                  </a:moveTo>
                  <a:cubicBezTo>
                    <a:pt x="223332" y="403664"/>
                    <a:pt x="221060" y="397089"/>
                    <a:pt x="221455" y="387780"/>
                  </a:cubicBezTo>
                  <a:cubicBezTo>
                    <a:pt x="222600" y="394261"/>
                    <a:pt x="227631" y="407675"/>
                    <a:pt x="222515" y="413418"/>
                  </a:cubicBezTo>
                  <a:close/>
                  <a:moveTo>
                    <a:pt x="198147" y="333299"/>
                  </a:moveTo>
                  <a:cubicBezTo>
                    <a:pt x="201930" y="341927"/>
                    <a:pt x="202624" y="353705"/>
                    <a:pt x="204502" y="364281"/>
                  </a:cubicBezTo>
                  <a:cubicBezTo>
                    <a:pt x="201733" y="358870"/>
                    <a:pt x="199151" y="344027"/>
                    <a:pt x="198147" y="333299"/>
                  </a:cubicBezTo>
                  <a:close/>
                  <a:moveTo>
                    <a:pt x="157849" y="443321"/>
                  </a:moveTo>
                  <a:lnTo>
                    <a:pt x="137714" y="443321"/>
                  </a:lnTo>
                  <a:cubicBezTo>
                    <a:pt x="139460" y="436179"/>
                    <a:pt x="149494" y="439906"/>
                    <a:pt x="153624" y="442262"/>
                  </a:cubicBezTo>
                  <a:cubicBezTo>
                    <a:pt x="160909" y="441439"/>
                    <a:pt x="170418" y="443586"/>
                    <a:pt x="157849" y="443321"/>
                  </a:cubicBezTo>
                  <a:close/>
                  <a:moveTo>
                    <a:pt x="136662" y="408063"/>
                  </a:moveTo>
                  <a:cubicBezTo>
                    <a:pt x="137695" y="410305"/>
                    <a:pt x="139384" y="417334"/>
                    <a:pt x="137714" y="418763"/>
                  </a:cubicBezTo>
                  <a:cubicBezTo>
                    <a:pt x="132541" y="417921"/>
                    <a:pt x="137638" y="411544"/>
                    <a:pt x="136662" y="408063"/>
                  </a:cubicBezTo>
                  <a:close/>
                  <a:moveTo>
                    <a:pt x="152564" y="409132"/>
                  </a:moveTo>
                  <a:cubicBezTo>
                    <a:pt x="154159" y="411790"/>
                    <a:pt x="154601" y="415631"/>
                    <a:pt x="154685" y="419813"/>
                  </a:cubicBezTo>
                  <a:cubicBezTo>
                    <a:pt x="150987" y="419283"/>
                    <a:pt x="153118" y="412831"/>
                    <a:pt x="152564" y="409132"/>
                  </a:cubicBezTo>
                  <a:close/>
                  <a:moveTo>
                    <a:pt x="50800" y="283094"/>
                  </a:moveTo>
                  <a:cubicBezTo>
                    <a:pt x="56188" y="291211"/>
                    <a:pt x="66786" y="304029"/>
                    <a:pt x="65641" y="312998"/>
                  </a:cubicBezTo>
                  <a:cubicBezTo>
                    <a:pt x="64148" y="324709"/>
                    <a:pt x="41685" y="328039"/>
                    <a:pt x="40183" y="338616"/>
                  </a:cubicBezTo>
                  <a:cubicBezTo>
                    <a:pt x="38005" y="354405"/>
                    <a:pt x="54667" y="358643"/>
                    <a:pt x="69874" y="358927"/>
                  </a:cubicBezTo>
                  <a:lnTo>
                    <a:pt x="69874" y="373893"/>
                  </a:lnTo>
                  <a:cubicBezTo>
                    <a:pt x="76877" y="368368"/>
                    <a:pt x="83607" y="361632"/>
                    <a:pt x="90206" y="354821"/>
                  </a:cubicBezTo>
                  <a:cubicBezTo>
                    <a:pt x="92525" y="351046"/>
                    <a:pt x="96017" y="347887"/>
                    <a:pt x="99790" y="344916"/>
                  </a:cubicBezTo>
                  <a:cubicBezTo>
                    <a:pt x="106108" y="338474"/>
                    <a:pt x="112359" y="332457"/>
                    <a:pt x="118639" y="327954"/>
                  </a:cubicBezTo>
                  <a:cubicBezTo>
                    <a:pt x="114988" y="334520"/>
                    <a:pt x="106877" y="339363"/>
                    <a:pt x="99790" y="344916"/>
                  </a:cubicBezTo>
                  <a:cubicBezTo>
                    <a:pt x="96617" y="348161"/>
                    <a:pt x="93426" y="351491"/>
                    <a:pt x="90206" y="354821"/>
                  </a:cubicBezTo>
                  <a:cubicBezTo>
                    <a:pt x="89202" y="356429"/>
                    <a:pt x="88404" y="358142"/>
                    <a:pt x="87906" y="360005"/>
                  </a:cubicBezTo>
                  <a:cubicBezTo>
                    <a:pt x="86404" y="365473"/>
                    <a:pt x="90535" y="373524"/>
                    <a:pt x="85776" y="379219"/>
                  </a:cubicBezTo>
                  <a:cubicBezTo>
                    <a:pt x="85757" y="372777"/>
                    <a:pt x="85438" y="366088"/>
                    <a:pt x="86836" y="361065"/>
                  </a:cubicBezTo>
                  <a:cubicBezTo>
                    <a:pt x="77618" y="365038"/>
                    <a:pt x="66288" y="377876"/>
                    <a:pt x="71995" y="397383"/>
                  </a:cubicBezTo>
                  <a:cubicBezTo>
                    <a:pt x="117700" y="353005"/>
                    <a:pt x="162091" y="307293"/>
                    <a:pt x="214030" y="269197"/>
                  </a:cubicBezTo>
                  <a:cubicBezTo>
                    <a:pt x="169742" y="305240"/>
                    <a:pt x="127078" y="345058"/>
                    <a:pt x="87906" y="384564"/>
                  </a:cubicBezTo>
                  <a:cubicBezTo>
                    <a:pt x="82349" y="390155"/>
                    <a:pt x="74164" y="396200"/>
                    <a:pt x="73056" y="404866"/>
                  </a:cubicBezTo>
                  <a:cubicBezTo>
                    <a:pt x="118855" y="365208"/>
                    <a:pt x="164926" y="316536"/>
                    <a:pt x="218282" y="280965"/>
                  </a:cubicBezTo>
                  <a:cubicBezTo>
                    <a:pt x="176791" y="314445"/>
                    <a:pt x="130504" y="353090"/>
                    <a:pt x="91079" y="392047"/>
                  </a:cubicBezTo>
                  <a:cubicBezTo>
                    <a:pt x="81908" y="401100"/>
                    <a:pt x="70109" y="406966"/>
                    <a:pt x="75178" y="420910"/>
                  </a:cubicBezTo>
                  <a:cubicBezTo>
                    <a:pt x="122338" y="374792"/>
                    <a:pt x="170155" y="323602"/>
                    <a:pt x="225688" y="289498"/>
                  </a:cubicBezTo>
                  <a:cubicBezTo>
                    <a:pt x="200531" y="312903"/>
                    <a:pt x="167649" y="328550"/>
                    <a:pt x="147260" y="356808"/>
                  </a:cubicBezTo>
                  <a:cubicBezTo>
                    <a:pt x="147983" y="353241"/>
                    <a:pt x="145064" y="355076"/>
                    <a:pt x="144078" y="355748"/>
                  </a:cubicBezTo>
                  <a:cubicBezTo>
                    <a:pt x="121981" y="379749"/>
                    <a:pt x="95960" y="399833"/>
                    <a:pt x="76248" y="426227"/>
                  </a:cubicBezTo>
                  <a:cubicBezTo>
                    <a:pt x="78031" y="435327"/>
                    <a:pt x="81279" y="444182"/>
                    <a:pt x="79411" y="454011"/>
                  </a:cubicBezTo>
                  <a:cubicBezTo>
                    <a:pt x="81805" y="457663"/>
                    <a:pt x="88366" y="457105"/>
                    <a:pt x="92149" y="459366"/>
                  </a:cubicBezTo>
                  <a:cubicBezTo>
                    <a:pt x="97481" y="483887"/>
                    <a:pt x="102118" y="509108"/>
                    <a:pt x="104850" y="536277"/>
                  </a:cubicBezTo>
                  <a:cubicBezTo>
                    <a:pt x="117372" y="527498"/>
                    <a:pt x="132203" y="511832"/>
                    <a:pt x="145129" y="499950"/>
                  </a:cubicBezTo>
                  <a:cubicBezTo>
                    <a:pt x="145946" y="485590"/>
                    <a:pt x="143749" y="474285"/>
                    <a:pt x="144078" y="460425"/>
                  </a:cubicBezTo>
                  <a:cubicBezTo>
                    <a:pt x="151165" y="461116"/>
                    <a:pt x="161040" y="459016"/>
                    <a:pt x="166334" y="461494"/>
                  </a:cubicBezTo>
                  <a:cubicBezTo>
                    <a:pt x="168493" y="468580"/>
                    <a:pt x="167527" y="478807"/>
                    <a:pt x="169526" y="486072"/>
                  </a:cubicBezTo>
                  <a:cubicBezTo>
                    <a:pt x="181260" y="479724"/>
                    <a:pt x="197677" y="463150"/>
                    <a:pt x="209787" y="457218"/>
                  </a:cubicBezTo>
                  <a:cubicBezTo>
                    <a:pt x="204455" y="461580"/>
                    <a:pt x="196851" y="466603"/>
                    <a:pt x="188600" y="473225"/>
                  </a:cubicBezTo>
                  <a:cubicBezTo>
                    <a:pt x="177880" y="481862"/>
                    <a:pt x="164626" y="488380"/>
                    <a:pt x="171629" y="505286"/>
                  </a:cubicBezTo>
                  <a:cubicBezTo>
                    <a:pt x="186329" y="494813"/>
                    <a:pt x="200334" y="483650"/>
                    <a:pt x="214030" y="472156"/>
                  </a:cubicBezTo>
                  <a:cubicBezTo>
                    <a:pt x="212856" y="467653"/>
                    <a:pt x="212809" y="462015"/>
                    <a:pt x="212978" y="456159"/>
                  </a:cubicBezTo>
                  <a:cubicBezTo>
                    <a:pt x="222628" y="456613"/>
                    <a:pt x="230447" y="455232"/>
                    <a:pt x="236286" y="451873"/>
                  </a:cubicBezTo>
                  <a:cubicBezTo>
                    <a:pt x="242416" y="433208"/>
                    <a:pt x="241055" y="412226"/>
                    <a:pt x="242660" y="390987"/>
                  </a:cubicBezTo>
                  <a:cubicBezTo>
                    <a:pt x="243946" y="374044"/>
                    <a:pt x="244274" y="355341"/>
                    <a:pt x="242660" y="340773"/>
                  </a:cubicBezTo>
                  <a:cubicBezTo>
                    <a:pt x="241815" y="333138"/>
                    <a:pt x="238342" y="326459"/>
                    <a:pt x="237356" y="319412"/>
                  </a:cubicBezTo>
                  <a:cubicBezTo>
                    <a:pt x="234596" y="299668"/>
                    <a:pt x="232634" y="283661"/>
                    <a:pt x="226758" y="265990"/>
                  </a:cubicBezTo>
                  <a:cubicBezTo>
                    <a:pt x="221558" y="250390"/>
                    <a:pt x="214086" y="235263"/>
                    <a:pt x="208726" y="218991"/>
                  </a:cubicBezTo>
                  <a:cubicBezTo>
                    <a:pt x="196758" y="182428"/>
                    <a:pt x="208604" y="138551"/>
                    <a:pt x="211917" y="95063"/>
                  </a:cubicBezTo>
                  <a:cubicBezTo>
                    <a:pt x="217146" y="98336"/>
                    <a:pt x="217634" y="106396"/>
                    <a:pt x="222515" y="110029"/>
                  </a:cubicBezTo>
                  <a:cubicBezTo>
                    <a:pt x="222074" y="75376"/>
                    <a:pt x="222938" y="42086"/>
                    <a:pt x="228880" y="13875"/>
                  </a:cubicBezTo>
                  <a:cubicBezTo>
                    <a:pt x="224731" y="3989"/>
                    <a:pt x="212359" y="6411"/>
                    <a:pt x="206614" y="-12"/>
                  </a:cubicBezTo>
                  <a:cubicBezTo>
                    <a:pt x="194354" y="1899"/>
                    <a:pt x="180837" y="2495"/>
                    <a:pt x="167386" y="3214"/>
                  </a:cubicBezTo>
                  <a:cubicBezTo>
                    <a:pt x="167376" y="39863"/>
                    <a:pt x="162195" y="71308"/>
                    <a:pt x="159979" y="105762"/>
                  </a:cubicBezTo>
                  <a:cubicBezTo>
                    <a:pt x="155098" y="88138"/>
                    <a:pt x="150611" y="64658"/>
                    <a:pt x="147260" y="47005"/>
                  </a:cubicBezTo>
                  <a:cubicBezTo>
                    <a:pt x="146077" y="40771"/>
                    <a:pt x="147833" y="31339"/>
                    <a:pt x="140896" y="28832"/>
                  </a:cubicBezTo>
                  <a:cubicBezTo>
                    <a:pt x="140323" y="49370"/>
                    <a:pt x="141074" y="83484"/>
                    <a:pt x="141947" y="102536"/>
                  </a:cubicBezTo>
                  <a:cubicBezTo>
                    <a:pt x="128195" y="73531"/>
                    <a:pt x="127200" y="37829"/>
                    <a:pt x="114406" y="7471"/>
                  </a:cubicBezTo>
                  <a:cubicBezTo>
                    <a:pt x="96326" y="8133"/>
                    <a:pt x="75713" y="7745"/>
                    <a:pt x="64570" y="9609"/>
                  </a:cubicBezTo>
                  <a:cubicBezTo>
                    <a:pt x="65237" y="28633"/>
                    <a:pt x="75422" y="52728"/>
                    <a:pt x="75178" y="72642"/>
                  </a:cubicBezTo>
                  <a:cubicBezTo>
                    <a:pt x="69799" y="57042"/>
                    <a:pt x="69273" y="36580"/>
                    <a:pt x="63519" y="21358"/>
                  </a:cubicBezTo>
                  <a:cubicBezTo>
                    <a:pt x="63735" y="41518"/>
                    <a:pt x="72286" y="64412"/>
                    <a:pt x="67752" y="82254"/>
                  </a:cubicBezTo>
                  <a:cubicBezTo>
                    <a:pt x="66823" y="58622"/>
                    <a:pt x="64148" y="36760"/>
                    <a:pt x="60337" y="16023"/>
                  </a:cubicBezTo>
                  <a:cubicBezTo>
                    <a:pt x="46069" y="35539"/>
                    <a:pt x="59361" y="76559"/>
                    <a:pt x="55033" y="102536"/>
                  </a:cubicBezTo>
                  <a:cubicBezTo>
                    <a:pt x="52593" y="80456"/>
                    <a:pt x="53775" y="54668"/>
                    <a:pt x="50800" y="33098"/>
                  </a:cubicBezTo>
                  <a:cubicBezTo>
                    <a:pt x="37949" y="53353"/>
                    <a:pt x="53240" y="84108"/>
                    <a:pt x="48669" y="111098"/>
                  </a:cubicBezTo>
                  <a:cubicBezTo>
                    <a:pt x="47120" y="92007"/>
                    <a:pt x="46773" y="71696"/>
                    <a:pt x="42314" y="55529"/>
                  </a:cubicBezTo>
                  <a:cubicBezTo>
                    <a:pt x="29623" y="102026"/>
                    <a:pt x="2804" y="138107"/>
                    <a:pt x="-96" y="185890"/>
                  </a:cubicBezTo>
                  <a:cubicBezTo>
                    <a:pt x="-1298" y="206305"/>
                    <a:pt x="6456" y="215160"/>
                    <a:pt x="14763" y="229672"/>
                  </a:cubicBezTo>
                  <a:cubicBezTo>
                    <a:pt x="26929" y="251005"/>
                    <a:pt x="37311" y="262802"/>
                    <a:pt x="50800" y="283094"/>
                  </a:cubicBezTo>
                  <a:close/>
                </a:path>
              </a:pathLst>
            </a:custGeom>
            <a:solidFill>
              <a:schemeClr val="bg1"/>
            </a:solidFill>
            <a:ln w="9318" cap="flat">
              <a:noFill/>
              <a:prstDash val="solid"/>
              <a:round/>
            </a:ln>
          </p:spPr>
          <p:txBody>
            <a:bodyPr rtlCol="0" anchor="ctr"/>
            <a:lstStyle/>
            <a:p>
              <a:endParaRPr lang="en-LT"/>
            </a:p>
          </p:txBody>
        </p:sp>
        <p:sp>
          <p:nvSpPr>
            <p:cNvPr id="395" name="Freeform 394">
              <a:extLst>
                <a:ext uri="{FF2B5EF4-FFF2-40B4-BE49-F238E27FC236}">
                  <a16:creationId xmlns:a16="http://schemas.microsoft.com/office/drawing/2014/main" id="{F415629C-1382-604C-B9CC-B89B2284B8BC}"/>
                </a:ext>
              </a:extLst>
            </p:cNvPr>
            <p:cNvSpPr/>
            <p:nvPr/>
          </p:nvSpPr>
          <p:spPr>
            <a:xfrm>
              <a:off x="6606499" y="3730743"/>
              <a:ext cx="113463" cy="154274"/>
            </a:xfrm>
            <a:custGeom>
              <a:avLst/>
              <a:gdLst>
                <a:gd name="connsiteX0" fmla="*/ 1142 w 41641"/>
                <a:gd name="connsiteY0" fmla="*/ 43770 h 56619"/>
                <a:gd name="connsiteX1" fmla="*/ 7516 w 41641"/>
                <a:gd name="connsiteY1" fmla="*/ 41641 h 56619"/>
                <a:gd name="connsiteX2" fmla="*/ 2203 w 41641"/>
                <a:gd name="connsiteY2" fmla="*/ 56607 h 56619"/>
                <a:gd name="connsiteX3" fmla="*/ 41422 w 41641"/>
                <a:gd name="connsiteY3" fmla="*/ 27763 h 56619"/>
                <a:gd name="connsiteX4" fmla="*/ 41422 w 41641"/>
                <a:gd name="connsiteY4" fmla="*/ -12 h 56619"/>
                <a:gd name="connsiteX5" fmla="*/ 81 w 41641"/>
                <a:gd name="connsiteY5" fmla="*/ 33108 h 56619"/>
                <a:gd name="connsiteX6" fmla="*/ 1142 w 41641"/>
                <a:gd name="connsiteY6" fmla="*/ 43770 h 56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41" h="56619">
                  <a:moveTo>
                    <a:pt x="1142" y="43770"/>
                  </a:moveTo>
                  <a:cubicBezTo>
                    <a:pt x="2043" y="46664"/>
                    <a:pt x="6615" y="38784"/>
                    <a:pt x="7516" y="41641"/>
                  </a:cubicBezTo>
                  <a:cubicBezTo>
                    <a:pt x="1011" y="43770"/>
                    <a:pt x="832" y="48490"/>
                    <a:pt x="2203" y="56607"/>
                  </a:cubicBezTo>
                  <a:cubicBezTo>
                    <a:pt x="16133" y="47856"/>
                    <a:pt x="27670" y="36693"/>
                    <a:pt x="41422" y="27763"/>
                  </a:cubicBezTo>
                  <a:lnTo>
                    <a:pt x="41422" y="-12"/>
                  </a:lnTo>
                  <a:cubicBezTo>
                    <a:pt x="26365" y="9713"/>
                    <a:pt x="12575" y="20753"/>
                    <a:pt x="81" y="33108"/>
                  </a:cubicBezTo>
                  <a:cubicBezTo>
                    <a:pt x="-548" y="33486"/>
                    <a:pt x="-191" y="41868"/>
                    <a:pt x="1142" y="43770"/>
                  </a:cubicBezTo>
                  <a:close/>
                </a:path>
              </a:pathLst>
            </a:custGeom>
            <a:solidFill>
              <a:schemeClr val="bg1"/>
            </a:solidFill>
            <a:ln w="9318" cap="flat">
              <a:noFill/>
              <a:prstDash val="solid"/>
              <a:round/>
            </a:ln>
          </p:spPr>
          <p:txBody>
            <a:bodyPr rtlCol="0" anchor="ctr"/>
            <a:lstStyle/>
            <a:p>
              <a:endParaRPr lang="en-LT"/>
            </a:p>
          </p:txBody>
        </p:sp>
      </p:grpSp>
    </p:spTree>
    <p:extLst>
      <p:ext uri="{BB962C8B-B14F-4D97-AF65-F5344CB8AC3E}">
        <p14:creationId xmlns:p14="http://schemas.microsoft.com/office/powerpoint/2010/main" val="3649744797"/>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64</TotalTime>
  <Words>1116</Words>
  <Application>Microsoft Office PowerPoint</Application>
  <PresentationFormat>Widescreen</PresentationFormat>
  <Paragraphs>148</Paragraphs>
  <Slides>16</Slides>
  <Notes>9</Notes>
  <HiddenSlides>0</HiddenSlides>
  <MMClips>3</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31" baseType="lpstr">
      <vt:lpstr>Arial</vt:lpstr>
      <vt:lpstr>Calibri</vt:lpstr>
      <vt:lpstr>Calibri Light</vt:lpstr>
      <vt:lpstr>Chewy</vt:lpstr>
      <vt:lpstr>Forte</vt:lpstr>
      <vt:lpstr>Gotham Black</vt:lpstr>
      <vt:lpstr>Hanson</vt:lpstr>
      <vt:lpstr>Michroma</vt:lpstr>
      <vt:lpstr>Montserrat</vt:lpstr>
      <vt:lpstr>Open Sans</vt:lpstr>
      <vt:lpstr>Roboto</vt:lpstr>
      <vt:lpstr>Urbanist Black</vt:lpstr>
      <vt:lpstr>Urbanist Light</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ne Skill</dc:creator>
  <cp:lastModifiedBy>aziz</cp:lastModifiedBy>
  <cp:revision>30</cp:revision>
  <dcterms:created xsi:type="dcterms:W3CDTF">2020-07-14T16:36:24Z</dcterms:created>
  <dcterms:modified xsi:type="dcterms:W3CDTF">2023-10-21T11:22:22Z</dcterms:modified>
</cp:coreProperties>
</file>